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1"/>
  </p:sldMasterIdLst>
  <p:notesMasterIdLst>
    <p:notesMasterId r:id="rId15"/>
  </p:notesMasterIdLst>
  <p:sldIdLst>
    <p:sldId id="300" r:id="rId2"/>
    <p:sldId id="273" r:id="rId3"/>
    <p:sldId id="261" r:id="rId4"/>
    <p:sldId id="301" r:id="rId5"/>
    <p:sldId id="304" r:id="rId6"/>
    <p:sldId id="312" r:id="rId7"/>
    <p:sldId id="306" r:id="rId8"/>
    <p:sldId id="288" r:id="rId9"/>
    <p:sldId id="289" r:id="rId10"/>
    <p:sldId id="309" r:id="rId11"/>
    <p:sldId id="308" r:id="rId12"/>
    <p:sldId id="310" r:id="rId13"/>
    <p:sldId id="307" r:id="rId14"/>
  </p:sldIdLst>
  <p:sldSz cx="9144000" cy="6858000" type="screen4x3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1pPr>
    <a:lvl2pPr marL="4572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2pPr>
    <a:lvl3pPr marL="9144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3pPr>
    <a:lvl4pPr marL="13716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4pPr>
    <a:lvl5pPr marL="1828800" algn="ctr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 charset="0"/>
        <a:ea typeface="ヒラギノ角ゴ ProN W3" charset="-128"/>
        <a:cs typeface="+mn-cs"/>
        <a:sym typeface="Gill Sans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ndy Budgor" initials="MB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 xmlns:mv="urn:schemas-microsoft-com:mac:vml" xmlns:mc="http://schemas.openxmlformats.org/markup-compatibility/2006">
          <a:srgbClr val="FF0000"/>
        </p14:laserClr>
      </p:ext>
      <p:ext uri="{2FDB2607-1784-4EEB-B798-7EB5836EED8A}">
        <p14:showMediaCtrls xmlns="" xmlns:p14="http://schemas.microsoft.com/office/powerpoint/2010/main" xmlns:mv="urn:schemas-microsoft-com:mac:vml" xmlns:mc="http://schemas.openxmlformats.org/markup-compatibility/2006" val="1"/>
      </p:ext>
    </p:extLst>
  </p:showPr>
  <p:clrMru>
    <a:srgbClr val="A40800"/>
    <a:srgbClr val="1A1A1A"/>
    <a:srgbClr val="4D4D4D"/>
    <a:srgbClr val="CC0000"/>
    <a:srgbClr val="D90B00"/>
    <a:srgbClr val="800000"/>
    <a:srgbClr val="6781C3"/>
    <a:srgbClr val="E6E6E6"/>
  </p:clrMru>
  <p:extLst>
    <p:ext uri="{E76CE94A-603C-4142-B9EB-6D1370010A27}">
      <p14:discardImageEditData xmlns="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p14="http://schemas.microsoft.com/office/powerpoint/2010/main" xmlns:mv="urn:schemas-microsoft-com:mac:vml" xmlns:mc="http://schemas.openxmlformats.org/markup-compatibility/2006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5992" autoAdjust="0"/>
    <p:restoredTop sz="91667" autoAdjust="0"/>
  </p:normalViewPr>
  <p:slideViewPr>
    <p:cSldViewPr>
      <p:cViewPr>
        <p:scale>
          <a:sx n="80" d="100"/>
          <a:sy n="80" d="100"/>
        </p:scale>
        <p:origin x="-1686" y="-192"/>
      </p:cViewPr>
      <p:guideLst>
        <p:guide orient="horz" pos="3792"/>
        <p:guide pos="2784"/>
        <p:guide pos="33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1ED35D-1DA6-4236-9465-369AB251EAFD}" type="datetimeFigureOut">
              <a:rPr lang="en-US" smtClean="0"/>
              <a:pPr/>
              <a:t>4/5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225C6D-C8B4-44DC-A36D-793BAC053206}" type="slidenum">
              <a:rPr lang="en-US" smtClean="0"/>
              <a:pPr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E633E-45BA-438D-B1B1-5DBD4B3319D6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turn is function of: (1) </a:t>
            </a:r>
            <a:r>
              <a:rPr lang="en-US" b="1" dirty="0" smtClean="0"/>
              <a:t>Investment</a:t>
            </a:r>
            <a:r>
              <a:rPr lang="en-US" dirty="0" smtClean="0"/>
              <a:t>, (2)</a:t>
            </a:r>
            <a:r>
              <a:rPr lang="en-US" b="1" baseline="0" dirty="0" smtClean="0"/>
              <a:t>Revenue</a:t>
            </a:r>
            <a:r>
              <a:rPr lang="en-US" baseline="0" dirty="0" smtClean="0"/>
              <a:t> gains from marketing and established distribution channels, (3) </a:t>
            </a:r>
            <a:r>
              <a:rPr lang="en-US" b="1" baseline="0" dirty="0" smtClean="0"/>
              <a:t>COGS</a:t>
            </a:r>
            <a:r>
              <a:rPr lang="en-US" baseline="0" dirty="0" smtClean="0"/>
              <a:t> starts higher in 1</a:t>
            </a:r>
            <a:r>
              <a:rPr lang="en-US" baseline="30000" dirty="0" smtClean="0"/>
              <a:t>st</a:t>
            </a:r>
            <a:r>
              <a:rPr lang="en-US" baseline="0" dirty="0" smtClean="0"/>
              <a:t> year dropping to 45% (still above average in industry and potential for lower number), (3) </a:t>
            </a:r>
          </a:p>
          <a:p>
            <a:r>
              <a:rPr lang="en-US" baseline="0" dirty="0" smtClean="0"/>
              <a:t>Assuming 3500 cases sold in first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E633E-45BA-438D-B1B1-5DBD4B3319D6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FADB99-597E-444E-AEEB-2FDDE2E172FF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948EE4-56C8-4925-ADA0-65E1DBAB6C4C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32588" y="596900"/>
            <a:ext cx="2160587" cy="6261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6063" y="596900"/>
            <a:ext cx="6334125" cy="6261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1750F4-14DF-449F-9347-CCB6A0D6D687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E2499A-E93B-4B96-83EE-EB19A205DFEA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3A2D3DC-C595-4D1B-8CD9-286C2C4AB1FD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5"/>
            <a:ext cx="4246562" cy="4765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5"/>
            <a:ext cx="4248150" cy="4765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40BF15-297D-40EF-9F2E-8E10668C04D5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F12D1B-4641-4D67-BBBD-AD23A8D20920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F9A139-DB5C-4A07-9A4E-70774E0145D2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DCB917-C791-48A2-B0B7-2AF72BF3B94A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7F959D-FB55-4C63-AFD0-BBA78F180879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>
              <a:sym typeface="Arial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Box 1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164E57-5E3A-4A9E-B4A6-C8783B9876F1}" type="slidenum">
              <a:rPr lang="en-US"/>
              <a:pPr/>
              <a:t>‹nº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Text Box 1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8774113" y="6715125"/>
            <a:ext cx="141287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77787B"/>
                </a:solidFill>
                <a:latin typeface="Arial" charset="0"/>
                <a:cs typeface="Arial" charset="0"/>
                <a:sym typeface="Arial" charset="0"/>
              </a:defRPr>
            </a:lvl1pPr>
          </a:lstStyle>
          <a:p>
            <a:fld id="{7F3127D5-D857-4ABE-9B8F-2CA8F344BFD4}" type="slidenum">
              <a:rPr lang="en-US"/>
              <a:pPr/>
              <a:t>‹nº›</a:t>
            </a:fld>
            <a:endParaRPr lang="en-US"/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149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476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ext styles</a:t>
            </a:r>
          </a:p>
          <a:p>
            <a:pPr lvl="1"/>
            <a:r>
              <a:rPr lang="en-US" smtClean="0">
                <a:sym typeface="Arial" charset="0"/>
              </a:rPr>
              <a:t>Second level</a:t>
            </a:r>
          </a:p>
          <a:p>
            <a:pPr lvl="2"/>
            <a:r>
              <a:rPr lang="en-US" smtClean="0">
                <a:sym typeface="Arial" charset="0"/>
              </a:rPr>
              <a:t>Third level</a:t>
            </a:r>
          </a:p>
          <a:p>
            <a:pPr lvl="3"/>
            <a:r>
              <a:rPr lang="en-US" smtClean="0">
                <a:sym typeface="Arial" charset="0"/>
              </a:rPr>
              <a:t>Fourth level</a:t>
            </a:r>
          </a:p>
          <a:p>
            <a:pPr lvl="4"/>
            <a:r>
              <a:rPr lang="en-US" smtClean="0">
                <a:sym typeface="Arial" charset="0"/>
              </a:rPr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4D4D4D"/>
          </a:solidFill>
          <a:latin typeface="Arial" charset="0"/>
          <a:ea typeface="ヒラギノ角ゴ ProN W6" charset="-128"/>
          <a:cs typeface="ヒラギノ角ゴ ProN W6" charset="-128"/>
          <a:sym typeface="Arial" charset="0"/>
        </a:defRPr>
      </a:lvl9pPr>
    </p:titleStyle>
    <p:bodyStyle>
      <a:lvl1pPr marL="268288" indent="-268288" algn="l" rtl="0" eaLnBrk="0" fontAlgn="base" hangingPunct="0">
        <a:spcBef>
          <a:spcPts val="1500"/>
        </a:spcBef>
        <a:spcAft>
          <a:spcPct val="0"/>
        </a:spcAft>
        <a:buClr>
          <a:srgbClr val="7D0900"/>
        </a:buClr>
        <a:buSzPct val="69000"/>
        <a:buFont typeface="Wingdings" charset="2"/>
        <a:buChar char="n"/>
        <a:defRPr sz="1400">
          <a:solidFill>
            <a:srgbClr val="4D4D4D"/>
          </a:solidFill>
          <a:latin typeface="+mn-lt"/>
          <a:ea typeface="+mn-ea"/>
          <a:cs typeface="+mn-cs"/>
          <a:sym typeface="Arial" charset="0"/>
        </a:defRPr>
      </a:lvl1pPr>
      <a:lvl2pPr marL="382588" indent="-112713" algn="l" rtl="0" eaLnBrk="0" fontAlgn="base" hangingPunct="0">
        <a:spcBef>
          <a:spcPts val="800"/>
        </a:spcBef>
        <a:spcAft>
          <a:spcPct val="0"/>
        </a:spcAft>
        <a:buClr>
          <a:srgbClr val="7D0900"/>
        </a:buClr>
        <a:buSzPct val="100000"/>
        <a:buFont typeface="Arial" charset="0"/>
        <a:buChar char="•"/>
        <a:defRPr sz="1400">
          <a:solidFill>
            <a:srgbClr val="4D4D4D"/>
          </a:solidFill>
          <a:latin typeface="+mn-lt"/>
          <a:ea typeface="+mn-ea"/>
          <a:cs typeface="+mn-cs"/>
          <a:sym typeface="Arial" charset="0"/>
        </a:defRPr>
      </a:lvl2pPr>
      <a:lvl3pPr marL="547688" indent="-163513" algn="l" rtl="0" eaLnBrk="0" fontAlgn="base" hangingPunct="0">
        <a:spcBef>
          <a:spcPts val="500"/>
        </a:spcBef>
        <a:spcAft>
          <a:spcPct val="0"/>
        </a:spcAft>
        <a:buClr>
          <a:srgbClr val="7D0900"/>
        </a:buClr>
        <a:buSzPct val="100000"/>
        <a:buFont typeface="Arial" charset="0"/>
        <a:buChar char="–"/>
        <a:defRPr sz="1400">
          <a:solidFill>
            <a:srgbClr val="4D4D4D"/>
          </a:solidFill>
          <a:latin typeface="+mn-lt"/>
          <a:ea typeface="+mn-ea"/>
          <a:cs typeface="+mn-cs"/>
          <a:sym typeface="Arial" charset="0"/>
        </a:defRPr>
      </a:lvl3pPr>
      <a:lvl4pPr marL="674688" indent="-125413" algn="l" rtl="0" eaLnBrk="0" fontAlgn="base" hangingPunct="0">
        <a:spcBef>
          <a:spcPts val="200"/>
        </a:spcBef>
        <a:spcAft>
          <a:spcPct val="0"/>
        </a:spcAft>
        <a:buClr>
          <a:srgbClr val="7D0900"/>
        </a:buClr>
        <a:buSzPct val="100000"/>
        <a:buFont typeface="Arial" charset="0"/>
        <a:buChar char="-"/>
        <a:defRPr sz="1400">
          <a:solidFill>
            <a:srgbClr val="4D4D4D"/>
          </a:solidFill>
          <a:latin typeface="+mn-lt"/>
          <a:ea typeface="+mn-ea"/>
          <a:cs typeface="+mn-cs"/>
          <a:sym typeface="Arial" charset="0"/>
        </a:defRPr>
      </a:lvl4pPr>
      <a:lvl5pPr marL="1685925" indent="-206375" algn="l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5pPr>
      <a:lvl6pPr marL="2143125" indent="-206375" algn="l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6pPr>
      <a:lvl7pPr marL="2600325" indent="-206375" algn="l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7pPr>
      <a:lvl8pPr marL="3057525" indent="-206375" algn="l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8pPr>
      <a:lvl9pPr marL="3514725" indent="-206375" algn="l" rtl="0" fontAlgn="base">
        <a:spcBef>
          <a:spcPts val="500"/>
        </a:spcBef>
        <a:spcAft>
          <a:spcPct val="0"/>
        </a:spcAft>
        <a:buClr>
          <a:srgbClr val="000000"/>
        </a:buClr>
        <a:buSzPct val="10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  <a:sym typeface="Arial" charset="0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Office_Excel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Planilha_do_Microsoft_Office_Excel_97-20031.xls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Planilha_do_Microsoft_Office_Excel_97-20032.xls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5B0261-06BA-4A9B-AC9D-A5E8678333A0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39943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39944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I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NVESTING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W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ITH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S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OCIAL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I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MPACT</a:t>
            </a:r>
            <a:endParaRPr lang="en-US" sz="2000" i="1" dirty="0">
              <a:solidFill>
                <a:srgbClr val="FFFFFF"/>
              </a:solidFill>
              <a:latin typeface="Garamond" pitchFamily="18" charset="0"/>
              <a:cs typeface="Arial"/>
              <a:sym typeface="Garamond" charset="0"/>
            </a:endParaRPr>
          </a:p>
        </p:txBody>
      </p:sp>
      <p:sp>
        <p:nvSpPr>
          <p:cNvPr id="24" name="TextBox 11"/>
          <p:cNvSpPr txBox="1"/>
          <p:nvPr/>
        </p:nvSpPr>
        <p:spPr>
          <a:xfrm>
            <a:off x="1168400" y="863614"/>
            <a:ext cx="6527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 smtClean="0">
                <a:solidFill>
                  <a:srgbClr val="1A1A1A"/>
                </a:solidFill>
                <a:latin typeface="Garamond" pitchFamily="18" charset="0"/>
                <a:cs typeface="Chalkduster"/>
              </a:rPr>
              <a:t>Nature for Growth</a:t>
            </a:r>
          </a:p>
        </p:txBody>
      </p:sp>
      <p:sp>
        <p:nvSpPr>
          <p:cNvPr id="9" name="AutoShape 18"/>
          <p:cNvSpPr>
            <a:spLocks noChangeArrowheads="1"/>
          </p:cNvSpPr>
          <p:nvPr/>
        </p:nvSpPr>
        <p:spPr bwMode="auto">
          <a:xfrm>
            <a:off x="685800" y="4074226"/>
            <a:ext cx="7772400" cy="1527944"/>
          </a:xfrm>
          <a:prstGeom prst="roundRect">
            <a:avLst>
              <a:gd name="adj" fmla="val 6565"/>
            </a:avLst>
          </a:prstGeom>
          <a:solidFill>
            <a:srgbClr val="EAEAEA"/>
          </a:solidFill>
          <a:ln w="9525" algn="ctr">
            <a:solidFill>
              <a:srgbClr val="7D09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72000" rIns="36000" bIns="72000" anchor="ctr"/>
          <a:lstStyle/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$25M fund</a:t>
            </a:r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~10 deals</a:t>
            </a:r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$20M upfront and $5M in reserves for carry-over investments </a:t>
            </a:r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Strategy: Investing in existing companies in emerging markets focused on transforming natural resources into commercial products by keeping the value chain in the country</a:t>
            </a:r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Exit: Recapitalizations, IPO, </a:t>
            </a: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or </a:t>
            </a: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selling to larger sponsors and/or strategic buyers</a:t>
            </a:r>
          </a:p>
        </p:txBody>
      </p:sp>
      <p:pic>
        <p:nvPicPr>
          <p:cNvPr id="12" name="Picture 6" descr="madwomenb&amp;w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9925" y="2219325"/>
            <a:ext cx="1839913" cy="1471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images-5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30800" y="2451100"/>
            <a:ext cx="1919288" cy="126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6-round-bowls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09838" y="2459038"/>
            <a:ext cx="1393825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0" descr="tranquila_final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50088" y="1219200"/>
            <a:ext cx="1416050" cy="249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1" descr="cocoab&amp;w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870325" y="2459038"/>
            <a:ext cx="1257300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3" descr="blank-map-of-the-united-states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06" y="1752600"/>
            <a:ext cx="3971394" cy="306912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E2499A-E93B-4B96-83EE-EB19A205DFE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 bwMode="auto">
          <a:xfrm>
            <a:off x="8774113" y="6715125"/>
            <a:ext cx="141287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1AC35B-BC9C-46E6-BA7F-CB78D4BB173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charset="0"/>
                <a:ea typeface="ヒラギノ角ゴ ProN W3" charset="-128"/>
                <a:cs typeface="Arial" charset="0"/>
                <a:sym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charset="0"/>
              <a:ea typeface="ヒラギノ角ゴ ProN W3" charset="-128"/>
              <a:cs typeface="Arial" charset="0"/>
              <a:sym typeface="Arial" charset="0"/>
            </a:endParaRPr>
          </a:p>
        </p:txBody>
      </p:sp>
      <p:sp>
        <p:nvSpPr>
          <p:cNvPr id="11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Rectangle 3"/>
          <p:cNvSpPr>
            <a:spLocks noGrp="1" noChangeArrowheads="1"/>
          </p:cNvSpPr>
          <p:nvPr>
            <p:ph type="title"/>
          </p:nvPr>
        </p:nvSpPr>
        <p:spPr>
          <a:xfrm>
            <a:off x="246063" y="596900"/>
            <a:ext cx="8647112" cy="1495425"/>
          </a:xfrm>
        </p:spPr>
        <p:txBody>
          <a:bodyPr/>
          <a:lstStyle/>
          <a:p>
            <a:r>
              <a:rPr lang="en-US" sz="2000" dirty="0" smtClean="0">
                <a:sym typeface="Garamond" charset="0"/>
              </a:rPr>
              <a:t>Roll Up</a:t>
            </a:r>
          </a:p>
        </p:txBody>
      </p:sp>
      <p:sp>
        <p:nvSpPr>
          <p:cNvPr id="9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sp>
        <p:nvSpPr>
          <p:cNvPr id="16" name="Slide Number Placeholder 3"/>
          <p:cNvSpPr txBox="1">
            <a:spLocks/>
          </p:cNvSpPr>
          <p:nvPr/>
        </p:nvSpPr>
        <p:spPr bwMode="auto">
          <a:xfrm>
            <a:off x="8774113" y="6715125"/>
            <a:ext cx="141287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E2499A-E93B-4B96-83EE-EB19A205DFE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charset="0"/>
                <a:ea typeface="ヒラギノ角ゴ ProN W3" charset="-128"/>
                <a:cs typeface="Arial" charset="0"/>
                <a:sym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charset="0"/>
              <a:ea typeface="ヒラギノ角ゴ ProN W3" charset="-128"/>
              <a:cs typeface="Arial" charset="0"/>
              <a:sym typeface="Arial" charset="0"/>
            </a:endParaRPr>
          </a:p>
        </p:txBody>
      </p:sp>
      <p:sp>
        <p:nvSpPr>
          <p:cNvPr id="17" name="Slide Number Placeholder 3"/>
          <p:cNvSpPr txBox="1">
            <a:spLocks/>
          </p:cNvSpPr>
          <p:nvPr/>
        </p:nvSpPr>
        <p:spPr bwMode="auto">
          <a:xfrm>
            <a:off x="8774113" y="6715125"/>
            <a:ext cx="141287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1AC35B-BC9C-46E6-BA7F-CB78D4BB1736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7787B"/>
                </a:solidFill>
                <a:effectLst/>
                <a:uLnTx/>
                <a:uFillTx/>
                <a:latin typeface="Arial" charset="0"/>
                <a:ea typeface="ヒラギノ角ゴ ProN W3" charset="-128"/>
                <a:cs typeface="Arial" charset="0"/>
                <a:sym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77787B"/>
              </a:solidFill>
              <a:effectLst/>
              <a:uLnTx/>
              <a:uFillTx/>
              <a:latin typeface="Arial" charset="0"/>
              <a:ea typeface="ヒラギノ角ゴ ProN W3" charset="-128"/>
              <a:cs typeface="Arial" charset="0"/>
              <a:sym typeface="Arial" charset="0"/>
            </a:endParaRPr>
          </a:p>
        </p:txBody>
      </p:sp>
      <p:sp>
        <p:nvSpPr>
          <p:cNvPr id="20" name="AutoShape 18"/>
          <p:cNvSpPr>
            <a:spLocks noChangeArrowheads="1"/>
          </p:cNvSpPr>
          <p:nvPr/>
        </p:nvSpPr>
        <p:spPr bwMode="auto">
          <a:xfrm>
            <a:off x="3962400" y="3733801"/>
            <a:ext cx="4800600" cy="2058694"/>
          </a:xfrm>
          <a:prstGeom prst="roundRect">
            <a:avLst>
              <a:gd name="adj" fmla="val 6565"/>
            </a:avLst>
          </a:prstGeom>
          <a:solidFill>
            <a:schemeClr val="bg1"/>
          </a:solidFill>
          <a:ln w="9525" algn="ctr">
            <a:solidFill>
              <a:srgbClr val="7D09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72000" rIns="36000" bIns="72000" anchor="ctr"/>
          <a:lstStyle/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endParaRPr lang="en-US" altLang="zh-CN" sz="1200" dirty="0" smtClean="0">
              <a:solidFill>
                <a:srgbClr val="4D4D4D"/>
              </a:solidFill>
              <a:latin typeface="+mj-lt"/>
              <a:cs typeface="Arial" pitchFamily="34" charset="0"/>
              <a:sym typeface="Garamond" charset="0"/>
            </a:endParaRPr>
          </a:p>
        </p:txBody>
      </p:sp>
      <p:sp>
        <p:nvSpPr>
          <p:cNvPr id="21" name="AutoShape 18"/>
          <p:cNvSpPr>
            <a:spLocks noChangeArrowheads="1"/>
          </p:cNvSpPr>
          <p:nvPr/>
        </p:nvSpPr>
        <p:spPr bwMode="auto">
          <a:xfrm>
            <a:off x="3962400" y="1294106"/>
            <a:ext cx="4800600" cy="2058694"/>
          </a:xfrm>
          <a:prstGeom prst="roundRect">
            <a:avLst>
              <a:gd name="adj" fmla="val 6565"/>
            </a:avLst>
          </a:prstGeom>
          <a:solidFill>
            <a:schemeClr val="bg1"/>
          </a:solidFill>
          <a:ln w="9525" algn="ctr">
            <a:solidFill>
              <a:srgbClr val="7D09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72000" rIns="36000" bIns="72000" anchor="ctr"/>
          <a:lstStyle/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endParaRPr lang="en-US" altLang="zh-CN" sz="1200" dirty="0" smtClean="0">
              <a:solidFill>
                <a:srgbClr val="4D4D4D"/>
              </a:solidFill>
              <a:latin typeface="+mj-lt"/>
              <a:cs typeface="Arial" pitchFamily="34" charset="0"/>
              <a:sym typeface="Garamond" charset="0"/>
            </a:endParaRPr>
          </a:p>
        </p:txBody>
      </p:sp>
      <p:sp>
        <p:nvSpPr>
          <p:cNvPr id="24" name="TextBox 5"/>
          <p:cNvSpPr txBox="1"/>
          <p:nvPr/>
        </p:nvSpPr>
        <p:spPr>
          <a:xfrm>
            <a:off x="67206" y="3380601"/>
            <a:ext cx="1694246" cy="276999"/>
          </a:xfrm>
          <a:prstGeom prst="rect">
            <a:avLst/>
          </a:prstGeom>
          <a:solidFill>
            <a:srgbClr val="A40800"/>
          </a:solidFill>
          <a:ln w="12700" cmpd="sng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Phase 1: </a:t>
            </a:r>
            <a:r>
              <a:rPr lang="en-US" sz="1200" dirty="0" smtClean="0">
                <a:solidFill>
                  <a:schemeClr val="bg1"/>
                </a:solidFill>
              </a:rPr>
              <a:t>Los Angele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6" name="TextBox 6"/>
          <p:cNvSpPr txBox="1"/>
          <p:nvPr/>
        </p:nvSpPr>
        <p:spPr>
          <a:xfrm>
            <a:off x="2353206" y="2362200"/>
            <a:ext cx="1507913" cy="276999"/>
          </a:xfrm>
          <a:prstGeom prst="rect">
            <a:avLst/>
          </a:prstGeom>
          <a:solidFill>
            <a:srgbClr val="A40800"/>
          </a:solidFill>
          <a:ln w="12700" cmpd="sng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Phase 2: </a:t>
            </a:r>
            <a:r>
              <a:rPr lang="en-US" sz="1200" dirty="0" smtClean="0">
                <a:solidFill>
                  <a:schemeClr val="bg1"/>
                </a:solidFill>
              </a:rPr>
              <a:t>New York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TextBox 7"/>
          <p:cNvSpPr txBox="1"/>
          <p:nvPr/>
        </p:nvSpPr>
        <p:spPr>
          <a:xfrm>
            <a:off x="1896006" y="4343400"/>
            <a:ext cx="1416599" cy="276999"/>
          </a:xfrm>
          <a:prstGeom prst="rect">
            <a:avLst/>
          </a:prstGeom>
          <a:solidFill>
            <a:srgbClr val="A40800"/>
          </a:solidFill>
          <a:ln w="12700" cmpd="sng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Phase 3: </a:t>
            </a:r>
            <a:r>
              <a:rPr lang="en-US" sz="1200" dirty="0" smtClean="0">
                <a:solidFill>
                  <a:schemeClr val="bg1"/>
                </a:solidFill>
              </a:rPr>
              <a:t>Housto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auto">
          <a:xfrm>
            <a:off x="4114800" y="1531507"/>
            <a:ext cx="4724400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altLang="zh-CN" sz="1400" b="1" u="sng" dirty="0" smtClean="0">
                <a:solidFill>
                  <a:schemeClr val="tx1"/>
                </a:solidFill>
                <a:latin typeface="Arial (Headings)"/>
                <a:ea typeface="+mj-ea"/>
                <a:cs typeface="+mj-cs"/>
                <a:sym typeface="Helvetica Neue Light" charset="0"/>
              </a:rPr>
              <a:t>INTER AMERICAN FOUNDATION GRANTS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(Headings)"/>
                <a:cs typeface="Arial" pitchFamily="34" charset="0"/>
              </a:rPr>
              <a:t>As low as $25k and high as $400k provided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(Headings)"/>
                <a:cs typeface="Arial" pitchFamily="34" charset="0"/>
              </a:rPr>
              <a:t>Awarded  around $16.84m dollars to 76 projects in 2010 (Avg. around $222K per projects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FF0000"/>
                </a:solidFill>
                <a:latin typeface="Arial (Headings)"/>
                <a:cs typeface="Arial" pitchFamily="34" charset="0"/>
              </a:rPr>
              <a:t>$250K  grant creates 29.7% return, 3.7x cash-on-cash return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Tx/>
              <a:buChar char="•"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4114800" y="4191000"/>
            <a:ext cx="4724400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altLang="zh-CN" sz="1400" b="1" u="sng" dirty="0" smtClean="0">
                <a:solidFill>
                  <a:schemeClr val="tx1"/>
                </a:solidFill>
                <a:latin typeface="Arial (Headings)"/>
                <a:ea typeface="+mj-ea"/>
                <a:cs typeface="+mj-cs"/>
                <a:sym typeface="Helvetica Neue Light" charset="0"/>
              </a:rPr>
              <a:t>POTENTIAL PARTNERSHIPS &amp; JOINT VENTURES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(Headings)"/>
                <a:cs typeface="Arial" pitchFamily="34" charset="0"/>
              </a:rPr>
              <a:t>OPIC  sponsored funds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(Headings)"/>
                <a:cs typeface="Arial" pitchFamily="34" charset="0"/>
              </a:rPr>
              <a:t>Endeavor 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(Headings)"/>
                <a:cs typeface="Arial" pitchFamily="34" charset="0"/>
              </a:rPr>
              <a:t>Other local private equity funds and investors</a:t>
            </a:r>
          </a:p>
          <a:p>
            <a:pPr marL="101600" lvl="0" indent="-101600" algn="l" eaLnBrk="0" hangingPunct="0">
              <a:lnSpc>
                <a:spcPct val="90000"/>
              </a:lnSpc>
              <a:buClr>
                <a:schemeClr val="tx1"/>
              </a:buClr>
              <a:buFontTx/>
              <a:buChar char="•"/>
            </a:pPr>
            <a:endParaRPr lang="en-US" sz="1400" dirty="0" smtClean="0">
              <a:solidFill>
                <a:schemeClr val="tx1"/>
              </a:solidFill>
              <a:latin typeface="Arial (Headings)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11</a:t>
            </a:fld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M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ARKETING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A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ND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G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ROWTH</a:t>
            </a:r>
          </a:p>
        </p:txBody>
      </p:sp>
      <p:sp>
        <p:nvSpPr>
          <p:cNvPr id="9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Rectangle 3"/>
          <p:cNvSpPr>
            <a:spLocks noGrp="1" noChangeArrowheads="1"/>
          </p:cNvSpPr>
          <p:nvPr>
            <p:ph type="title"/>
          </p:nvPr>
        </p:nvSpPr>
        <p:spPr>
          <a:xfrm>
            <a:off x="246063" y="596900"/>
            <a:ext cx="8647112" cy="1495425"/>
          </a:xfrm>
        </p:spPr>
        <p:txBody>
          <a:bodyPr/>
          <a:lstStyle/>
          <a:p>
            <a:r>
              <a:rPr lang="en-US" sz="2000" dirty="0" smtClean="0">
                <a:sym typeface="Garamond" charset="0"/>
              </a:rPr>
              <a:t>Appendix: The Tequila example</a:t>
            </a:r>
          </a:p>
        </p:txBody>
      </p:sp>
      <p:sp>
        <p:nvSpPr>
          <p:cNvPr id="15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graphicFrame>
        <p:nvGraphicFramePr>
          <p:cNvPr id="16" name="Group 3"/>
          <p:cNvGraphicFramePr>
            <a:graphicFrameLocks noGrp="1"/>
          </p:cNvGraphicFramePr>
          <p:nvPr/>
        </p:nvGraphicFramePr>
        <p:xfrm>
          <a:off x="228600" y="975477"/>
          <a:ext cx="8610600" cy="5044324"/>
        </p:xfrm>
        <a:graphic>
          <a:graphicData uri="http://schemas.openxmlformats.org/drawingml/2006/table">
            <a:tbl>
              <a:tblPr/>
              <a:tblGrid>
                <a:gridCol w="1371600"/>
                <a:gridCol w="2971800"/>
                <a:gridCol w="4267200"/>
              </a:tblGrid>
              <a:tr h="33556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D0900"/>
                        </a:solidFill>
                        <a:effectLst/>
                        <a:latin typeface="Arial"/>
                        <a:ea typeface="ヒラギノ角ゴ ProN W6" charset="-128"/>
                        <a:cs typeface="Arial"/>
                        <a:sym typeface="Arial" charset="0"/>
                      </a:endParaRPr>
                    </a:p>
                  </a:txBody>
                  <a:tcPr marL="63500" marR="63500" marT="63500" marB="635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General Principle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5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Tequila Deal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5FB"/>
                    </a:solidFill>
                  </a:tcPr>
                </a:tc>
              </a:tr>
              <a:tr h="7400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Brand Image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Leverage local sourcing and link to community as a competitive advantage for brand positioning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Create an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aspirational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, exclusive brand while down-to-earth and intrinsically powerful. Position as a unique blend between the perennial properties of the Agave, the heritage of the Earth and the tradition of the product manufactured  from its original source in Mexico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07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Competitive Position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Avoid direct competition with established multinationals. Select high potential niche and focus on a targeted point of difference to stimulate growth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Avoid initially competing with corporate giants (e.g. Don Julio and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Herradura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). Build distribution and maximize margins by establishing an exclusive, hard to access power brand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07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Consumer Acquisition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Focus on high margin, high growth potential and established consumer segments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Laser focus on power groups and influencers interested in green, sustainability or economic development and attracted to originality and heritage (e.g. Antonio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Banderas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, Cameron Diaz)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54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Distribution Strategy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Phased distribution build-up, focusing on creating the necessity to stimulate retail demand in areas with high concentration of target customer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Initial focus on off-trade commercialization. Create exclusivity agreements with key strategic partners for entering, launch on-trade once demand and scarcity perception has created a sense of necessity. Once demand is built, then mass distribute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07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Product offering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Limited line up, consistent with sustainability and leveraging the key strengths of the resource and local manpower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Initial focus on exclusive brand with limited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skus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 for off-trade commercialization. Follow a “hero” brand strategy and expand to flagship overtime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54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Communication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    Maximize effectiveness by focusing communication in single-minded message through selected targeted media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 Focus on highly targeted communication. Advertise in recognized media, which has high reach among target (i.e. celebrity endorsement, yacht/surfing magazines, Robb Report). Leverage influencers for credibility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47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PR/ Local Sponsorships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Link to the community in order to obtain support from key influencers. Leverage community benefits and advantage on local impact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Leverage the competitive advantage of being a power brand created from the source of the tequila heritage. Link with authenticity, community involvement and  intrinsic personal power with a celebrity endorsement (e.g.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Banderas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Garamond" charset="0"/>
                        </a:rPr>
                        <a:t>, Diaz). Identify key personalities and societies and sponsor events and appearances.</a:t>
                      </a:r>
                    </a:p>
                  </a:txBody>
                  <a:tcPr marL="63500" marR="63500" marT="63500" marB="635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2"/>
          <p:cNvGraphicFramePr>
            <a:graphicFrameLocks noChangeAspect="1"/>
          </p:cNvGraphicFramePr>
          <p:nvPr/>
        </p:nvGraphicFramePr>
        <p:xfrm>
          <a:off x="114300" y="800100"/>
          <a:ext cx="9029700" cy="5384800"/>
        </p:xfrm>
        <a:graphic>
          <a:graphicData uri="http://schemas.openxmlformats.org/presentationml/2006/ole">
            <p:oleObj spid="_x0000_s48130" name="Worksheet" r:id="rId3" imgW="11030054" imgH="7819976" progId="Excel.Sheet.12">
              <p:embed/>
            </p:oleObj>
          </a:graphicData>
        </a:graphic>
      </p:graphicFrame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12</a:t>
            </a:fld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M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ARKETING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A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ND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G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ROWTH</a:t>
            </a:r>
          </a:p>
        </p:txBody>
      </p:sp>
      <p:sp>
        <p:nvSpPr>
          <p:cNvPr id="9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Rectangle 3"/>
          <p:cNvSpPr>
            <a:spLocks noGrp="1" noChangeArrowheads="1"/>
          </p:cNvSpPr>
          <p:nvPr>
            <p:ph type="title"/>
          </p:nvPr>
        </p:nvSpPr>
        <p:spPr>
          <a:xfrm>
            <a:off x="246063" y="596900"/>
            <a:ext cx="8647112" cy="1495425"/>
          </a:xfrm>
        </p:spPr>
        <p:txBody>
          <a:bodyPr/>
          <a:lstStyle/>
          <a:p>
            <a:r>
              <a:rPr lang="en-US" sz="2000" dirty="0" smtClean="0">
                <a:sym typeface="Garamond" charset="0"/>
              </a:rPr>
              <a:t>Appendix: The Tequila advertising and marketing plan assumptions</a:t>
            </a:r>
          </a:p>
        </p:txBody>
      </p:sp>
      <p:sp>
        <p:nvSpPr>
          <p:cNvPr id="15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13</a:t>
            </a:fld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R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ISKS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A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ND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M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ITIGATING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S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TRATEGIES</a:t>
            </a:r>
          </a:p>
        </p:txBody>
      </p:sp>
      <p:sp>
        <p:nvSpPr>
          <p:cNvPr id="10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1" name="Group 4"/>
          <p:cNvGraphicFramePr>
            <a:graphicFrameLocks noGrp="1"/>
          </p:cNvGraphicFramePr>
          <p:nvPr/>
        </p:nvGraphicFramePr>
        <p:xfrm>
          <a:off x="381000" y="990600"/>
          <a:ext cx="8432800" cy="4739577"/>
        </p:xfrm>
        <a:graphic>
          <a:graphicData uri="http://schemas.openxmlformats.org/drawingml/2006/table">
            <a:tbl>
              <a:tblPr/>
              <a:tblGrid>
                <a:gridCol w="1420812"/>
                <a:gridCol w="2514600"/>
                <a:gridCol w="4497388"/>
              </a:tblGrid>
              <a:tr h="368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rgbClr val="1A1A1A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Risk Type</a:t>
                      </a:r>
                    </a:p>
                  </a:txBody>
                  <a:tcPr marL="12700" marR="12700" marT="12700" marB="127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5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>
                          <a:solidFill>
                            <a:srgbClr val="1A1A1A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Main Threats</a:t>
                      </a:r>
                    </a:p>
                  </a:txBody>
                  <a:tcPr marL="12700" marR="12700" marT="12700" marB="127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5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rgbClr val="1A1A1A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Mitigating Strategy</a:t>
                      </a:r>
                    </a:p>
                  </a:txBody>
                  <a:tcPr marL="12700" marR="12700" marT="12700" marB="127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5FB"/>
                    </a:solidFill>
                  </a:tcPr>
                </a:tc>
              </a:tr>
              <a:tr h="652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bg1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Political/ Macroeconomic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Lack of stability in head of state, and in regional authorities</a:t>
                      </a:r>
                      <a:endParaRPr lang="en-US" altLang="zh-CN" sz="1200" kern="120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Political unrest/ warfare</a:t>
                      </a:r>
                      <a:endParaRPr lang="en-US" altLang="zh-CN" sz="1200" kern="120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Corruption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Skip certain countries if the scope of political risk is high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Develop go/no go model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8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bg1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Investment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Unfavorable tax regimes</a:t>
                      </a:r>
                      <a:endParaRPr lang="en-US" altLang="zh-CN" sz="1200" kern="120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Different accounting rules/ reporting requirements</a:t>
                      </a:r>
                      <a:endParaRPr lang="en-US" altLang="zh-CN" sz="1200" kern="120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Currency volatility and inflation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Extensive financial due diligence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Produce  financial statements  under GAAP and IFRS in both nominal and real terms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Explore use of currency hedging instruments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44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bg1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HR/ Management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Insufficient corporate governance and management system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Incomplete management team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Partner with investee company on development  and implementation of corporate governance and  management oversight plan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Hire required functions under stringent selection process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Consider developing possible training modules for employees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40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bg1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Legal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Unknown local regulatory environment</a:t>
                      </a:r>
                      <a:endParaRPr lang="en-US" altLang="zh-CN" sz="1200" kern="120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Weak Judicial systems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Extensive regulatory and political due diligence 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Partner with local players to identify risks and possible solutions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Conduct research on labor laws and  investment protection mechanisms in place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16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bg1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Operational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Long time to growth plan implementation (e.g., scalability/roll out implementation)</a:t>
                      </a:r>
                      <a:endParaRPr lang="en-US" altLang="zh-CN" sz="1200" kern="120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Organizational  inefficiency 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Constant monitoring and tracking system and quick responses to emerging operational concerns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Design flowcharts to assign tasks and responsibilities to the different members of the organization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16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bg1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IT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Lack of IT capabilities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Necessary IT platforms not in place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Create IT strategy as part of operational plan</a:t>
                      </a:r>
                      <a:endParaRPr lang="en-US" altLang="zh-CN" sz="1200" kern="1200" dirty="0">
                        <a:solidFill>
                          <a:srgbClr val="4D4D4D"/>
                        </a:solidFill>
                        <a:latin typeface="Arial"/>
                        <a:ea typeface="+mj-ea"/>
                        <a:cs typeface="Arial"/>
                        <a:sym typeface="Arial" charset="0"/>
                      </a:endParaRPr>
                    </a:p>
                    <a:p>
                      <a:pPr marL="101600" marR="0" lvl="0" indent="-10160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Garamond" charset="0"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>
                          <a:solidFill>
                            <a:srgbClr val="4D4D4D"/>
                          </a:solidFill>
                          <a:latin typeface="Arial"/>
                          <a:ea typeface="+mj-ea"/>
                          <a:cs typeface="Arial"/>
                          <a:sym typeface="Garamond" charset="0"/>
                        </a:rPr>
                        <a:t>Partner with local players to ensure sufficient infrastructural capabilities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sp>
        <p:nvSpPr>
          <p:cNvPr id="13" name="Título 37"/>
          <p:cNvSpPr txBox="1">
            <a:spLocks/>
          </p:cNvSpPr>
          <p:nvPr/>
        </p:nvSpPr>
        <p:spPr bwMode="auto">
          <a:xfrm>
            <a:off x="246063" y="596901"/>
            <a:ext cx="8647112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0" latinLnBrk="0" hangingPunct="0">
              <a:lnSpc>
                <a:spcPct val="90000"/>
              </a:lnSpc>
              <a:buClrTx/>
              <a:buSzTx/>
              <a:buFontTx/>
              <a:buNone/>
              <a:tabLst/>
              <a:defRPr/>
            </a:pPr>
            <a:r>
              <a:rPr lang="en-US" sz="2000" b="1" dirty="0" smtClean="0">
                <a:solidFill>
                  <a:srgbClr val="4D4D4D"/>
                </a:solidFill>
                <a:latin typeface="+mj-lt"/>
                <a:ea typeface="+mj-ea"/>
                <a:cs typeface="+mj-cs"/>
                <a:sym typeface="Arial" charset="0"/>
              </a:rPr>
              <a:t>Appendix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5B0261-06BA-4A9B-AC9D-A5E8678333A0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39940" name="Line 2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 dirty="0">
              <a:latin typeface="+mn-lt"/>
            </a:endParaRPr>
          </a:p>
        </p:txBody>
      </p:sp>
      <p:sp>
        <p:nvSpPr>
          <p:cNvPr id="39941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sp>
        <p:nvSpPr>
          <p:cNvPr id="39943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39944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C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OMMUNITY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D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EVELOPMENT</a:t>
            </a:r>
            <a:endParaRPr lang="en-US" sz="2000" i="1" dirty="0">
              <a:solidFill>
                <a:srgbClr val="FFFFFF"/>
              </a:solidFill>
              <a:latin typeface="Garamond" pitchFamily="18" charset="0"/>
              <a:cs typeface="Arial"/>
              <a:sym typeface="Garamond" charset="0"/>
            </a:endParaRPr>
          </a:p>
        </p:txBody>
      </p:sp>
      <p:sp>
        <p:nvSpPr>
          <p:cNvPr id="23" name="Título 12"/>
          <p:cNvSpPr>
            <a:spLocks noGrp="1"/>
          </p:cNvSpPr>
          <p:nvPr>
            <p:ph type="title"/>
          </p:nvPr>
        </p:nvSpPr>
        <p:spPr>
          <a:xfrm>
            <a:off x="246063" y="596901"/>
            <a:ext cx="8647112" cy="546100"/>
          </a:xfrm>
        </p:spPr>
        <p:txBody>
          <a:bodyPr/>
          <a:lstStyle/>
          <a:p>
            <a:r>
              <a:rPr lang="en-US" sz="2000" dirty="0" smtClean="0"/>
              <a:t>NFG will work with the invested companies to optimize operations and achieve financial and social returns</a:t>
            </a:r>
            <a:endParaRPr lang="en-US" sz="2000" dirty="0"/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blackWhite">
          <a:xfrm>
            <a:off x="1093788" y="1591857"/>
            <a:ext cx="3120377" cy="1601787"/>
          </a:xfrm>
          <a:prstGeom prst="rect">
            <a:avLst/>
          </a:prstGeom>
          <a:solidFill>
            <a:srgbClr val="DCDC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 eaLnBrk="0" hangingPunct="0">
              <a:spcBef>
                <a:spcPct val="0"/>
              </a:spcBef>
              <a:defRPr/>
            </a:pPr>
            <a:endParaRPr lang="en-GB" sz="1200" b="1" dirty="0">
              <a:latin typeface="+mn-lt"/>
            </a:endParaRPr>
          </a:p>
        </p:txBody>
      </p:sp>
      <p:sp>
        <p:nvSpPr>
          <p:cNvPr id="27" name="Rectangle 5"/>
          <p:cNvSpPr>
            <a:spLocks noChangeArrowheads="1"/>
          </p:cNvSpPr>
          <p:nvPr/>
        </p:nvSpPr>
        <p:spPr bwMode="blackWhite">
          <a:xfrm>
            <a:off x="4734573" y="1591858"/>
            <a:ext cx="3120377" cy="1600200"/>
          </a:xfrm>
          <a:prstGeom prst="rect">
            <a:avLst/>
          </a:prstGeom>
          <a:solidFill>
            <a:srgbClr val="DCDC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marR="0" lvl="0" indent="0" algn="ctr" eaLnBrk="0" fontAlgn="auto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>
              <a:latin typeface="+mn-lt"/>
            </a:endParaRPr>
          </a:p>
        </p:txBody>
      </p:sp>
      <p:sp>
        <p:nvSpPr>
          <p:cNvPr id="28" name="Rectangle 6"/>
          <p:cNvSpPr>
            <a:spLocks noChangeArrowheads="1"/>
          </p:cNvSpPr>
          <p:nvPr/>
        </p:nvSpPr>
        <p:spPr bwMode="blackWhite">
          <a:xfrm>
            <a:off x="1093788" y="3533681"/>
            <a:ext cx="3120377" cy="1601787"/>
          </a:xfrm>
          <a:prstGeom prst="rect">
            <a:avLst/>
          </a:prstGeom>
          <a:solidFill>
            <a:srgbClr val="DCDC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 eaLnBrk="0" hangingPunct="0">
              <a:spcBef>
                <a:spcPct val="0"/>
              </a:spcBef>
              <a:defRPr/>
            </a:pPr>
            <a:endParaRPr lang="en-GB" sz="1200" b="1" dirty="0">
              <a:latin typeface="+mn-lt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blackWhite">
          <a:xfrm>
            <a:off x="4734573" y="3533681"/>
            <a:ext cx="3120377" cy="1601787"/>
          </a:xfrm>
          <a:prstGeom prst="rect">
            <a:avLst/>
          </a:prstGeom>
          <a:solidFill>
            <a:srgbClr val="DCDCD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 eaLnBrk="0" hangingPunct="0">
              <a:spcBef>
                <a:spcPct val="0"/>
              </a:spcBef>
              <a:defRPr/>
            </a:pPr>
            <a:endParaRPr lang="en-GB" sz="1200" b="1" dirty="0">
              <a:latin typeface="+mn-lt"/>
            </a:endParaRPr>
          </a:p>
        </p:txBody>
      </p:sp>
      <p:grpSp>
        <p:nvGrpSpPr>
          <p:cNvPr id="30" name="Group 12"/>
          <p:cNvGrpSpPr>
            <a:grpSpLocks/>
          </p:cNvGrpSpPr>
          <p:nvPr/>
        </p:nvGrpSpPr>
        <p:grpSpPr bwMode="auto">
          <a:xfrm>
            <a:off x="2616200" y="1860550"/>
            <a:ext cx="3733800" cy="3625850"/>
            <a:chOff x="2244" y="1767"/>
            <a:chExt cx="2029" cy="2029"/>
          </a:xfrm>
        </p:grpSpPr>
        <p:sp>
          <p:nvSpPr>
            <p:cNvPr id="31" name="Freeform 13"/>
            <p:cNvSpPr>
              <a:spLocks/>
            </p:cNvSpPr>
            <p:nvPr/>
          </p:nvSpPr>
          <p:spPr bwMode="blackWhite">
            <a:xfrm>
              <a:off x="2366" y="1767"/>
              <a:ext cx="1057" cy="900"/>
            </a:xfrm>
            <a:custGeom>
              <a:avLst/>
              <a:gdLst/>
              <a:ahLst/>
              <a:cxnLst>
                <a:cxn ang="0">
                  <a:pos x="455" y="879"/>
                </a:cxn>
                <a:cxn ang="0">
                  <a:pos x="471" y="838"/>
                </a:cxn>
                <a:cxn ang="0">
                  <a:pos x="490" y="799"/>
                </a:cxn>
                <a:cxn ang="0">
                  <a:pos x="514" y="762"/>
                </a:cxn>
                <a:cxn ang="0">
                  <a:pos x="541" y="728"/>
                </a:cxn>
                <a:cxn ang="0">
                  <a:pos x="570" y="696"/>
                </a:cxn>
                <a:cxn ang="0">
                  <a:pos x="603" y="667"/>
                </a:cxn>
                <a:cxn ang="0">
                  <a:pos x="639" y="642"/>
                </a:cxn>
                <a:cxn ang="0">
                  <a:pos x="676" y="621"/>
                </a:cxn>
                <a:cxn ang="0">
                  <a:pos x="713" y="605"/>
                </a:cxn>
                <a:cxn ang="0">
                  <a:pos x="753" y="591"/>
                </a:cxn>
                <a:cxn ang="0">
                  <a:pos x="793" y="581"/>
                </a:cxn>
                <a:cxn ang="0">
                  <a:pos x="834" y="575"/>
                </a:cxn>
                <a:cxn ang="0">
                  <a:pos x="833" y="711"/>
                </a:cxn>
                <a:cxn ang="0">
                  <a:pos x="1056" y="374"/>
                </a:cxn>
                <a:cxn ang="0">
                  <a:pos x="818" y="0"/>
                </a:cxn>
                <a:cxn ang="0">
                  <a:pos x="819" y="137"/>
                </a:cxn>
                <a:cxn ang="0">
                  <a:pos x="757" y="143"/>
                </a:cxn>
                <a:cxn ang="0">
                  <a:pos x="694" y="154"/>
                </a:cxn>
                <a:cxn ang="0">
                  <a:pos x="634" y="168"/>
                </a:cxn>
                <a:cxn ang="0">
                  <a:pos x="574" y="188"/>
                </a:cxn>
                <a:cxn ang="0">
                  <a:pos x="516" y="211"/>
                </a:cxn>
                <a:cxn ang="0">
                  <a:pos x="460" y="238"/>
                </a:cxn>
                <a:cxn ang="0">
                  <a:pos x="405" y="270"/>
                </a:cxn>
                <a:cxn ang="0">
                  <a:pos x="352" y="306"/>
                </a:cxn>
                <a:cxn ang="0">
                  <a:pos x="302" y="346"/>
                </a:cxn>
                <a:cxn ang="0">
                  <a:pos x="255" y="390"/>
                </a:cxn>
                <a:cxn ang="0">
                  <a:pos x="211" y="437"/>
                </a:cxn>
                <a:cxn ang="0">
                  <a:pos x="170" y="486"/>
                </a:cxn>
                <a:cxn ang="0">
                  <a:pos x="134" y="539"/>
                </a:cxn>
                <a:cxn ang="0">
                  <a:pos x="101" y="595"/>
                </a:cxn>
                <a:cxn ang="0">
                  <a:pos x="72" y="653"/>
                </a:cxn>
                <a:cxn ang="0">
                  <a:pos x="47" y="711"/>
                </a:cxn>
                <a:cxn ang="0">
                  <a:pos x="27" y="773"/>
                </a:cxn>
                <a:cxn ang="0">
                  <a:pos x="11" y="835"/>
                </a:cxn>
                <a:cxn ang="0">
                  <a:pos x="0" y="899"/>
                </a:cxn>
                <a:cxn ang="0">
                  <a:pos x="238" y="741"/>
                </a:cxn>
                <a:cxn ang="0">
                  <a:pos x="455" y="879"/>
                </a:cxn>
              </a:cxnLst>
              <a:rect l="0" t="0" r="r" b="b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rgbClr val="A40800"/>
            </a:solidFill>
            <a:ln w="12700">
              <a:solidFill>
                <a:srgbClr val="D90B00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marR="0" indent="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GB" sz="12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blackWhite">
            <a:xfrm>
              <a:off x="3073" y="2892"/>
              <a:ext cx="1033" cy="904"/>
            </a:xfrm>
            <a:custGeom>
              <a:avLst/>
              <a:gdLst/>
              <a:ahLst/>
              <a:cxnLst>
                <a:cxn ang="0">
                  <a:pos x="585" y="1"/>
                </a:cxn>
                <a:cxn ang="0">
                  <a:pos x="573" y="41"/>
                </a:cxn>
                <a:cxn ang="0">
                  <a:pos x="556" y="78"/>
                </a:cxn>
                <a:cxn ang="0">
                  <a:pos x="537" y="116"/>
                </a:cxn>
                <a:cxn ang="0">
                  <a:pos x="514" y="150"/>
                </a:cxn>
                <a:cxn ang="0">
                  <a:pos x="488" y="182"/>
                </a:cxn>
                <a:cxn ang="0">
                  <a:pos x="459" y="212"/>
                </a:cxn>
                <a:cxn ang="0">
                  <a:pos x="427" y="239"/>
                </a:cxn>
                <a:cxn ang="0">
                  <a:pos x="393" y="262"/>
                </a:cxn>
                <a:cxn ang="0">
                  <a:pos x="356" y="283"/>
                </a:cxn>
                <a:cxn ang="0">
                  <a:pos x="317" y="301"/>
                </a:cxn>
                <a:cxn ang="0">
                  <a:pos x="277" y="314"/>
                </a:cxn>
                <a:cxn ang="0">
                  <a:pos x="236" y="323"/>
                </a:cxn>
                <a:cxn ang="0">
                  <a:pos x="235" y="187"/>
                </a:cxn>
                <a:cxn ang="0">
                  <a:pos x="159" y="298"/>
                </a:cxn>
                <a:cxn ang="0">
                  <a:pos x="80" y="409"/>
                </a:cxn>
                <a:cxn ang="0">
                  <a:pos x="0" y="517"/>
                </a:cxn>
                <a:cxn ang="0">
                  <a:pos x="236" y="903"/>
                </a:cxn>
                <a:cxn ang="0">
                  <a:pos x="236" y="766"/>
                </a:cxn>
                <a:cxn ang="0">
                  <a:pos x="295" y="759"/>
                </a:cxn>
                <a:cxn ang="0">
                  <a:pos x="353" y="747"/>
                </a:cxn>
                <a:cxn ang="0">
                  <a:pos x="411" y="733"/>
                </a:cxn>
                <a:cxn ang="0">
                  <a:pos x="467" y="713"/>
                </a:cxn>
                <a:cxn ang="0">
                  <a:pos x="522" y="691"/>
                </a:cxn>
                <a:cxn ang="0">
                  <a:pos x="575" y="665"/>
                </a:cxn>
                <a:cxn ang="0">
                  <a:pos x="626" y="635"/>
                </a:cxn>
                <a:cxn ang="0">
                  <a:pos x="676" y="601"/>
                </a:cxn>
                <a:cxn ang="0">
                  <a:pos x="724" y="564"/>
                </a:cxn>
                <a:cxn ang="0">
                  <a:pos x="768" y="525"/>
                </a:cxn>
                <a:cxn ang="0">
                  <a:pos x="811" y="481"/>
                </a:cxn>
                <a:cxn ang="0">
                  <a:pos x="849" y="435"/>
                </a:cxn>
                <a:cxn ang="0">
                  <a:pos x="884" y="387"/>
                </a:cxn>
                <a:cxn ang="0">
                  <a:pos x="916" y="337"/>
                </a:cxn>
                <a:cxn ang="0">
                  <a:pos x="945" y="284"/>
                </a:cxn>
                <a:cxn ang="0">
                  <a:pos x="970" y="231"/>
                </a:cxn>
                <a:cxn ang="0">
                  <a:pos x="991" y="174"/>
                </a:cxn>
                <a:cxn ang="0">
                  <a:pos x="1009" y="117"/>
                </a:cxn>
                <a:cxn ang="0">
                  <a:pos x="1023" y="58"/>
                </a:cxn>
                <a:cxn ang="0">
                  <a:pos x="1032" y="0"/>
                </a:cxn>
                <a:cxn ang="0">
                  <a:pos x="812" y="132"/>
                </a:cxn>
                <a:cxn ang="0">
                  <a:pos x="585" y="1"/>
                </a:cxn>
              </a:cxnLst>
              <a:rect l="0" t="0" r="r" b="b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rgbClr val="A40800"/>
            </a:solidFill>
            <a:ln w="12700">
              <a:solidFill>
                <a:srgbClr val="D90B00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en-GB" sz="12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blackWhite">
            <a:xfrm>
              <a:off x="2244" y="2563"/>
              <a:ext cx="930" cy="1075"/>
            </a:xfrm>
            <a:custGeom>
              <a:avLst/>
              <a:gdLst/>
              <a:ahLst/>
              <a:cxnLst>
                <a:cxn ang="0">
                  <a:pos x="929" y="645"/>
                </a:cxn>
                <a:cxn ang="0">
                  <a:pos x="887" y="634"/>
                </a:cxn>
                <a:cxn ang="0">
                  <a:pos x="847" y="620"/>
                </a:cxn>
                <a:cxn ang="0">
                  <a:pos x="807" y="603"/>
                </a:cxn>
                <a:cxn ang="0">
                  <a:pos x="771" y="582"/>
                </a:cxn>
                <a:cxn ang="0">
                  <a:pos x="735" y="557"/>
                </a:cxn>
                <a:cxn ang="0">
                  <a:pos x="703" y="529"/>
                </a:cxn>
                <a:cxn ang="0">
                  <a:pos x="673" y="497"/>
                </a:cxn>
                <a:cxn ang="0">
                  <a:pos x="648" y="465"/>
                </a:cxn>
                <a:cxn ang="0">
                  <a:pos x="624" y="428"/>
                </a:cxn>
                <a:cxn ang="0">
                  <a:pos x="607" y="398"/>
                </a:cxn>
                <a:cxn ang="0">
                  <a:pos x="594" y="366"/>
                </a:cxn>
                <a:cxn ang="0">
                  <a:pos x="583" y="332"/>
                </a:cxn>
                <a:cxn ang="0">
                  <a:pos x="577" y="298"/>
                </a:cxn>
                <a:cxn ang="0">
                  <a:pos x="575" y="264"/>
                </a:cxn>
                <a:cxn ang="0">
                  <a:pos x="576" y="229"/>
                </a:cxn>
                <a:cxn ang="0">
                  <a:pos x="748" y="229"/>
                </a:cxn>
                <a:cxn ang="0">
                  <a:pos x="360" y="0"/>
                </a:cxn>
                <a:cxn ang="0">
                  <a:pos x="0" y="236"/>
                </a:cxn>
                <a:cxn ang="0">
                  <a:pos x="136" y="237"/>
                </a:cxn>
                <a:cxn ang="0">
                  <a:pos x="141" y="299"/>
                </a:cxn>
                <a:cxn ang="0">
                  <a:pos x="150" y="362"/>
                </a:cxn>
                <a:cxn ang="0">
                  <a:pos x="165" y="422"/>
                </a:cxn>
                <a:cxn ang="0">
                  <a:pos x="182" y="483"/>
                </a:cxn>
                <a:cxn ang="0">
                  <a:pos x="204" y="541"/>
                </a:cxn>
                <a:cxn ang="0">
                  <a:pos x="231" y="598"/>
                </a:cxn>
                <a:cxn ang="0">
                  <a:pos x="262" y="653"/>
                </a:cxn>
                <a:cxn ang="0">
                  <a:pos x="296" y="704"/>
                </a:cxn>
                <a:cxn ang="0">
                  <a:pos x="333" y="752"/>
                </a:cxn>
                <a:cxn ang="0">
                  <a:pos x="374" y="797"/>
                </a:cxn>
                <a:cxn ang="0">
                  <a:pos x="419" y="841"/>
                </a:cxn>
                <a:cxn ang="0">
                  <a:pos x="465" y="880"/>
                </a:cxn>
                <a:cxn ang="0">
                  <a:pos x="514" y="917"/>
                </a:cxn>
                <a:cxn ang="0">
                  <a:pos x="566" y="951"/>
                </a:cxn>
                <a:cxn ang="0">
                  <a:pos x="620" y="980"/>
                </a:cxn>
                <a:cxn ang="0">
                  <a:pos x="675" y="1007"/>
                </a:cxn>
                <a:cxn ang="0">
                  <a:pos x="732" y="1029"/>
                </a:cxn>
                <a:cxn ang="0">
                  <a:pos x="790" y="1048"/>
                </a:cxn>
                <a:cxn ang="0">
                  <a:pos x="849" y="1062"/>
                </a:cxn>
                <a:cxn ang="0">
                  <a:pos x="910" y="1074"/>
                </a:cxn>
                <a:cxn ang="0">
                  <a:pos x="772" y="845"/>
                </a:cxn>
                <a:cxn ang="0">
                  <a:pos x="929" y="645"/>
                </a:cxn>
              </a:cxnLst>
              <a:rect l="0" t="0" r="r" b="b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rgbClr val="A40800"/>
            </a:solidFill>
            <a:ln w="12700">
              <a:solidFill>
                <a:srgbClr val="D90B00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en-GB" sz="12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blackWhite">
            <a:xfrm>
              <a:off x="3330" y="1909"/>
              <a:ext cx="943" cy="1065"/>
            </a:xfrm>
            <a:custGeom>
              <a:avLst/>
              <a:gdLst/>
              <a:ahLst/>
              <a:cxnLst>
                <a:cxn ang="0">
                  <a:pos x="554" y="1064"/>
                </a:cxn>
                <a:cxn ang="0">
                  <a:pos x="942" y="840"/>
                </a:cxn>
                <a:cxn ang="0">
                  <a:pos x="781" y="840"/>
                </a:cxn>
                <a:cxn ang="0">
                  <a:pos x="776" y="778"/>
                </a:cxn>
                <a:cxn ang="0">
                  <a:pos x="767" y="716"/>
                </a:cxn>
                <a:cxn ang="0">
                  <a:pos x="754" y="655"/>
                </a:cxn>
                <a:cxn ang="0">
                  <a:pos x="737" y="595"/>
                </a:cxn>
                <a:cxn ang="0">
                  <a:pos x="714" y="536"/>
                </a:cxn>
                <a:cxn ang="0">
                  <a:pos x="688" y="480"/>
                </a:cxn>
                <a:cxn ang="0">
                  <a:pos x="658" y="425"/>
                </a:cxn>
                <a:cxn ang="0">
                  <a:pos x="624" y="372"/>
                </a:cxn>
                <a:cxn ang="0">
                  <a:pos x="586" y="323"/>
                </a:cxn>
                <a:cxn ang="0">
                  <a:pos x="547" y="275"/>
                </a:cxn>
                <a:cxn ang="0">
                  <a:pos x="502" y="232"/>
                </a:cxn>
                <a:cxn ang="0">
                  <a:pos x="455" y="191"/>
                </a:cxn>
                <a:cxn ang="0">
                  <a:pos x="405" y="153"/>
                </a:cxn>
                <a:cxn ang="0">
                  <a:pos x="352" y="120"/>
                </a:cxn>
                <a:cxn ang="0">
                  <a:pos x="298" y="89"/>
                </a:cxn>
                <a:cxn ang="0">
                  <a:pos x="241" y="63"/>
                </a:cxn>
                <a:cxn ang="0">
                  <a:pos x="182" y="41"/>
                </a:cxn>
                <a:cxn ang="0">
                  <a:pos x="122" y="23"/>
                </a:cxn>
                <a:cxn ang="0">
                  <a:pos x="61" y="9"/>
                </a:cxn>
                <a:cxn ang="0">
                  <a:pos x="0" y="0"/>
                </a:cxn>
                <a:cxn ang="0">
                  <a:pos x="137" y="226"/>
                </a:cxn>
                <a:cxn ang="0">
                  <a:pos x="5" y="451"/>
                </a:cxn>
                <a:cxn ang="0">
                  <a:pos x="48" y="465"/>
                </a:cxn>
                <a:cxn ang="0">
                  <a:pos x="90" y="483"/>
                </a:cxn>
                <a:cxn ang="0">
                  <a:pos x="130" y="505"/>
                </a:cxn>
                <a:cxn ang="0">
                  <a:pos x="168" y="531"/>
                </a:cxn>
                <a:cxn ang="0">
                  <a:pos x="202" y="561"/>
                </a:cxn>
                <a:cxn ang="0">
                  <a:pos x="233" y="594"/>
                </a:cxn>
                <a:cxn ang="0">
                  <a:pos x="262" y="629"/>
                </a:cxn>
                <a:cxn ang="0">
                  <a:pos x="285" y="668"/>
                </a:cxn>
                <a:cxn ang="0">
                  <a:pos x="305" y="709"/>
                </a:cxn>
                <a:cxn ang="0">
                  <a:pos x="321" y="751"/>
                </a:cxn>
                <a:cxn ang="0">
                  <a:pos x="333" y="795"/>
                </a:cxn>
                <a:cxn ang="0">
                  <a:pos x="340" y="840"/>
                </a:cxn>
                <a:cxn ang="0">
                  <a:pos x="188" y="841"/>
                </a:cxn>
                <a:cxn ang="0">
                  <a:pos x="554" y="1064"/>
                </a:cxn>
              </a:cxnLst>
              <a:rect l="0" t="0" r="r" b="b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rgbClr val="A40800"/>
            </a:solidFill>
            <a:ln w="12700">
              <a:solidFill>
                <a:srgbClr val="D90B00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en-GB" sz="12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35" name="Rectangle 8"/>
          <p:cNvSpPr>
            <a:spLocks noChangeArrowheads="1"/>
          </p:cNvSpPr>
          <p:nvPr/>
        </p:nvSpPr>
        <p:spPr bwMode="auto">
          <a:xfrm>
            <a:off x="1192213" y="1629958"/>
            <a:ext cx="2986087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69863" indent="-169863" algn="l" eaLnBrk="0" hangingPunct="0">
              <a:lnSpc>
                <a:spcPct val="90000"/>
              </a:lnSpc>
              <a:buClr>
                <a:srgbClr val="1A1A1A"/>
              </a:buClr>
              <a:buFont typeface="+mj-lt"/>
              <a:buAutoNum type="arabicPeriod"/>
              <a:defRPr/>
            </a:pPr>
            <a:r>
              <a:rPr lang="pt-PT" altLang="zh-CN" sz="1200" b="1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Work hand in hand with community</a:t>
            </a:r>
            <a:endParaRPr lang="en-US" altLang="zh-CN" sz="1200" b="1" dirty="0" smtClean="0">
              <a:solidFill>
                <a:srgbClr val="1A1A1A"/>
              </a:solidFill>
              <a:latin typeface="+mn-lt"/>
              <a:ea typeface="+mj-ea"/>
              <a:cs typeface="+mj-cs"/>
              <a:sym typeface="Helvetica Neue Light" charset="0"/>
            </a:endParaRPr>
          </a:p>
          <a:p>
            <a:pPr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altLang="zh-CN" sz="1200" dirty="0" smtClean="0">
              <a:solidFill>
                <a:srgbClr val="1A1A1A"/>
              </a:solidFill>
              <a:latin typeface="+mn-lt"/>
              <a:ea typeface="+mj-ea"/>
              <a:cs typeface="+mj-cs"/>
              <a:sym typeface="Helvetica Neue Light" charset="0"/>
            </a:endParaRPr>
          </a:p>
          <a:p>
            <a:pPr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altLang="zh-CN" sz="1200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Provide capital and business skills/ knowledge to local communities</a:t>
            </a:r>
          </a:p>
        </p:txBody>
      </p:sp>
      <p:sp>
        <p:nvSpPr>
          <p:cNvPr id="36" name="Rectangle 9"/>
          <p:cNvSpPr>
            <a:spLocks noChangeArrowheads="1"/>
          </p:cNvSpPr>
          <p:nvPr/>
        </p:nvSpPr>
        <p:spPr bwMode="auto">
          <a:xfrm>
            <a:off x="4799013" y="1629958"/>
            <a:ext cx="2987675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228600" indent="-228600" algn="l" eaLnBrk="0" hangingPunct="0">
              <a:lnSpc>
                <a:spcPct val="90000"/>
              </a:lnSpc>
              <a:buClr>
                <a:srgbClr val="1A1A1A"/>
              </a:buClr>
              <a:buFont typeface="+mj-lt"/>
              <a:buAutoNum type="arabicPeriod" startAt="2"/>
              <a:defRPr/>
            </a:pPr>
            <a:r>
              <a:rPr lang="en-US" altLang="zh-CN" sz="1200" b="1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Achieve scale and scope</a:t>
            </a:r>
          </a:p>
          <a:p>
            <a:pPr marL="112713" indent="-112713" algn="l">
              <a:lnSpc>
                <a:spcPct val="90000"/>
              </a:lnSpc>
              <a:buClr>
                <a:schemeClr val="tx1"/>
              </a:buClr>
              <a:defRPr/>
            </a:pPr>
            <a:endParaRPr lang="en-US" altLang="zh-CN" sz="1200" dirty="0" smtClean="0">
              <a:solidFill>
                <a:srgbClr val="1A1A1A"/>
              </a:solidFill>
              <a:latin typeface="+mn-lt"/>
              <a:ea typeface="+mj-ea"/>
              <a:cs typeface="+mj-cs"/>
              <a:sym typeface="Helvetica Neue Light" charset="0"/>
            </a:endParaRPr>
          </a:p>
          <a:p>
            <a:pPr algn="l"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altLang="zh-CN" sz="1200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Build up a critical and scalable business knowledge level</a:t>
            </a:r>
          </a:p>
        </p:txBody>
      </p:sp>
      <p:sp>
        <p:nvSpPr>
          <p:cNvPr id="37" name="Rectangle 10"/>
          <p:cNvSpPr>
            <a:spLocks noChangeArrowheads="1"/>
          </p:cNvSpPr>
          <p:nvPr/>
        </p:nvSpPr>
        <p:spPr bwMode="auto">
          <a:xfrm>
            <a:off x="4799013" y="4252137"/>
            <a:ext cx="304958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228600" lvl="0" indent="-228600" algn="l" eaLnBrk="0" hangingPunct="0">
              <a:lnSpc>
                <a:spcPct val="90000"/>
              </a:lnSpc>
              <a:buClr>
                <a:srgbClr val="1A1A1A"/>
              </a:buClr>
              <a:buFont typeface="+mj-lt"/>
              <a:buAutoNum type="arabicPeriod" startAt="3"/>
              <a:defRPr/>
            </a:pPr>
            <a:r>
              <a:rPr lang="en-US" altLang="zh-CN" sz="1200" b="1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Export final product to developed countries</a:t>
            </a:r>
          </a:p>
          <a:p>
            <a:pPr lvl="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altLang="zh-CN" sz="1200" dirty="0" smtClean="0">
              <a:solidFill>
                <a:srgbClr val="1A1A1A"/>
              </a:solidFill>
              <a:latin typeface="+mn-lt"/>
              <a:ea typeface="+mj-ea"/>
              <a:cs typeface="+mj-cs"/>
              <a:sym typeface="Helvetica Neue Light" charset="0"/>
            </a:endParaRPr>
          </a:p>
          <a:p>
            <a:pPr lvl="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altLang="zh-CN" sz="1200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Export </a:t>
            </a:r>
            <a:r>
              <a:rPr lang="en-US" altLang="zh-CN" sz="1200" dirty="0" smtClean="0">
                <a:solidFill>
                  <a:srgbClr val="1A1A1A"/>
                </a:solidFill>
                <a:latin typeface="+mn-lt"/>
                <a:sym typeface="Helvetica Neue Light" charset="0"/>
              </a:rPr>
              <a:t>locally manufactured </a:t>
            </a:r>
            <a:r>
              <a:rPr lang="en-US" altLang="zh-CN" sz="1200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high value products internationally </a:t>
            </a:r>
          </a:p>
        </p:txBody>
      </p:sp>
      <p:sp>
        <p:nvSpPr>
          <p:cNvPr id="38" name="Rectangle 11"/>
          <p:cNvSpPr>
            <a:spLocks noChangeArrowheads="1"/>
          </p:cNvSpPr>
          <p:nvPr/>
        </p:nvSpPr>
        <p:spPr bwMode="auto">
          <a:xfrm>
            <a:off x="1192213" y="4085938"/>
            <a:ext cx="2986087" cy="997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228600" lvl="0" indent="-228600" algn="l" eaLnBrk="0" hangingPunct="0">
              <a:lnSpc>
                <a:spcPct val="90000"/>
              </a:lnSpc>
              <a:buClr>
                <a:srgbClr val="1A1A1A"/>
              </a:buClr>
              <a:buFont typeface="+mj-lt"/>
              <a:buAutoNum type="arabicPeriod" startAt="4"/>
              <a:defRPr/>
            </a:pPr>
            <a:r>
              <a:rPr lang="en-US" altLang="zh-CN" sz="1200" b="1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Social, economic and environmental results</a:t>
            </a:r>
          </a:p>
          <a:p>
            <a:pPr lvl="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endParaRPr lang="en-US" altLang="zh-CN" sz="1200" dirty="0" smtClean="0">
              <a:solidFill>
                <a:srgbClr val="1A1A1A"/>
              </a:solidFill>
              <a:latin typeface="+mn-lt"/>
              <a:ea typeface="+mj-ea"/>
              <a:cs typeface="+mj-cs"/>
              <a:sym typeface="Helvetica Neue Light" charset="0"/>
            </a:endParaRPr>
          </a:p>
          <a:p>
            <a:pPr lvl="0" algn="l" eaLnBrk="0" hangingPunct="0"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altLang="zh-CN" sz="1200" dirty="0" smtClean="0">
                <a:solidFill>
                  <a:srgbClr val="1A1A1A"/>
                </a:solidFill>
                <a:latin typeface="+mn-lt"/>
                <a:ea typeface="+mj-ea"/>
                <a:cs typeface="+mj-cs"/>
                <a:sym typeface="Helvetica Neue Light" charset="0"/>
              </a:rPr>
              <a:t>Economic and social infrastructures impact and create </a:t>
            </a:r>
            <a:r>
              <a:rPr lang="en-US" altLang="zh-CN" sz="1200" dirty="0" smtClean="0">
                <a:solidFill>
                  <a:srgbClr val="1A1A1A"/>
                </a:solidFill>
                <a:latin typeface="+mn-lt"/>
                <a:sym typeface="Helvetica Neue Light" charset="0"/>
              </a:rPr>
              <a:t>local spillover effects to other industries</a:t>
            </a:r>
            <a:endParaRPr lang="en-US" altLang="zh-CN" sz="1200" dirty="0" smtClean="0">
              <a:solidFill>
                <a:srgbClr val="1A1A1A"/>
              </a:solidFill>
              <a:latin typeface="+mn-lt"/>
              <a:ea typeface="+mj-ea"/>
              <a:cs typeface="+mj-cs"/>
              <a:sym typeface="Helvetica Neue Light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3</a:t>
            </a:fld>
            <a:endParaRPr lang="en-US"/>
          </a:p>
        </p:txBody>
      </p:sp>
      <p:sp>
        <p:nvSpPr>
          <p:cNvPr id="43011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Título 37"/>
          <p:cNvSpPr>
            <a:spLocks noGrp="1"/>
          </p:cNvSpPr>
          <p:nvPr>
            <p:ph type="title"/>
          </p:nvPr>
        </p:nvSpPr>
        <p:spPr>
          <a:xfrm>
            <a:off x="246063" y="596901"/>
            <a:ext cx="8647112" cy="622300"/>
          </a:xfrm>
        </p:spPr>
        <p:txBody>
          <a:bodyPr/>
          <a:lstStyle/>
          <a:p>
            <a:r>
              <a:rPr lang="en-US" sz="2000" dirty="0" smtClean="0"/>
              <a:t>NFG will use a six-step methodology to identify the best investment opportunities and provide support to companies in their growth</a:t>
            </a:r>
          </a:p>
        </p:txBody>
      </p:sp>
      <p:sp>
        <p:nvSpPr>
          <p:cNvPr id="46" name="AutoShape 51"/>
          <p:cNvSpPr>
            <a:spLocks noChangeArrowheads="1"/>
          </p:cNvSpPr>
          <p:nvPr/>
        </p:nvSpPr>
        <p:spPr bwMode="auto">
          <a:xfrm>
            <a:off x="3104464" y="1589694"/>
            <a:ext cx="4663440" cy="54864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36576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4300" lvl="0" indent="-114300" algn="l" eaLnBrk="0" fontAlgn="base" hangingPunct="0">
              <a:spcAft>
                <a:spcPts val="500"/>
              </a:spcAft>
              <a:buClr>
                <a:srgbClr val="141066"/>
              </a:buClr>
              <a:buFontTx/>
              <a:buChar char="•"/>
              <a:defRPr/>
            </a:pPr>
            <a:r>
              <a:rPr lang="en-US" sz="1200" dirty="0" smtClean="0">
                <a:solidFill>
                  <a:srgbClr val="4D4D4D"/>
                </a:solidFill>
                <a:latin typeface="+mj-lt"/>
                <a:cs typeface="Arial" pitchFamily="34" charset="0"/>
              </a:rPr>
              <a:t>Select emerging market  based on natural resources exports, local manufacturing opportunities, and regulatory requirements</a:t>
            </a:r>
          </a:p>
        </p:txBody>
      </p:sp>
      <p:sp>
        <p:nvSpPr>
          <p:cNvPr id="47" name="AutoShape 51"/>
          <p:cNvSpPr>
            <a:spLocks noChangeArrowheads="1"/>
          </p:cNvSpPr>
          <p:nvPr/>
        </p:nvSpPr>
        <p:spPr bwMode="auto">
          <a:xfrm>
            <a:off x="3104464" y="2217955"/>
            <a:ext cx="4663440" cy="54864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36576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4300" indent="-114300" algn="l" eaLnBrk="0" fontAlgn="base" hangingPunct="0">
              <a:lnSpc>
                <a:spcPct val="90000"/>
              </a:lnSpc>
              <a:spcBef>
                <a:spcPct val="30000"/>
              </a:spcBef>
              <a:spcAft>
                <a:spcPts val="500"/>
              </a:spcAft>
              <a:buClr>
                <a:srgbClr val="141066"/>
              </a:buClr>
              <a:buFontTx/>
              <a:buChar char="•"/>
              <a:defRPr/>
            </a:pPr>
            <a:r>
              <a:rPr lang="en-US" sz="1200" dirty="0" smtClean="0">
                <a:solidFill>
                  <a:srgbClr val="4D4D4D"/>
                </a:solidFill>
                <a:latin typeface="+mj-lt"/>
                <a:cs typeface="Arial" pitchFamily="34" charset="0"/>
              </a:rPr>
              <a:t>Create a list of companies currently manufacturing selected natural resource into end product in the market</a:t>
            </a:r>
          </a:p>
        </p:txBody>
      </p:sp>
      <p:sp>
        <p:nvSpPr>
          <p:cNvPr id="48" name="AutoShape 51"/>
          <p:cNvSpPr>
            <a:spLocks noChangeArrowheads="1"/>
          </p:cNvSpPr>
          <p:nvPr/>
        </p:nvSpPr>
        <p:spPr bwMode="auto">
          <a:xfrm>
            <a:off x="3104464" y="2846216"/>
            <a:ext cx="4663440" cy="54864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36576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4300" indent="-114300" algn="l" eaLnBrk="0" hangingPunct="0">
              <a:lnSpc>
                <a:spcPct val="90000"/>
              </a:lnSpc>
              <a:spcBef>
                <a:spcPct val="30000"/>
              </a:spcBef>
              <a:spcAft>
                <a:spcPts val="500"/>
              </a:spcAft>
              <a:buClr>
                <a:srgbClr val="141066"/>
              </a:buClr>
              <a:buFontTx/>
              <a:buChar char="•"/>
            </a:pPr>
            <a:r>
              <a:rPr lang="en-US" sz="1200" dirty="0">
                <a:solidFill>
                  <a:srgbClr val="4D4D4D"/>
                </a:solidFill>
                <a:latin typeface="+mj-lt"/>
                <a:cs typeface="Arial" pitchFamily="34" charset="0"/>
              </a:rPr>
              <a:t>Test identified companies against social and financial criteria and identify high potential investments (FACES Grading System)</a:t>
            </a:r>
          </a:p>
        </p:txBody>
      </p:sp>
      <p:sp>
        <p:nvSpPr>
          <p:cNvPr id="49" name="AutoShape 51"/>
          <p:cNvSpPr>
            <a:spLocks noChangeArrowheads="1"/>
          </p:cNvSpPr>
          <p:nvPr/>
        </p:nvSpPr>
        <p:spPr bwMode="auto">
          <a:xfrm>
            <a:off x="3104464" y="3474477"/>
            <a:ext cx="4663440" cy="54864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36576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4300" indent="-114300" algn="l" eaLnBrk="0" hangingPunct="0">
              <a:lnSpc>
                <a:spcPct val="90000"/>
              </a:lnSpc>
              <a:spcBef>
                <a:spcPct val="30000"/>
              </a:spcBef>
              <a:spcAft>
                <a:spcPts val="500"/>
              </a:spcAft>
              <a:buClr>
                <a:srgbClr val="141066"/>
              </a:buClr>
              <a:buFontTx/>
              <a:buChar char="•"/>
            </a:pPr>
            <a:r>
              <a:rPr lang="en-US" sz="1200" dirty="0">
                <a:solidFill>
                  <a:srgbClr val="4D4D4D"/>
                </a:solidFill>
                <a:latin typeface="+mj-lt"/>
                <a:cs typeface="Arial" pitchFamily="34" charset="0"/>
              </a:rPr>
              <a:t>Define financing and investment plan (e.g. stages, shares, additional terms and performance </a:t>
            </a:r>
            <a:r>
              <a:rPr lang="en-US" sz="1200" dirty="0" smtClean="0">
                <a:solidFill>
                  <a:srgbClr val="4D4D4D"/>
                </a:solidFill>
                <a:latin typeface="+mj-lt"/>
                <a:cs typeface="Arial" pitchFamily="34" charset="0"/>
              </a:rPr>
              <a:t>measures)</a:t>
            </a:r>
            <a:endParaRPr lang="en-US" sz="1200" dirty="0">
              <a:solidFill>
                <a:srgbClr val="4D4D4D"/>
              </a:solidFill>
              <a:latin typeface="+mj-lt"/>
              <a:cs typeface="Arial" pitchFamily="34" charset="0"/>
            </a:endParaRPr>
          </a:p>
        </p:txBody>
      </p:sp>
      <p:sp>
        <p:nvSpPr>
          <p:cNvPr id="50" name="AutoShape 51"/>
          <p:cNvSpPr>
            <a:spLocks noChangeArrowheads="1"/>
          </p:cNvSpPr>
          <p:nvPr/>
        </p:nvSpPr>
        <p:spPr bwMode="auto">
          <a:xfrm>
            <a:off x="3104464" y="4102738"/>
            <a:ext cx="4663440" cy="54864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36576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4300" indent="-114300" algn="l" eaLnBrk="0" hangingPunct="0">
              <a:lnSpc>
                <a:spcPct val="90000"/>
              </a:lnSpc>
              <a:spcBef>
                <a:spcPct val="30000"/>
              </a:spcBef>
              <a:spcAft>
                <a:spcPts val="500"/>
              </a:spcAft>
              <a:buClr>
                <a:srgbClr val="141066"/>
              </a:buClr>
              <a:buFontTx/>
              <a:buChar char="•"/>
            </a:pPr>
            <a:r>
              <a:rPr lang="en-US" sz="1200" dirty="0">
                <a:solidFill>
                  <a:srgbClr val="4D4D4D"/>
                </a:solidFill>
                <a:latin typeface="+mj-lt"/>
                <a:cs typeface="Arial" pitchFamily="34" charset="0"/>
              </a:rPr>
              <a:t>Develop operations and marketing strategy and key performance indicators for monitoring </a:t>
            </a:r>
            <a:r>
              <a:rPr lang="en-US" sz="1200" dirty="0" smtClean="0">
                <a:solidFill>
                  <a:srgbClr val="4D4D4D"/>
                </a:solidFill>
                <a:latin typeface="+mj-lt"/>
                <a:cs typeface="Arial" pitchFamily="34" charset="0"/>
              </a:rPr>
              <a:t>performance </a:t>
            </a:r>
            <a:r>
              <a:rPr lang="en-US" sz="1200" dirty="0">
                <a:solidFill>
                  <a:srgbClr val="4D4D4D"/>
                </a:solidFill>
                <a:latin typeface="+mj-lt"/>
                <a:cs typeface="Arial" pitchFamily="34" charset="0"/>
              </a:rPr>
              <a:t>and social metrics</a:t>
            </a:r>
          </a:p>
        </p:txBody>
      </p:sp>
      <p:sp>
        <p:nvSpPr>
          <p:cNvPr id="51" name="AutoShape 51"/>
          <p:cNvSpPr>
            <a:spLocks noChangeArrowheads="1"/>
          </p:cNvSpPr>
          <p:nvPr/>
        </p:nvSpPr>
        <p:spPr bwMode="auto">
          <a:xfrm>
            <a:off x="3104464" y="4731000"/>
            <a:ext cx="4663440" cy="54864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36576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14300" indent="-114300" algn="l" eaLnBrk="0" hangingPunct="0">
              <a:lnSpc>
                <a:spcPct val="90000"/>
              </a:lnSpc>
              <a:spcBef>
                <a:spcPct val="30000"/>
              </a:spcBef>
              <a:spcAft>
                <a:spcPts val="500"/>
              </a:spcAft>
              <a:buClr>
                <a:srgbClr val="141066"/>
              </a:buClr>
              <a:buFontTx/>
              <a:buChar char="•"/>
            </a:pPr>
            <a:r>
              <a:rPr lang="en-US" sz="1200" dirty="0">
                <a:solidFill>
                  <a:srgbClr val="4D4D4D"/>
                </a:solidFill>
                <a:latin typeface="+mj-lt"/>
                <a:cs typeface="Arial" pitchFamily="34" charset="0"/>
              </a:rPr>
              <a:t>Identify and address gaps in actual and expected performance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1018107" y="1589694"/>
            <a:ext cx="1920240" cy="548640"/>
          </a:xfrm>
          <a:prstGeom prst="rect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n-US" altLang="zh-CN" sz="1200" b="1" dirty="0">
                <a:solidFill>
                  <a:srgbClr val="1A1A1A"/>
                </a:solidFill>
                <a:latin typeface="+mj-lt"/>
                <a:sym typeface="Garamond" charset="0"/>
              </a:rPr>
              <a:t>Select Country and Natural </a:t>
            </a:r>
            <a:r>
              <a:rPr lang="en-US" altLang="zh-CN" sz="1200" b="1" dirty="0" smtClean="0">
                <a:solidFill>
                  <a:srgbClr val="1A1A1A"/>
                </a:solidFill>
                <a:latin typeface="+mj-lt"/>
                <a:sym typeface="Garamond" charset="0"/>
              </a:rPr>
              <a:t>Resource</a:t>
            </a:r>
            <a:endParaRPr lang="en-US" altLang="zh-CN" sz="1200" b="1" dirty="0">
              <a:solidFill>
                <a:srgbClr val="1A1A1A"/>
              </a:solidFill>
              <a:latin typeface="+mj-lt"/>
              <a:sym typeface="Garamond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1018107" y="2217955"/>
            <a:ext cx="1920240" cy="548640"/>
          </a:xfrm>
          <a:prstGeom prst="rect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n-US" altLang="zh-CN" sz="1200" b="1" dirty="0" smtClean="0">
                <a:solidFill>
                  <a:srgbClr val="1A1A1A"/>
                </a:solidFill>
                <a:latin typeface="+mj-lt"/>
                <a:sym typeface="Garamond" charset="0"/>
              </a:rPr>
              <a:t>Screen Companies</a:t>
            </a:r>
            <a:endParaRPr lang="en-US" altLang="zh-CN" sz="1200" b="1" dirty="0">
              <a:solidFill>
                <a:srgbClr val="1A1A1A"/>
              </a:solidFill>
              <a:latin typeface="+mj-lt"/>
              <a:sym typeface="Garamond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018107" y="2846216"/>
            <a:ext cx="1920240" cy="548640"/>
          </a:xfrm>
          <a:prstGeom prst="rect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n-US" altLang="zh-CN" sz="1200" b="1" dirty="0" smtClean="0">
                <a:solidFill>
                  <a:srgbClr val="1A1A1A"/>
                </a:solidFill>
                <a:latin typeface="+mj-lt"/>
                <a:sym typeface="Garamond" charset="0"/>
              </a:rPr>
              <a:t>Filter Companies</a:t>
            </a:r>
            <a:endParaRPr lang="en-US" altLang="zh-CN" sz="1200" b="1" dirty="0">
              <a:solidFill>
                <a:srgbClr val="1A1A1A"/>
              </a:solidFill>
              <a:latin typeface="+mj-lt"/>
              <a:sym typeface="Garamond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1018107" y="3474477"/>
            <a:ext cx="1920240" cy="548640"/>
          </a:xfrm>
          <a:prstGeom prst="rect">
            <a:avLst/>
          </a:prstGeom>
          <a:solidFill>
            <a:srgbClr val="A40800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n-US" altLang="zh-CN" sz="1200" b="1" dirty="0" smtClean="0">
                <a:solidFill>
                  <a:schemeClr val="bg1"/>
                </a:solidFill>
                <a:latin typeface="+mj-lt"/>
                <a:ea typeface="+mn-ea"/>
                <a:sym typeface="Garamond" charset="0"/>
              </a:rPr>
              <a:t>Select Company</a:t>
            </a:r>
            <a:endParaRPr lang="en-US" altLang="zh-CN" sz="1200" b="1" dirty="0">
              <a:solidFill>
                <a:schemeClr val="bg1"/>
              </a:solidFill>
              <a:latin typeface="+mj-lt"/>
              <a:ea typeface="+mn-ea"/>
              <a:sym typeface="Garamond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1018107" y="4102738"/>
            <a:ext cx="1920240" cy="548640"/>
          </a:xfrm>
          <a:prstGeom prst="rect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n-US" altLang="zh-CN" sz="1200" b="1" dirty="0" smtClean="0">
                <a:solidFill>
                  <a:srgbClr val="1A1A1A"/>
                </a:solidFill>
                <a:latin typeface="+mj-lt"/>
                <a:sym typeface="Garamond" charset="0"/>
              </a:rPr>
              <a:t>Strategy Development and Support</a:t>
            </a:r>
            <a:endParaRPr lang="en-US" altLang="zh-CN" sz="1200" b="1" dirty="0">
              <a:solidFill>
                <a:srgbClr val="1A1A1A"/>
              </a:solidFill>
              <a:latin typeface="+mj-lt"/>
              <a:sym typeface="Garamond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1018107" y="4731000"/>
            <a:ext cx="1920240" cy="548640"/>
          </a:xfrm>
          <a:prstGeom prst="rect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n-US" altLang="zh-CN" sz="1200" b="1" dirty="0" smtClean="0">
                <a:solidFill>
                  <a:srgbClr val="1A1A1A"/>
                </a:solidFill>
                <a:latin typeface="+mj-lt"/>
                <a:sym typeface="Garamond" charset="0"/>
              </a:rPr>
              <a:t>Implementation &amp; Supervision</a:t>
            </a:r>
            <a:endParaRPr lang="en-US" altLang="zh-CN" sz="1200" b="1" dirty="0">
              <a:solidFill>
                <a:srgbClr val="1A1A1A"/>
              </a:solidFill>
              <a:latin typeface="+mj-lt"/>
              <a:sym typeface="Garamond" charset="0"/>
            </a:endParaRPr>
          </a:p>
        </p:txBody>
      </p:sp>
      <p:sp>
        <p:nvSpPr>
          <p:cNvPr id="3" name="Down Arrow 2"/>
          <p:cNvSpPr/>
          <p:nvPr/>
        </p:nvSpPr>
        <p:spPr bwMode="auto">
          <a:xfrm>
            <a:off x="369334" y="1589694"/>
            <a:ext cx="533558" cy="1839306"/>
          </a:xfrm>
          <a:prstGeom prst="downArrow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D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I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L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I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G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E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N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C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E</a:t>
            </a:r>
            <a:endParaRPr lang="es-ES" sz="1200" b="1" dirty="0">
              <a:solidFill>
                <a:srgbClr val="1A1A1A"/>
              </a:solidFill>
              <a:latin typeface="+mj-lt"/>
            </a:endParaRPr>
          </a:p>
        </p:txBody>
      </p:sp>
      <p:sp>
        <p:nvSpPr>
          <p:cNvPr id="22" name="Down Arrow 2"/>
          <p:cNvSpPr/>
          <p:nvPr/>
        </p:nvSpPr>
        <p:spPr bwMode="auto">
          <a:xfrm>
            <a:off x="369334" y="4114800"/>
            <a:ext cx="533558" cy="1219200"/>
          </a:xfrm>
          <a:prstGeom prst="downArrow">
            <a:avLst/>
          </a:prstGeom>
          <a:solidFill>
            <a:srgbClr val="E6E5FB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G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R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O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W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T</a:t>
            </a:r>
          </a:p>
          <a:p>
            <a:pPr eaLnBrk="0" hangingPunct="0"/>
            <a:r>
              <a:rPr lang="es-ES" sz="1200" b="1" dirty="0" smtClean="0">
                <a:solidFill>
                  <a:srgbClr val="1A1A1A"/>
                </a:solidFill>
                <a:latin typeface="+mj-lt"/>
              </a:rPr>
              <a:t>H</a:t>
            </a:r>
            <a:endParaRPr lang="es-ES" sz="1200" b="1" dirty="0">
              <a:solidFill>
                <a:srgbClr val="1A1A1A"/>
              </a:solidFill>
              <a:latin typeface="+mj-lt"/>
            </a:endParaRPr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I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NVESTMENT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M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ETHODOLOGY</a:t>
            </a:r>
          </a:p>
        </p:txBody>
      </p:sp>
      <p:sp>
        <p:nvSpPr>
          <p:cNvPr id="24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4</a:t>
            </a:fld>
            <a:endParaRPr lang="en-US"/>
          </a:p>
        </p:txBody>
      </p:sp>
      <p:sp>
        <p:nvSpPr>
          <p:cNvPr id="43011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8" name="Título 37"/>
          <p:cNvSpPr>
            <a:spLocks noGrp="1"/>
          </p:cNvSpPr>
          <p:nvPr>
            <p:ph type="title"/>
          </p:nvPr>
        </p:nvSpPr>
        <p:spPr>
          <a:xfrm>
            <a:off x="246063" y="596901"/>
            <a:ext cx="8647112" cy="622300"/>
          </a:xfrm>
        </p:spPr>
        <p:txBody>
          <a:bodyPr/>
          <a:lstStyle/>
          <a:p>
            <a:r>
              <a:rPr lang="en-US" sz="2000" dirty="0" smtClean="0"/>
              <a:t>As a part of the filter companies step, we have developed a grading scheme to evaluate the different investment opportunities </a:t>
            </a:r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S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OCIAL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I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NVESTMENT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G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RADING</a:t>
            </a:r>
          </a:p>
        </p:txBody>
      </p:sp>
      <p:sp>
        <p:nvSpPr>
          <p:cNvPr id="24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graphicFrame>
        <p:nvGraphicFramePr>
          <p:cNvPr id="25" name="Group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2728147911"/>
              </p:ext>
            </p:extLst>
          </p:nvPr>
        </p:nvGraphicFramePr>
        <p:xfrm>
          <a:off x="838200" y="1684869"/>
          <a:ext cx="7239000" cy="3572930"/>
        </p:xfrm>
        <a:graphic>
          <a:graphicData uri="http://schemas.openxmlformats.org/drawingml/2006/table">
            <a:tbl>
              <a:tblPr/>
              <a:tblGrid>
                <a:gridCol w="1689100"/>
                <a:gridCol w="5549900"/>
              </a:tblGrid>
              <a:tr h="3081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rgbClr val="1A1A1A"/>
                          </a:solidFill>
                          <a:latin typeface="Arial"/>
                          <a:ea typeface="+mj-ea"/>
                          <a:cs typeface="Arial"/>
                          <a:sym typeface="Helvetica Neue Bold Condensed" charset="0"/>
                        </a:rPr>
                        <a:t>Impact Factor</a:t>
                      </a:r>
                    </a:p>
                  </a:txBody>
                  <a:tcPr marL="12700" marR="12700" marT="12700" marB="127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rgbClr val="1A1A1A"/>
                          </a:solidFill>
                          <a:latin typeface="Arial"/>
                          <a:ea typeface="+mj-ea"/>
                          <a:cs typeface="Arial"/>
                          <a:sym typeface="Helvetica Neue Bold Condensed" charset="0"/>
                        </a:rPr>
                        <a:t>Sample</a:t>
                      </a:r>
                      <a:r>
                        <a:rPr lang="en-US" altLang="zh-CN" sz="1200" b="1" kern="1200" baseline="0" dirty="0" smtClean="0">
                          <a:solidFill>
                            <a:srgbClr val="1A1A1A"/>
                          </a:solidFill>
                          <a:latin typeface="Arial"/>
                          <a:ea typeface="+mj-ea"/>
                          <a:cs typeface="Arial"/>
                          <a:sym typeface="Helvetica Neue Bold Condensed" charset="0"/>
                        </a:rPr>
                        <a:t> of questions to ask</a:t>
                      </a:r>
                      <a:endParaRPr lang="en-US" altLang="zh-CN" sz="1200" b="1" kern="1200" dirty="0" smtClean="0">
                        <a:solidFill>
                          <a:srgbClr val="1A1A1A"/>
                        </a:solidFill>
                        <a:latin typeface="Arial"/>
                        <a:ea typeface="+mj-ea"/>
                        <a:cs typeface="Arial"/>
                        <a:sym typeface="Helvetica Neue Bold Condensed" charset="0"/>
                      </a:endParaRPr>
                    </a:p>
                  </a:txBody>
                  <a:tcPr marL="12700" marR="12700" marT="12700" marB="127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652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F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inancial Return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are the projections on the company financial statements?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How can we capture the value in the company?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A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ccountability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is the current governance structure in the company?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performance controls are present in the company?     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C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ommunity Benefits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employment benefits would our investment bring? 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is the current remuneration level at the company?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E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nvironment Impact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are the environmental implications of our investment?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hat externalities are we creating?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2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Pct val="69000"/>
                        <a:buFont typeface="Wingdings" charset="2"/>
                        <a:buNone/>
                        <a:tabLst>
                          <a:tab pos="914400" algn="l"/>
                        </a:tabLst>
                      </a:pPr>
                      <a:r>
                        <a:rPr kumimoji="0" lang="en-US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S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ea typeface="ヒラギノ角ゴ ProN W3" charset="-128"/>
                          <a:cs typeface="Arial"/>
                          <a:sym typeface="Helvetica Neue" charset="0"/>
                        </a:rPr>
                        <a:t>ustainability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How prepared is the management team? Will training be successful?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Can this model be passed to locals in the mid term? 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5</a:t>
            </a:fld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V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ERTERRA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E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XAMPLE</a:t>
            </a:r>
          </a:p>
        </p:txBody>
      </p:sp>
      <p:sp>
        <p:nvSpPr>
          <p:cNvPr id="5" name="Line 2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 dirty="0">
              <a:latin typeface="+mj-lt"/>
            </a:endParaRPr>
          </a:p>
        </p:txBody>
      </p:sp>
      <p:sp>
        <p:nvSpPr>
          <p:cNvPr id="6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j-lt"/>
                <a:sym typeface="Garamond" charset="0"/>
              </a:rPr>
              <a:t>IIIC: Group A3</a:t>
            </a:r>
          </a:p>
        </p:txBody>
      </p:sp>
      <p:sp>
        <p:nvSpPr>
          <p:cNvPr id="7" name="Título 12"/>
          <p:cNvSpPr>
            <a:spLocks noGrp="1"/>
          </p:cNvSpPr>
          <p:nvPr>
            <p:ph type="title"/>
          </p:nvPr>
        </p:nvSpPr>
        <p:spPr>
          <a:xfrm>
            <a:off x="246063" y="596901"/>
            <a:ext cx="8647112" cy="546100"/>
          </a:xfrm>
        </p:spPr>
        <p:txBody>
          <a:bodyPr/>
          <a:lstStyle/>
          <a:p>
            <a:r>
              <a:rPr lang="en-US" sz="2000" dirty="0" smtClean="0">
                <a:solidFill>
                  <a:srgbClr val="1A1A1A"/>
                </a:solidFill>
              </a:rPr>
              <a:t>Example 2: </a:t>
            </a:r>
            <a:r>
              <a:rPr lang="en-US" sz="2000" dirty="0" err="1" smtClean="0">
                <a:solidFill>
                  <a:srgbClr val="1A1A1A"/>
                </a:solidFill>
              </a:rPr>
              <a:t>Verterra</a:t>
            </a:r>
            <a:r>
              <a:rPr lang="es-ES" sz="2000" dirty="0" smtClean="0"/>
              <a:t>™ </a:t>
            </a:r>
            <a:r>
              <a:rPr lang="en-US" sz="2000" dirty="0" smtClean="0">
                <a:solidFill>
                  <a:srgbClr val="1A1A1A"/>
                </a:solidFill>
              </a:rPr>
              <a:t>is a proven and working example of the legitimacy of NFG’s investment strategy</a:t>
            </a:r>
            <a:endParaRPr lang="en-US" sz="2000" dirty="0"/>
          </a:p>
        </p:txBody>
      </p:sp>
      <p:sp>
        <p:nvSpPr>
          <p:cNvPr id="19" name="Rectangle 68"/>
          <p:cNvSpPr>
            <a:spLocks/>
          </p:cNvSpPr>
          <p:nvPr/>
        </p:nvSpPr>
        <p:spPr bwMode="auto">
          <a:xfrm>
            <a:off x="2312990" y="2022489"/>
            <a:ext cx="5461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8100" tIns="38100" rIns="38100" bIns="38100"/>
          <a:lstStyle/>
          <a:p>
            <a:pPr algn="l"/>
            <a:endParaRPr lang="en-US" sz="3500" dirty="0">
              <a:solidFill>
                <a:schemeClr val="tx1"/>
              </a:solidFill>
              <a:latin typeface="+mj-lt"/>
              <a:sym typeface="Wingdings" charset="2"/>
            </a:endParaRPr>
          </a:p>
        </p:txBody>
      </p:sp>
      <p:graphicFrame>
        <p:nvGraphicFramePr>
          <p:cNvPr id="20" name="Table 2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21926451"/>
              </p:ext>
            </p:extLst>
          </p:nvPr>
        </p:nvGraphicFramePr>
        <p:xfrm>
          <a:off x="4952999" y="1371600"/>
          <a:ext cx="4038601" cy="4627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1"/>
                <a:gridCol w="3124200"/>
                <a:gridCol w="533400"/>
              </a:tblGrid>
              <a:tr h="6096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F</a:t>
                      </a: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90% revenue</a:t>
                      </a:r>
                      <a:r>
                        <a:rPr lang="en-US" altLang="zh-CN" sz="1000" kern="1200" baseline="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 and 202% gross margin increase in 2010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baseline="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EBITDA and Net Income figures improving significantly in 2010</a:t>
                      </a: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 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679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A</a:t>
                      </a: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Founder/CEO is a Columbia Business School Graduate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Awards: Natural Products Association (2x best new product of the year)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Inducted into the Cooper Hewitt Design Museum for sustainable design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96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C</a:t>
                      </a: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200 employees supporting 600 families at </a:t>
                      </a:r>
                      <a:r>
                        <a:rPr lang="en-US" altLang="zh-CN" sz="1000" kern="1200" dirty="0" err="1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Shimoga</a:t>
                      </a: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 (40% unemployment)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Wages50% above market,including health care, 75% women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Production waste given to community, to sell as compost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930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E</a:t>
                      </a: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Produced from fallen leaves using only steam heat an pressure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Disposable, no chemical glues lacquers or bonding agents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Packaging made of recycled materials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07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S</a:t>
                      </a:r>
                      <a:endParaRPr kumimoji="0" lang="en-US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Retail 1000 stores, including Whole Foods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National food service distribution through 5 distributors</a:t>
                      </a:r>
                    </a:p>
                    <a:p>
                      <a:pPr marL="173038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0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The community will set up a high grade natural fertilizer facility within two years </a:t>
                      </a:r>
                    </a:p>
                  </a:txBody>
                  <a:tcPr marL="25400" marR="25400" marT="25400" marB="25400" anchor="ctr" horzOverflow="overflow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1" name="Oval 117"/>
          <p:cNvSpPr>
            <a:spLocks noChangeArrowheads="1"/>
          </p:cNvSpPr>
          <p:nvPr/>
        </p:nvSpPr>
        <p:spPr bwMode="auto">
          <a:xfrm flipH="1">
            <a:off x="8597556" y="3540760"/>
            <a:ext cx="255600" cy="2556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17961" dir="135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91440" rIns="45720" bIns="91440" anchor="ctr"/>
          <a:lstStyle/>
          <a:p>
            <a: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22" name="Group 97"/>
          <p:cNvGrpSpPr>
            <a:grpSpLocks/>
          </p:cNvGrpSpPr>
          <p:nvPr/>
        </p:nvGrpSpPr>
        <p:grpSpPr bwMode="auto">
          <a:xfrm>
            <a:off x="8597556" y="5463583"/>
            <a:ext cx="255600" cy="255600"/>
            <a:chOff x="939" y="2058"/>
            <a:chExt cx="109" cy="109"/>
          </a:xfrm>
        </p:grpSpPr>
        <p:sp>
          <p:nvSpPr>
            <p:cNvPr id="24" name="Oval 98"/>
            <p:cNvSpPr>
              <a:spLocks noChangeArrowheads="1"/>
            </p:cNvSpPr>
            <p:nvPr/>
          </p:nvSpPr>
          <p:spPr bwMode="auto">
            <a:xfrm flipH="1">
              <a:off x="939" y="2058"/>
              <a:ext cx="109" cy="1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91440" rIns="45720" bIns="91440" anchor="ctr"/>
            <a:lstStyle/>
            <a:p>
              <a:pPr algn="ctr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endParaRPr lang="pt-BR" sz="1400" b="1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5" name="Arc 99"/>
            <p:cNvSpPr>
              <a:spLocks/>
            </p:cNvSpPr>
            <p:nvPr/>
          </p:nvSpPr>
          <p:spPr bwMode="auto">
            <a:xfrm>
              <a:off x="996" y="2061"/>
              <a:ext cx="52" cy="10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6"/>
                <a:gd name="T2" fmla="*/ 400 w 21600"/>
                <a:gd name="T3" fmla="*/ 43196 h 43196"/>
                <a:gd name="T4" fmla="*/ 0 w 21600"/>
                <a:gd name="T5" fmla="*/ 21600 h 43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6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</a:path>
                <a:path w="21600" h="43196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91440" rIns="45720" bIns="91440" anchor="ctr"/>
            <a:lstStyle/>
            <a:p>
              <a:pPr algn="r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7D0900"/>
                </a:buClr>
              </a:pPr>
              <a:endParaRPr lang="es-ES" sz="1400" i="1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26" name="Group 38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75441" y="1547447"/>
            <a:ext cx="4725159" cy="2969591"/>
            <a:chOff x="322263" y="2000250"/>
            <a:chExt cx="5543550" cy="3525838"/>
          </a:xfrm>
          <a:solidFill>
            <a:schemeClr val="bg1"/>
          </a:solidFill>
        </p:grpSpPr>
        <p:sp>
          <p:nvSpPr>
            <p:cNvPr id="27" name="Freeform 5"/>
            <p:cNvSpPr>
              <a:spLocks/>
            </p:cNvSpPr>
            <p:nvPr/>
          </p:nvSpPr>
          <p:spPr bwMode="auto">
            <a:xfrm>
              <a:off x="4193267" y="4074546"/>
              <a:ext cx="1103" cy="1164"/>
            </a:xfrm>
            <a:custGeom>
              <a:avLst/>
              <a:gdLst>
                <a:gd name="T0" fmla="*/ 2147483647 w 4"/>
                <a:gd name="T1" fmla="*/ 0 h 4"/>
                <a:gd name="T2" fmla="*/ 2147483647 w 4"/>
                <a:gd name="T3" fmla="*/ 2147483647 h 4"/>
                <a:gd name="T4" fmla="*/ 0 w 4"/>
                <a:gd name="T5" fmla="*/ 2147483647 h 4"/>
                <a:gd name="T6" fmla="*/ 2147483647 w 4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2" y="0"/>
                  </a:moveTo>
                  <a:lnTo>
                    <a:pt x="4" y="2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5794149" y="4536665"/>
              <a:ext cx="2205" cy="2328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0 h 6"/>
                <a:gd name="T4" fmla="*/ 2147483647 w 5"/>
                <a:gd name="T5" fmla="*/ 2147483647 h 6"/>
                <a:gd name="T6" fmla="*/ 0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0" y="4"/>
                  </a:moveTo>
                  <a:lnTo>
                    <a:pt x="5" y="0"/>
                  </a:lnTo>
                  <a:lnTo>
                    <a:pt x="5" y="6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5823917" y="4668200"/>
              <a:ext cx="3308" cy="2328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2147483647 h 6"/>
                <a:gd name="T4" fmla="*/ 0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4" y="0"/>
                  </a:moveTo>
                  <a:lnTo>
                    <a:pt x="6" y="4"/>
                  </a:lnTo>
                  <a:lnTo>
                    <a:pt x="0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auto">
            <a:xfrm>
              <a:off x="3231855" y="3469252"/>
              <a:ext cx="28666" cy="73333"/>
            </a:xfrm>
            <a:custGeom>
              <a:avLst/>
              <a:gdLst>
                <a:gd name="T0" fmla="*/ 2147483647 w 53"/>
                <a:gd name="T1" fmla="*/ 2147483647 h 120"/>
                <a:gd name="T2" fmla="*/ 2147483647 w 53"/>
                <a:gd name="T3" fmla="*/ 2147483647 h 120"/>
                <a:gd name="T4" fmla="*/ 2147483647 w 53"/>
                <a:gd name="T5" fmla="*/ 2147483647 h 120"/>
                <a:gd name="T6" fmla="*/ 0 w 53"/>
                <a:gd name="T7" fmla="*/ 2147483647 h 120"/>
                <a:gd name="T8" fmla="*/ 0 w 53"/>
                <a:gd name="T9" fmla="*/ 2147483647 h 120"/>
                <a:gd name="T10" fmla="*/ 2147483647 w 53"/>
                <a:gd name="T11" fmla="*/ 2147483647 h 120"/>
                <a:gd name="T12" fmla="*/ 2147483647 w 53"/>
                <a:gd name="T13" fmla="*/ 2147483647 h 120"/>
                <a:gd name="T14" fmla="*/ 2147483647 w 53"/>
                <a:gd name="T15" fmla="*/ 2147483647 h 120"/>
                <a:gd name="T16" fmla="*/ 2147483647 w 53"/>
                <a:gd name="T17" fmla="*/ 2147483647 h 120"/>
                <a:gd name="T18" fmla="*/ 2147483647 w 53"/>
                <a:gd name="T19" fmla="*/ 0 h 120"/>
                <a:gd name="T20" fmla="*/ 2147483647 w 53"/>
                <a:gd name="T21" fmla="*/ 2147483647 h 120"/>
                <a:gd name="T22" fmla="*/ 2147483647 w 53"/>
                <a:gd name="T23" fmla="*/ 2147483647 h 120"/>
                <a:gd name="T24" fmla="*/ 2147483647 w 53"/>
                <a:gd name="T25" fmla="*/ 2147483647 h 120"/>
                <a:gd name="T26" fmla="*/ 2147483647 w 53"/>
                <a:gd name="T27" fmla="*/ 2147483647 h 120"/>
                <a:gd name="T28" fmla="*/ 2147483647 w 53"/>
                <a:gd name="T29" fmla="*/ 2147483647 h 120"/>
                <a:gd name="T30" fmla="*/ 2147483647 w 53"/>
                <a:gd name="T31" fmla="*/ 2147483647 h 120"/>
                <a:gd name="T32" fmla="*/ 2147483647 w 53"/>
                <a:gd name="T33" fmla="*/ 2147483647 h 120"/>
                <a:gd name="T34" fmla="*/ 2147483647 w 53"/>
                <a:gd name="T35" fmla="*/ 2147483647 h 1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3"/>
                <a:gd name="T55" fmla="*/ 0 h 120"/>
                <a:gd name="T56" fmla="*/ 53 w 53"/>
                <a:gd name="T57" fmla="*/ 120 h 1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3" h="120">
                  <a:moveTo>
                    <a:pt x="19" y="120"/>
                  </a:moveTo>
                  <a:lnTo>
                    <a:pt x="9" y="110"/>
                  </a:lnTo>
                  <a:lnTo>
                    <a:pt x="13" y="101"/>
                  </a:lnTo>
                  <a:lnTo>
                    <a:pt x="0" y="86"/>
                  </a:lnTo>
                  <a:lnTo>
                    <a:pt x="0" y="72"/>
                  </a:lnTo>
                  <a:lnTo>
                    <a:pt x="4" y="65"/>
                  </a:lnTo>
                  <a:lnTo>
                    <a:pt x="4" y="32"/>
                  </a:lnTo>
                  <a:lnTo>
                    <a:pt x="9" y="25"/>
                  </a:lnTo>
                  <a:lnTo>
                    <a:pt x="4" y="19"/>
                  </a:lnTo>
                  <a:lnTo>
                    <a:pt x="7" y="0"/>
                  </a:lnTo>
                  <a:lnTo>
                    <a:pt x="26" y="6"/>
                  </a:lnTo>
                  <a:lnTo>
                    <a:pt x="32" y="19"/>
                  </a:lnTo>
                  <a:lnTo>
                    <a:pt x="36" y="25"/>
                  </a:lnTo>
                  <a:lnTo>
                    <a:pt x="42" y="63"/>
                  </a:lnTo>
                  <a:lnTo>
                    <a:pt x="53" y="72"/>
                  </a:lnTo>
                  <a:lnTo>
                    <a:pt x="32" y="103"/>
                  </a:lnTo>
                  <a:lnTo>
                    <a:pt x="28" y="118"/>
                  </a:lnTo>
                  <a:lnTo>
                    <a:pt x="19" y="12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" name="Freeform 9"/>
            <p:cNvSpPr>
              <a:spLocks/>
            </p:cNvSpPr>
            <p:nvPr/>
          </p:nvSpPr>
          <p:spPr bwMode="auto">
            <a:xfrm>
              <a:off x="2972759" y="3234119"/>
              <a:ext cx="62845" cy="59365"/>
            </a:xfrm>
            <a:custGeom>
              <a:avLst/>
              <a:gdLst>
                <a:gd name="T0" fmla="*/ 0 w 116"/>
                <a:gd name="T1" fmla="*/ 2147483647 h 97"/>
                <a:gd name="T2" fmla="*/ 2147483647 w 116"/>
                <a:gd name="T3" fmla="*/ 2147483647 h 97"/>
                <a:gd name="T4" fmla="*/ 2147483647 w 116"/>
                <a:gd name="T5" fmla="*/ 2147483647 h 97"/>
                <a:gd name="T6" fmla="*/ 2147483647 w 116"/>
                <a:gd name="T7" fmla="*/ 2147483647 h 97"/>
                <a:gd name="T8" fmla="*/ 2147483647 w 116"/>
                <a:gd name="T9" fmla="*/ 2147483647 h 97"/>
                <a:gd name="T10" fmla="*/ 2147483647 w 116"/>
                <a:gd name="T11" fmla="*/ 2147483647 h 97"/>
                <a:gd name="T12" fmla="*/ 2147483647 w 116"/>
                <a:gd name="T13" fmla="*/ 0 h 97"/>
                <a:gd name="T14" fmla="*/ 2147483647 w 116"/>
                <a:gd name="T15" fmla="*/ 2147483647 h 97"/>
                <a:gd name="T16" fmla="*/ 2147483647 w 116"/>
                <a:gd name="T17" fmla="*/ 2147483647 h 97"/>
                <a:gd name="T18" fmla="*/ 2147483647 w 116"/>
                <a:gd name="T19" fmla="*/ 2147483647 h 97"/>
                <a:gd name="T20" fmla="*/ 2147483647 w 116"/>
                <a:gd name="T21" fmla="*/ 2147483647 h 97"/>
                <a:gd name="T22" fmla="*/ 2147483647 w 116"/>
                <a:gd name="T23" fmla="*/ 2147483647 h 97"/>
                <a:gd name="T24" fmla="*/ 2147483647 w 116"/>
                <a:gd name="T25" fmla="*/ 2147483647 h 97"/>
                <a:gd name="T26" fmla="*/ 2147483647 w 116"/>
                <a:gd name="T27" fmla="*/ 2147483647 h 97"/>
                <a:gd name="T28" fmla="*/ 2147483647 w 116"/>
                <a:gd name="T29" fmla="*/ 2147483647 h 97"/>
                <a:gd name="T30" fmla="*/ 2147483647 w 116"/>
                <a:gd name="T31" fmla="*/ 2147483647 h 97"/>
                <a:gd name="T32" fmla="*/ 2147483647 w 116"/>
                <a:gd name="T33" fmla="*/ 2147483647 h 97"/>
                <a:gd name="T34" fmla="*/ 2147483647 w 116"/>
                <a:gd name="T35" fmla="*/ 2147483647 h 97"/>
                <a:gd name="T36" fmla="*/ 2147483647 w 116"/>
                <a:gd name="T37" fmla="*/ 2147483647 h 97"/>
                <a:gd name="T38" fmla="*/ 2147483647 w 116"/>
                <a:gd name="T39" fmla="*/ 2147483647 h 97"/>
                <a:gd name="T40" fmla="*/ 2147483647 w 116"/>
                <a:gd name="T41" fmla="*/ 2147483647 h 97"/>
                <a:gd name="T42" fmla="*/ 2147483647 w 116"/>
                <a:gd name="T43" fmla="*/ 2147483647 h 97"/>
                <a:gd name="T44" fmla="*/ 2147483647 w 116"/>
                <a:gd name="T45" fmla="*/ 2147483647 h 97"/>
                <a:gd name="T46" fmla="*/ 2147483647 w 116"/>
                <a:gd name="T47" fmla="*/ 2147483647 h 97"/>
                <a:gd name="T48" fmla="*/ 2147483647 w 116"/>
                <a:gd name="T49" fmla="*/ 2147483647 h 97"/>
                <a:gd name="T50" fmla="*/ 2147483647 w 116"/>
                <a:gd name="T51" fmla="*/ 2147483647 h 97"/>
                <a:gd name="T52" fmla="*/ 2147483647 w 116"/>
                <a:gd name="T53" fmla="*/ 2147483647 h 97"/>
                <a:gd name="T54" fmla="*/ 0 w 116"/>
                <a:gd name="T55" fmla="*/ 2147483647 h 9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6"/>
                <a:gd name="T85" fmla="*/ 0 h 97"/>
                <a:gd name="T86" fmla="*/ 116 w 116"/>
                <a:gd name="T87" fmla="*/ 97 h 9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6" h="97">
                  <a:moveTo>
                    <a:pt x="0" y="15"/>
                  </a:moveTo>
                  <a:lnTo>
                    <a:pt x="9" y="8"/>
                  </a:lnTo>
                  <a:lnTo>
                    <a:pt x="15" y="6"/>
                  </a:lnTo>
                  <a:lnTo>
                    <a:pt x="23" y="13"/>
                  </a:lnTo>
                  <a:lnTo>
                    <a:pt x="40" y="15"/>
                  </a:lnTo>
                  <a:lnTo>
                    <a:pt x="47" y="13"/>
                  </a:lnTo>
                  <a:lnTo>
                    <a:pt x="55" y="0"/>
                  </a:lnTo>
                  <a:lnTo>
                    <a:pt x="76" y="13"/>
                  </a:lnTo>
                  <a:lnTo>
                    <a:pt x="87" y="15"/>
                  </a:lnTo>
                  <a:lnTo>
                    <a:pt x="97" y="19"/>
                  </a:lnTo>
                  <a:lnTo>
                    <a:pt x="97" y="30"/>
                  </a:lnTo>
                  <a:lnTo>
                    <a:pt x="104" y="29"/>
                  </a:lnTo>
                  <a:lnTo>
                    <a:pt x="116" y="53"/>
                  </a:lnTo>
                  <a:lnTo>
                    <a:pt x="104" y="67"/>
                  </a:lnTo>
                  <a:lnTo>
                    <a:pt x="97" y="70"/>
                  </a:lnTo>
                  <a:lnTo>
                    <a:pt x="95" y="84"/>
                  </a:lnTo>
                  <a:lnTo>
                    <a:pt x="97" y="97"/>
                  </a:lnTo>
                  <a:lnTo>
                    <a:pt x="91" y="95"/>
                  </a:lnTo>
                  <a:lnTo>
                    <a:pt x="80" y="84"/>
                  </a:lnTo>
                  <a:lnTo>
                    <a:pt x="66" y="80"/>
                  </a:lnTo>
                  <a:lnTo>
                    <a:pt x="68" y="55"/>
                  </a:lnTo>
                  <a:lnTo>
                    <a:pt x="59" y="68"/>
                  </a:lnTo>
                  <a:lnTo>
                    <a:pt x="45" y="68"/>
                  </a:lnTo>
                  <a:lnTo>
                    <a:pt x="47" y="53"/>
                  </a:lnTo>
                  <a:lnTo>
                    <a:pt x="34" y="51"/>
                  </a:lnTo>
                  <a:lnTo>
                    <a:pt x="26" y="36"/>
                  </a:lnTo>
                  <a:lnTo>
                    <a:pt x="17" y="38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3173421" y="3399411"/>
              <a:ext cx="59537" cy="65186"/>
            </a:xfrm>
            <a:custGeom>
              <a:avLst/>
              <a:gdLst>
                <a:gd name="T0" fmla="*/ 2147483647 w 111"/>
                <a:gd name="T1" fmla="*/ 2147483647 h 102"/>
                <a:gd name="T2" fmla="*/ 2147483647 w 111"/>
                <a:gd name="T3" fmla="*/ 2147483647 h 102"/>
                <a:gd name="T4" fmla="*/ 2147483647 w 111"/>
                <a:gd name="T5" fmla="*/ 2147483647 h 102"/>
                <a:gd name="T6" fmla="*/ 2147483647 w 111"/>
                <a:gd name="T7" fmla="*/ 2147483647 h 102"/>
                <a:gd name="T8" fmla="*/ 2147483647 w 111"/>
                <a:gd name="T9" fmla="*/ 2147483647 h 102"/>
                <a:gd name="T10" fmla="*/ 2147483647 w 111"/>
                <a:gd name="T11" fmla="*/ 2147483647 h 102"/>
                <a:gd name="T12" fmla="*/ 2147483647 w 111"/>
                <a:gd name="T13" fmla="*/ 2147483647 h 102"/>
                <a:gd name="T14" fmla="*/ 2147483647 w 111"/>
                <a:gd name="T15" fmla="*/ 2147483647 h 102"/>
                <a:gd name="T16" fmla="*/ 0 w 111"/>
                <a:gd name="T17" fmla="*/ 2147483647 h 102"/>
                <a:gd name="T18" fmla="*/ 2147483647 w 111"/>
                <a:gd name="T19" fmla="*/ 2147483647 h 102"/>
                <a:gd name="T20" fmla="*/ 2147483647 w 111"/>
                <a:gd name="T21" fmla="*/ 2147483647 h 102"/>
                <a:gd name="T22" fmla="*/ 2147483647 w 111"/>
                <a:gd name="T23" fmla="*/ 2147483647 h 102"/>
                <a:gd name="T24" fmla="*/ 2147483647 w 111"/>
                <a:gd name="T25" fmla="*/ 2147483647 h 102"/>
                <a:gd name="T26" fmla="*/ 2147483647 w 111"/>
                <a:gd name="T27" fmla="*/ 2147483647 h 102"/>
                <a:gd name="T28" fmla="*/ 2147483647 w 111"/>
                <a:gd name="T29" fmla="*/ 0 h 102"/>
                <a:gd name="T30" fmla="*/ 2147483647 w 111"/>
                <a:gd name="T31" fmla="*/ 2147483647 h 102"/>
                <a:gd name="T32" fmla="*/ 2147483647 w 111"/>
                <a:gd name="T33" fmla="*/ 2147483647 h 102"/>
                <a:gd name="T34" fmla="*/ 2147483647 w 111"/>
                <a:gd name="T35" fmla="*/ 2147483647 h 102"/>
                <a:gd name="T36" fmla="*/ 2147483647 w 111"/>
                <a:gd name="T37" fmla="*/ 2147483647 h 102"/>
                <a:gd name="T38" fmla="*/ 2147483647 w 111"/>
                <a:gd name="T39" fmla="*/ 2147483647 h 102"/>
                <a:gd name="T40" fmla="*/ 2147483647 w 111"/>
                <a:gd name="T41" fmla="*/ 2147483647 h 102"/>
                <a:gd name="T42" fmla="*/ 2147483647 w 111"/>
                <a:gd name="T43" fmla="*/ 2147483647 h 102"/>
                <a:gd name="T44" fmla="*/ 2147483647 w 111"/>
                <a:gd name="T45" fmla="*/ 2147483647 h 102"/>
                <a:gd name="T46" fmla="*/ 2147483647 w 111"/>
                <a:gd name="T47" fmla="*/ 2147483647 h 102"/>
                <a:gd name="T48" fmla="*/ 2147483647 w 111"/>
                <a:gd name="T49" fmla="*/ 2147483647 h 102"/>
                <a:gd name="T50" fmla="*/ 2147483647 w 111"/>
                <a:gd name="T51" fmla="*/ 2147483647 h 102"/>
                <a:gd name="T52" fmla="*/ 2147483647 w 111"/>
                <a:gd name="T53" fmla="*/ 2147483647 h 102"/>
                <a:gd name="T54" fmla="*/ 2147483647 w 111"/>
                <a:gd name="T55" fmla="*/ 2147483647 h 102"/>
                <a:gd name="T56" fmla="*/ 2147483647 w 111"/>
                <a:gd name="T57" fmla="*/ 2147483647 h 102"/>
                <a:gd name="T58" fmla="*/ 2147483647 w 111"/>
                <a:gd name="T59" fmla="*/ 2147483647 h 102"/>
                <a:gd name="T60" fmla="*/ 2147483647 w 111"/>
                <a:gd name="T61" fmla="*/ 2147483647 h 102"/>
                <a:gd name="T62" fmla="*/ 2147483647 w 111"/>
                <a:gd name="T63" fmla="*/ 2147483647 h 102"/>
                <a:gd name="T64" fmla="*/ 2147483647 w 111"/>
                <a:gd name="T65" fmla="*/ 2147483647 h 102"/>
                <a:gd name="T66" fmla="*/ 2147483647 w 111"/>
                <a:gd name="T67" fmla="*/ 2147483647 h 102"/>
                <a:gd name="T68" fmla="*/ 2147483647 w 111"/>
                <a:gd name="T69" fmla="*/ 2147483647 h 102"/>
                <a:gd name="T70" fmla="*/ 2147483647 w 111"/>
                <a:gd name="T71" fmla="*/ 2147483647 h 102"/>
                <a:gd name="T72" fmla="*/ 2147483647 w 111"/>
                <a:gd name="T73" fmla="*/ 2147483647 h 102"/>
                <a:gd name="T74" fmla="*/ 2147483647 w 111"/>
                <a:gd name="T75" fmla="*/ 2147483647 h 102"/>
                <a:gd name="T76" fmla="*/ 2147483647 w 111"/>
                <a:gd name="T77" fmla="*/ 2147483647 h 102"/>
                <a:gd name="T78" fmla="*/ 2147483647 w 111"/>
                <a:gd name="T79" fmla="*/ 2147483647 h 102"/>
                <a:gd name="T80" fmla="*/ 2147483647 w 111"/>
                <a:gd name="T81" fmla="*/ 2147483647 h 102"/>
                <a:gd name="T82" fmla="*/ 2147483647 w 111"/>
                <a:gd name="T83" fmla="*/ 2147483647 h 102"/>
                <a:gd name="T84" fmla="*/ 2147483647 w 111"/>
                <a:gd name="T85" fmla="*/ 2147483647 h 102"/>
                <a:gd name="T86" fmla="*/ 2147483647 w 111"/>
                <a:gd name="T87" fmla="*/ 2147483647 h 10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1"/>
                <a:gd name="T133" fmla="*/ 0 h 102"/>
                <a:gd name="T134" fmla="*/ 111 w 111"/>
                <a:gd name="T135" fmla="*/ 102 h 10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1" h="102">
                  <a:moveTo>
                    <a:pt x="57" y="91"/>
                  </a:moveTo>
                  <a:lnTo>
                    <a:pt x="59" y="87"/>
                  </a:lnTo>
                  <a:lnTo>
                    <a:pt x="48" y="76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16" y="42"/>
                  </a:lnTo>
                  <a:lnTo>
                    <a:pt x="14" y="36"/>
                  </a:lnTo>
                  <a:lnTo>
                    <a:pt x="8" y="23"/>
                  </a:lnTo>
                  <a:lnTo>
                    <a:pt x="0" y="21"/>
                  </a:lnTo>
                  <a:lnTo>
                    <a:pt x="2" y="4"/>
                  </a:lnTo>
                  <a:lnTo>
                    <a:pt x="6" y="2"/>
                  </a:lnTo>
                  <a:lnTo>
                    <a:pt x="16" y="11"/>
                  </a:lnTo>
                  <a:lnTo>
                    <a:pt x="23" y="2"/>
                  </a:lnTo>
                  <a:lnTo>
                    <a:pt x="31" y="4"/>
                  </a:lnTo>
                  <a:lnTo>
                    <a:pt x="33" y="0"/>
                  </a:lnTo>
                  <a:lnTo>
                    <a:pt x="42" y="4"/>
                  </a:lnTo>
                  <a:lnTo>
                    <a:pt x="59" y="7"/>
                  </a:lnTo>
                  <a:lnTo>
                    <a:pt x="63" y="4"/>
                  </a:lnTo>
                  <a:lnTo>
                    <a:pt x="75" y="4"/>
                  </a:lnTo>
                  <a:lnTo>
                    <a:pt x="84" y="6"/>
                  </a:lnTo>
                  <a:lnTo>
                    <a:pt x="84" y="11"/>
                  </a:lnTo>
                  <a:lnTo>
                    <a:pt x="94" y="13"/>
                  </a:lnTo>
                  <a:lnTo>
                    <a:pt x="101" y="11"/>
                  </a:lnTo>
                  <a:lnTo>
                    <a:pt x="101" y="19"/>
                  </a:lnTo>
                  <a:lnTo>
                    <a:pt x="95" y="28"/>
                  </a:lnTo>
                  <a:lnTo>
                    <a:pt x="97" y="34"/>
                  </a:lnTo>
                  <a:lnTo>
                    <a:pt x="111" y="42"/>
                  </a:lnTo>
                  <a:lnTo>
                    <a:pt x="111" y="47"/>
                  </a:lnTo>
                  <a:lnTo>
                    <a:pt x="101" y="45"/>
                  </a:lnTo>
                  <a:lnTo>
                    <a:pt x="111" y="59"/>
                  </a:lnTo>
                  <a:lnTo>
                    <a:pt x="103" y="64"/>
                  </a:lnTo>
                  <a:lnTo>
                    <a:pt x="94" y="63"/>
                  </a:lnTo>
                  <a:lnTo>
                    <a:pt x="97" y="68"/>
                  </a:lnTo>
                  <a:lnTo>
                    <a:pt x="95" y="74"/>
                  </a:lnTo>
                  <a:lnTo>
                    <a:pt x="92" y="72"/>
                  </a:lnTo>
                  <a:lnTo>
                    <a:pt x="88" y="78"/>
                  </a:lnTo>
                  <a:lnTo>
                    <a:pt x="88" y="85"/>
                  </a:lnTo>
                  <a:lnTo>
                    <a:pt x="84" y="87"/>
                  </a:lnTo>
                  <a:lnTo>
                    <a:pt x="82" y="95"/>
                  </a:lnTo>
                  <a:lnTo>
                    <a:pt x="84" y="99"/>
                  </a:lnTo>
                  <a:lnTo>
                    <a:pt x="82" y="102"/>
                  </a:lnTo>
                  <a:lnTo>
                    <a:pt x="65" y="91"/>
                  </a:lnTo>
                  <a:lnTo>
                    <a:pt x="59" y="93"/>
                  </a:lnTo>
                  <a:lnTo>
                    <a:pt x="57" y="9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3278162" y="3426183"/>
              <a:ext cx="93716" cy="75661"/>
            </a:xfrm>
            <a:custGeom>
              <a:avLst/>
              <a:gdLst>
                <a:gd name="T0" fmla="*/ 2147483647 w 173"/>
                <a:gd name="T1" fmla="*/ 2147483647 h 121"/>
                <a:gd name="T2" fmla="*/ 2147483647 w 173"/>
                <a:gd name="T3" fmla="*/ 2147483647 h 121"/>
                <a:gd name="T4" fmla="*/ 2147483647 w 173"/>
                <a:gd name="T5" fmla="*/ 2147483647 h 121"/>
                <a:gd name="T6" fmla="*/ 2147483647 w 173"/>
                <a:gd name="T7" fmla="*/ 2147483647 h 121"/>
                <a:gd name="T8" fmla="*/ 2147483647 w 173"/>
                <a:gd name="T9" fmla="*/ 2147483647 h 121"/>
                <a:gd name="T10" fmla="*/ 2147483647 w 173"/>
                <a:gd name="T11" fmla="*/ 2147483647 h 121"/>
                <a:gd name="T12" fmla="*/ 2147483647 w 173"/>
                <a:gd name="T13" fmla="*/ 2147483647 h 121"/>
                <a:gd name="T14" fmla="*/ 2147483647 w 173"/>
                <a:gd name="T15" fmla="*/ 2147483647 h 121"/>
                <a:gd name="T16" fmla="*/ 2147483647 w 173"/>
                <a:gd name="T17" fmla="*/ 2147483647 h 121"/>
                <a:gd name="T18" fmla="*/ 2147483647 w 173"/>
                <a:gd name="T19" fmla="*/ 2147483647 h 121"/>
                <a:gd name="T20" fmla="*/ 2147483647 w 173"/>
                <a:gd name="T21" fmla="*/ 2147483647 h 121"/>
                <a:gd name="T22" fmla="*/ 2147483647 w 173"/>
                <a:gd name="T23" fmla="*/ 2147483647 h 121"/>
                <a:gd name="T24" fmla="*/ 2147483647 w 173"/>
                <a:gd name="T25" fmla="*/ 2147483647 h 121"/>
                <a:gd name="T26" fmla="*/ 2147483647 w 173"/>
                <a:gd name="T27" fmla="*/ 2147483647 h 121"/>
                <a:gd name="T28" fmla="*/ 2147483647 w 173"/>
                <a:gd name="T29" fmla="*/ 2147483647 h 121"/>
                <a:gd name="T30" fmla="*/ 2147483647 w 173"/>
                <a:gd name="T31" fmla="*/ 2147483647 h 121"/>
                <a:gd name="T32" fmla="*/ 2147483647 w 173"/>
                <a:gd name="T33" fmla="*/ 2147483647 h 121"/>
                <a:gd name="T34" fmla="*/ 2147483647 w 173"/>
                <a:gd name="T35" fmla="*/ 2147483647 h 121"/>
                <a:gd name="T36" fmla="*/ 2147483647 w 173"/>
                <a:gd name="T37" fmla="*/ 2147483647 h 121"/>
                <a:gd name="T38" fmla="*/ 2147483647 w 173"/>
                <a:gd name="T39" fmla="*/ 2147483647 h 121"/>
                <a:gd name="T40" fmla="*/ 0 w 173"/>
                <a:gd name="T41" fmla="*/ 2147483647 h 121"/>
                <a:gd name="T42" fmla="*/ 2147483647 w 173"/>
                <a:gd name="T43" fmla="*/ 0 h 121"/>
                <a:gd name="T44" fmla="*/ 2147483647 w 173"/>
                <a:gd name="T45" fmla="*/ 0 h 121"/>
                <a:gd name="T46" fmla="*/ 2147483647 w 173"/>
                <a:gd name="T47" fmla="*/ 2147483647 h 121"/>
                <a:gd name="T48" fmla="*/ 2147483647 w 173"/>
                <a:gd name="T49" fmla="*/ 2147483647 h 121"/>
                <a:gd name="T50" fmla="*/ 2147483647 w 173"/>
                <a:gd name="T51" fmla="*/ 2147483647 h 121"/>
                <a:gd name="T52" fmla="*/ 2147483647 w 173"/>
                <a:gd name="T53" fmla="*/ 2147483647 h 121"/>
                <a:gd name="T54" fmla="*/ 2147483647 w 173"/>
                <a:gd name="T55" fmla="*/ 2147483647 h 121"/>
                <a:gd name="T56" fmla="*/ 2147483647 w 173"/>
                <a:gd name="T57" fmla="*/ 2147483647 h 121"/>
                <a:gd name="T58" fmla="*/ 2147483647 w 173"/>
                <a:gd name="T59" fmla="*/ 2147483647 h 12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3"/>
                <a:gd name="T91" fmla="*/ 0 h 121"/>
                <a:gd name="T92" fmla="*/ 173 w 173"/>
                <a:gd name="T93" fmla="*/ 121 h 12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3" h="121">
                  <a:moveTo>
                    <a:pt x="173" y="22"/>
                  </a:moveTo>
                  <a:lnTo>
                    <a:pt x="171" y="34"/>
                  </a:lnTo>
                  <a:lnTo>
                    <a:pt x="160" y="34"/>
                  </a:lnTo>
                  <a:lnTo>
                    <a:pt x="156" y="55"/>
                  </a:lnTo>
                  <a:lnTo>
                    <a:pt x="145" y="64"/>
                  </a:lnTo>
                  <a:lnTo>
                    <a:pt x="156" y="66"/>
                  </a:lnTo>
                  <a:lnTo>
                    <a:pt x="164" y="87"/>
                  </a:lnTo>
                  <a:lnTo>
                    <a:pt x="147" y="93"/>
                  </a:lnTo>
                  <a:lnTo>
                    <a:pt x="137" y="83"/>
                  </a:lnTo>
                  <a:lnTo>
                    <a:pt x="107" y="100"/>
                  </a:lnTo>
                  <a:lnTo>
                    <a:pt x="101" y="117"/>
                  </a:lnTo>
                  <a:lnTo>
                    <a:pt x="78" y="121"/>
                  </a:lnTo>
                  <a:lnTo>
                    <a:pt x="57" y="106"/>
                  </a:lnTo>
                  <a:lnTo>
                    <a:pt x="46" y="114"/>
                  </a:lnTo>
                  <a:lnTo>
                    <a:pt x="21" y="117"/>
                  </a:lnTo>
                  <a:lnTo>
                    <a:pt x="21" y="93"/>
                  </a:lnTo>
                  <a:lnTo>
                    <a:pt x="6" y="81"/>
                  </a:lnTo>
                  <a:lnTo>
                    <a:pt x="2" y="60"/>
                  </a:lnTo>
                  <a:lnTo>
                    <a:pt x="21" y="57"/>
                  </a:lnTo>
                  <a:lnTo>
                    <a:pt x="25" y="49"/>
                  </a:lnTo>
                  <a:lnTo>
                    <a:pt x="0" y="34"/>
                  </a:lnTo>
                  <a:lnTo>
                    <a:pt x="4" y="0"/>
                  </a:lnTo>
                  <a:lnTo>
                    <a:pt x="14" y="0"/>
                  </a:lnTo>
                  <a:lnTo>
                    <a:pt x="12" y="13"/>
                  </a:lnTo>
                  <a:lnTo>
                    <a:pt x="46" y="22"/>
                  </a:lnTo>
                  <a:lnTo>
                    <a:pt x="69" y="26"/>
                  </a:lnTo>
                  <a:lnTo>
                    <a:pt x="94" y="28"/>
                  </a:lnTo>
                  <a:lnTo>
                    <a:pt x="113" y="15"/>
                  </a:lnTo>
                  <a:lnTo>
                    <a:pt x="141" y="7"/>
                  </a:lnTo>
                  <a:lnTo>
                    <a:pt x="173" y="2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3064270" y="3033906"/>
              <a:ext cx="33076" cy="103598"/>
            </a:xfrm>
            <a:custGeom>
              <a:avLst/>
              <a:gdLst>
                <a:gd name="T0" fmla="*/ 2147483647 w 63"/>
                <a:gd name="T1" fmla="*/ 2147483647 h 165"/>
                <a:gd name="T2" fmla="*/ 2147483647 w 63"/>
                <a:gd name="T3" fmla="*/ 2147483647 h 165"/>
                <a:gd name="T4" fmla="*/ 2147483647 w 63"/>
                <a:gd name="T5" fmla="*/ 2147483647 h 165"/>
                <a:gd name="T6" fmla="*/ 2147483647 w 63"/>
                <a:gd name="T7" fmla="*/ 2147483647 h 165"/>
                <a:gd name="T8" fmla="*/ 2147483647 w 63"/>
                <a:gd name="T9" fmla="*/ 2147483647 h 165"/>
                <a:gd name="T10" fmla="*/ 2147483647 w 63"/>
                <a:gd name="T11" fmla="*/ 2147483647 h 165"/>
                <a:gd name="T12" fmla="*/ 2147483647 w 63"/>
                <a:gd name="T13" fmla="*/ 2147483647 h 165"/>
                <a:gd name="T14" fmla="*/ 2147483647 w 63"/>
                <a:gd name="T15" fmla="*/ 2147483647 h 165"/>
                <a:gd name="T16" fmla="*/ 2147483647 w 63"/>
                <a:gd name="T17" fmla="*/ 2147483647 h 165"/>
                <a:gd name="T18" fmla="*/ 2147483647 w 63"/>
                <a:gd name="T19" fmla="*/ 2147483647 h 165"/>
                <a:gd name="T20" fmla="*/ 2147483647 w 63"/>
                <a:gd name="T21" fmla="*/ 2147483647 h 165"/>
                <a:gd name="T22" fmla="*/ 0 w 63"/>
                <a:gd name="T23" fmla="*/ 2147483647 h 165"/>
                <a:gd name="T24" fmla="*/ 0 w 63"/>
                <a:gd name="T25" fmla="*/ 2147483647 h 165"/>
                <a:gd name="T26" fmla="*/ 2147483647 w 63"/>
                <a:gd name="T27" fmla="*/ 2147483647 h 165"/>
                <a:gd name="T28" fmla="*/ 2147483647 w 63"/>
                <a:gd name="T29" fmla="*/ 2147483647 h 165"/>
                <a:gd name="T30" fmla="*/ 2147483647 w 63"/>
                <a:gd name="T31" fmla="*/ 2147483647 h 165"/>
                <a:gd name="T32" fmla="*/ 2147483647 w 63"/>
                <a:gd name="T33" fmla="*/ 2147483647 h 165"/>
                <a:gd name="T34" fmla="*/ 2147483647 w 63"/>
                <a:gd name="T35" fmla="*/ 2147483647 h 165"/>
                <a:gd name="T36" fmla="*/ 2147483647 w 63"/>
                <a:gd name="T37" fmla="*/ 2147483647 h 165"/>
                <a:gd name="T38" fmla="*/ 2147483647 w 63"/>
                <a:gd name="T39" fmla="*/ 2147483647 h 165"/>
                <a:gd name="T40" fmla="*/ 2147483647 w 63"/>
                <a:gd name="T41" fmla="*/ 0 h 165"/>
                <a:gd name="T42" fmla="*/ 2147483647 w 63"/>
                <a:gd name="T43" fmla="*/ 2147483647 h 165"/>
                <a:gd name="T44" fmla="*/ 2147483647 w 63"/>
                <a:gd name="T45" fmla="*/ 2147483647 h 165"/>
                <a:gd name="T46" fmla="*/ 2147483647 w 63"/>
                <a:gd name="T47" fmla="*/ 2147483647 h 165"/>
                <a:gd name="T48" fmla="*/ 2147483647 w 63"/>
                <a:gd name="T49" fmla="*/ 2147483647 h 165"/>
                <a:gd name="T50" fmla="*/ 2147483647 w 63"/>
                <a:gd name="T51" fmla="*/ 2147483647 h 165"/>
                <a:gd name="T52" fmla="*/ 2147483647 w 63"/>
                <a:gd name="T53" fmla="*/ 2147483647 h 165"/>
                <a:gd name="T54" fmla="*/ 2147483647 w 63"/>
                <a:gd name="T55" fmla="*/ 2147483647 h 165"/>
                <a:gd name="T56" fmla="*/ 2147483647 w 63"/>
                <a:gd name="T57" fmla="*/ 2147483647 h 165"/>
                <a:gd name="T58" fmla="*/ 2147483647 w 63"/>
                <a:gd name="T59" fmla="*/ 2147483647 h 165"/>
                <a:gd name="T60" fmla="*/ 2147483647 w 63"/>
                <a:gd name="T61" fmla="*/ 2147483647 h 165"/>
                <a:gd name="T62" fmla="*/ 2147483647 w 63"/>
                <a:gd name="T63" fmla="*/ 2147483647 h 165"/>
                <a:gd name="T64" fmla="*/ 2147483647 w 63"/>
                <a:gd name="T65" fmla="*/ 2147483647 h 165"/>
                <a:gd name="T66" fmla="*/ 2147483647 w 63"/>
                <a:gd name="T67" fmla="*/ 2147483647 h 165"/>
                <a:gd name="T68" fmla="*/ 2147483647 w 63"/>
                <a:gd name="T69" fmla="*/ 2147483647 h 165"/>
                <a:gd name="T70" fmla="*/ 2147483647 w 63"/>
                <a:gd name="T71" fmla="*/ 2147483647 h 165"/>
                <a:gd name="T72" fmla="*/ 2147483647 w 63"/>
                <a:gd name="T73" fmla="*/ 2147483647 h 165"/>
                <a:gd name="T74" fmla="*/ 2147483647 w 63"/>
                <a:gd name="T75" fmla="*/ 2147483647 h 165"/>
                <a:gd name="T76" fmla="*/ 2147483647 w 63"/>
                <a:gd name="T77" fmla="*/ 2147483647 h 165"/>
                <a:gd name="T78" fmla="*/ 2147483647 w 63"/>
                <a:gd name="T79" fmla="*/ 2147483647 h 165"/>
                <a:gd name="T80" fmla="*/ 2147483647 w 63"/>
                <a:gd name="T81" fmla="*/ 2147483647 h 165"/>
                <a:gd name="T82" fmla="*/ 2147483647 w 63"/>
                <a:gd name="T83" fmla="*/ 2147483647 h 16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165"/>
                <a:gd name="T128" fmla="*/ 63 w 63"/>
                <a:gd name="T129" fmla="*/ 165 h 16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165">
                  <a:moveTo>
                    <a:pt x="15" y="165"/>
                  </a:moveTo>
                  <a:lnTo>
                    <a:pt x="11" y="154"/>
                  </a:lnTo>
                  <a:lnTo>
                    <a:pt x="15" y="137"/>
                  </a:lnTo>
                  <a:lnTo>
                    <a:pt x="11" y="125"/>
                  </a:lnTo>
                  <a:lnTo>
                    <a:pt x="4" y="129"/>
                  </a:lnTo>
                  <a:lnTo>
                    <a:pt x="4" y="112"/>
                  </a:lnTo>
                  <a:lnTo>
                    <a:pt x="8" y="106"/>
                  </a:lnTo>
                  <a:lnTo>
                    <a:pt x="6" y="93"/>
                  </a:lnTo>
                  <a:lnTo>
                    <a:pt x="2" y="93"/>
                  </a:lnTo>
                  <a:lnTo>
                    <a:pt x="2" y="84"/>
                  </a:lnTo>
                  <a:lnTo>
                    <a:pt x="9" y="82"/>
                  </a:lnTo>
                  <a:lnTo>
                    <a:pt x="0" y="74"/>
                  </a:lnTo>
                  <a:lnTo>
                    <a:pt x="0" y="66"/>
                  </a:lnTo>
                  <a:lnTo>
                    <a:pt x="9" y="72"/>
                  </a:lnTo>
                  <a:lnTo>
                    <a:pt x="11" y="63"/>
                  </a:lnTo>
                  <a:lnTo>
                    <a:pt x="4" y="61"/>
                  </a:lnTo>
                  <a:lnTo>
                    <a:pt x="6" y="51"/>
                  </a:lnTo>
                  <a:lnTo>
                    <a:pt x="11" y="42"/>
                  </a:lnTo>
                  <a:lnTo>
                    <a:pt x="34" y="32"/>
                  </a:lnTo>
                  <a:lnTo>
                    <a:pt x="46" y="4"/>
                  </a:lnTo>
                  <a:lnTo>
                    <a:pt x="53" y="0"/>
                  </a:lnTo>
                  <a:lnTo>
                    <a:pt x="57" y="9"/>
                  </a:lnTo>
                  <a:lnTo>
                    <a:pt x="55" y="13"/>
                  </a:lnTo>
                  <a:lnTo>
                    <a:pt x="59" y="27"/>
                  </a:lnTo>
                  <a:lnTo>
                    <a:pt x="55" y="40"/>
                  </a:lnTo>
                  <a:lnTo>
                    <a:pt x="46" y="36"/>
                  </a:lnTo>
                  <a:lnTo>
                    <a:pt x="42" y="44"/>
                  </a:lnTo>
                  <a:lnTo>
                    <a:pt x="47" y="46"/>
                  </a:lnTo>
                  <a:lnTo>
                    <a:pt x="51" y="61"/>
                  </a:lnTo>
                  <a:lnTo>
                    <a:pt x="57" y="70"/>
                  </a:lnTo>
                  <a:lnTo>
                    <a:pt x="63" y="70"/>
                  </a:lnTo>
                  <a:lnTo>
                    <a:pt x="63" y="82"/>
                  </a:lnTo>
                  <a:lnTo>
                    <a:pt x="57" y="91"/>
                  </a:lnTo>
                  <a:lnTo>
                    <a:pt x="46" y="89"/>
                  </a:lnTo>
                  <a:lnTo>
                    <a:pt x="46" y="101"/>
                  </a:lnTo>
                  <a:lnTo>
                    <a:pt x="51" y="112"/>
                  </a:lnTo>
                  <a:lnTo>
                    <a:pt x="40" y="114"/>
                  </a:lnTo>
                  <a:lnTo>
                    <a:pt x="42" y="122"/>
                  </a:lnTo>
                  <a:lnTo>
                    <a:pt x="42" y="139"/>
                  </a:lnTo>
                  <a:lnTo>
                    <a:pt x="34" y="146"/>
                  </a:lnTo>
                  <a:lnTo>
                    <a:pt x="46" y="160"/>
                  </a:lnTo>
                  <a:lnTo>
                    <a:pt x="15" y="16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" name="Freeform 13"/>
            <p:cNvSpPr>
              <a:spLocks/>
            </p:cNvSpPr>
            <p:nvPr/>
          </p:nvSpPr>
          <p:spPr bwMode="auto">
            <a:xfrm>
              <a:off x="3096243" y="3131684"/>
              <a:ext cx="19846" cy="8148"/>
            </a:xfrm>
            <a:custGeom>
              <a:avLst/>
              <a:gdLst>
                <a:gd name="T0" fmla="*/ 2147483647 w 36"/>
                <a:gd name="T1" fmla="*/ 0 h 15"/>
                <a:gd name="T2" fmla="*/ 2147483647 w 36"/>
                <a:gd name="T3" fmla="*/ 2147483647 h 15"/>
                <a:gd name="T4" fmla="*/ 2147483647 w 36"/>
                <a:gd name="T5" fmla="*/ 2147483647 h 15"/>
                <a:gd name="T6" fmla="*/ 2147483647 w 36"/>
                <a:gd name="T7" fmla="*/ 2147483647 h 15"/>
                <a:gd name="T8" fmla="*/ 2147483647 w 36"/>
                <a:gd name="T9" fmla="*/ 2147483647 h 15"/>
                <a:gd name="T10" fmla="*/ 2147483647 w 36"/>
                <a:gd name="T11" fmla="*/ 2147483647 h 15"/>
                <a:gd name="T12" fmla="*/ 2147483647 w 36"/>
                <a:gd name="T13" fmla="*/ 2147483647 h 15"/>
                <a:gd name="T14" fmla="*/ 0 w 36"/>
                <a:gd name="T15" fmla="*/ 2147483647 h 15"/>
                <a:gd name="T16" fmla="*/ 2147483647 w 36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15"/>
                <a:gd name="T29" fmla="*/ 36 w 36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15">
                  <a:moveTo>
                    <a:pt x="5" y="0"/>
                  </a:moveTo>
                  <a:lnTo>
                    <a:pt x="19" y="4"/>
                  </a:lnTo>
                  <a:lnTo>
                    <a:pt x="30" y="2"/>
                  </a:lnTo>
                  <a:lnTo>
                    <a:pt x="36" y="5"/>
                  </a:lnTo>
                  <a:lnTo>
                    <a:pt x="28" y="11"/>
                  </a:lnTo>
                  <a:lnTo>
                    <a:pt x="24" y="11"/>
                  </a:lnTo>
                  <a:lnTo>
                    <a:pt x="15" y="15"/>
                  </a:lnTo>
                  <a:lnTo>
                    <a:pt x="0" y="9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>
              <a:off x="3088526" y="3111896"/>
              <a:ext cx="8820" cy="25609"/>
            </a:xfrm>
            <a:custGeom>
              <a:avLst/>
              <a:gdLst>
                <a:gd name="T0" fmla="*/ 0 w 19"/>
                <a:gd name="T1" fmla="*/ 0 h 42"/>
                <a:gd name="T2" fmla="*/ 2147483647 w 19"/>
                <a:gd name="T3" fmla="*/ 2147483647 h 42"/>
                <a:gd name="T4" fmla="*/ 2147483647 w 19"/>
                <a:gd name="T5" fmla="*/ 2147483647 h 42"/>
                <a:gd name="T6" fmla="*/ 2147483647 w 19"/>
                <a:gd name="T7" fmla="*/ 2147483647 h 42"/>
                <a:gd name="T8" fmla="*/ 2147483647 w 19"/>
                <a:gd name="T9" fmla="*/ 2147483647 h 42"/>
                <a:gd name="T10" fmla="*/ 2147483647 w 19"/>
                <a:gd name="T11" fmla="*/ 2147483647 h 42"/>
                <a:gd name="T12" fmla="*/ 2147483647 w 19"/>
                <a:gd name="T13" fmla="*/ 2147483647 h 42"/>
                <a:gd name="T14" fmla="*/ 2147483647 w 19"/>
                <a:gd name="T15" fmla="*/ 2147483647 h 42"/>
                <a:gd name="T16" fmla="*/ 2147483647 w 19"/>
                <a:gd name="T17" fmla="*/ 2147483647 h 42"/>
                <a:gd name="T18" fmla="*/ 2147483647 w 19"/>
                <a:gd name="T19" fmla="*/ 2147483647 h 42"/>
                <a:gd name="T20" fmla="*/ 0 w 19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42"/>
                <a:gd name="T35" fmla="*/ 19 w 19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42">
                  <a:moveTo>
                    <a:pt x="0" y="0"/>
                  </a:moveTo>
                  <a:lnTo>
                    <a:pt x="13" y="8"/>
                  </a:lnTo>
                  <a:lnTo>
                    <a:pt x="15" y="19"/>
                  </a:lnTo>
                  <a:lnTo>
                    <a:pt x="13" y="27"/>
                  </a:lnTo>
                  <a:lnTo>
                    <a:pt x="19" y="25"/>
                  </a:lnTo>
                  <a:lnTo>
                    <a:pt x="13" y="42"/>
                  </a:lnTo>
                  <a:lnTo>
                    <a:pt x="9" y="42"/>
                  </a:lnTo>
                  <a:lnTo>
                    <a:pt x="11" y="29"/>
                  </a:lnTo>
                  <a:lnTo>
                    <a:pt x="5" y="23"/>
                  </a:lnTo>
                  <a:lnTo>
                    <a:pt x="2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" name="Freeform 15"/>
            <p:cNvSpPr>
              <a:spLocks/>
            </p:cNvSpPr>
            <p:nvPr/>
          </p:nvSpPr>
          <p:spPr bwMode="auto">
            <a:xfrm>
              <a:off x="3098448" y="3092108"/>
              <a:ext cx="25359" cy="39577"/>
            </a:xfrm>
            <a:custGeom>
              <a:avLst/>
              <a:gdLst>
                <a:gd name="T0" fmla="*/ 2147483647 w 45"/>
                <a:gd name="T1" fmla="*/ 2147483647 h 65"/>
                <a:gd name="T2" fmla="*/ 2147483647 w 45"/>
                <a:gd name="T3" fmla="*/ 0 h 65"/>
                <a:gd name="T4" fmla="*/ 2147483647 w 45"/>
                <a:gd name="T5" fmla="*/ 2147483647 h 65"/>
                <a:gd name="T6" fmla="*/ 2147483647 w 45"/>
                <a:gd name="T7" fmla="*/ 2147483647 h 65"/>
                <a:gd name="T8" fmla="*/ 2147483647 w 45"/>
                <a:gd name="T9" fmla="*/ 2147483647 h 65"/>
                <a:gd name="T10" fmla="*/ 2147483647 w 45"/>
                <a:gd name="T11" fmla="*/ 2147483647 h 65"/>
                <a:gd name="T12" fmla="*/ 2147483647 w 45"/>
                <a:gd name="T13" fmla="*/ 2147483647 h 65"/>
                <a:gd name="T14" fmla="*/ 2147483647 w 45"/>
                <a:gd name="T15" fmla="*/ 2147483647 h 65"/>
                <a:gd name="T16" fmla="*/ 2147483647 w 45"/>
                <a:gd name="T17" fmla="*/ 2147483647 h 65"/>
                <a:gd name="T18" fmla="*/ 2147483647 w 45"/>
                <a:gd name="T19" fmla="*/ 2147483647 h 65"/>
                <a:gd name="T20" fmla="*/ 2147483647 w 45"/>
                <a:gd name="T21" fmla="*/ 2147483647 h 65"/>
                <a:gd name="T22" fmla="*/ 2147483647 w 45"/>
                <a:gd name="T23" fmla="*/ 2147483647 h 65"/>
                <a:gd name="T24" fmla="*/ 2147483647 w 45"/>
                <a:gd name="T25" fmla="*/ 2147483647 h 65"/>
                <a:gd name="T26" fmla="*/ 0 w 45"/>
                <a:gd name="T27" fmla="*/ 2147483647 h 65"/>
                <a:gd name="T28" fmla="*/ 2147483647 w 45"/>
                <a:gd name="T29" fmla="*/ 2147483647 h 65"/>
                <a:gd name="T30" fmla="*/ 2147483647 w 45"/>
                <a:gd name="T31" fmla="*/ 2147483647 h 65"/>
                <a:gd name="T32" fmla="*/ 2147483647 w 45"/>
                <a:gd name="T33" fmla="*/ 2147483647 h 65"/>
                <a:gd name="T34" fmla="*/ 2147483647 w 45"/>
                <a:gd name="T35" fmla="*/ 2147483647 h 6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5"/>
                <a:gd name="T55" fmla="*/ 0 h 65"/>
                <a:gd name="T56" fmla="*/ 45 w 45"/>
                <a:gd name="T57" fmla="*/ 65 h 6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5" h="65">
                  <a:moveTo>
                    <a:pt x="26" y="6"/>
                  </a:moveTo>
                  <a:lnTo>
                    <a:pt x="38" y="0"/>
                  </a:lnTo>
                  <a:lnTo>
                    <a:pt x="45" y="6"/>
                  </a:lnTo>
                  <a:lnTo>
                    <a:pt x="43" y="19"/>
                  </a:lnTo>
                  <a:lnTo>
                    <a:pt x="45" y="29"/>
                  </a:lnTo>
                  <a:lnTo>
                    <a:pt x="36" y="32"/>
                  </a:lnTo>
                  <a:lnTo>
                    <a:pt x="41" y="44"/>
                  </a:lnTo>
                  <a:lnTo>
                    <a:pt x="36" y="53"/>
                  </a:lnTo>
                  <a:lnTo>
                    <a:pt x="41" y="61"/>
                  </a:lnTo>
                  <a:lnTo>
                    <a:pt x="38" y="65"/>
                  </a:lnTo>
                  <a:lnTo>
                    <a:pt x="22" y="61"/>
                  </a:lnTo>
                  <a:lnTo>
                    <a:pt x="20" y="50"/>
                  </a:lnTo>
                  <a:lnTo>
                    <a:pt x="7" y="48"/>
                  </a:lnTo>
                  <a:lnTo>
                    <a:pt x="0" y="27"/>
                  </a:lnTo>
                  <a:lnTo>
                    <a:pt x="9" y="25"/>
                  </a:lnTo>
                  <a:lnTo>
                    <a:pt x="15" y="10"/>
                  </a:lnTo>
                  <a:lnTo>
                    <a:pt x="22" y="21"/>
                  </a:lnTo>
                  <a:lnTo>
                    <a:pt x="26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0" name="Freeform 16"/>
            <p:cNvSpPr>
              <a:spLocks/>
            </p:cNvSpPr>
            <p:nvPr/>
          </p:nvSpPr>
          <p:spPr bwMode="auto">
            <a:xfrm>
              <a:off x="2829429" y="2866286"/>
              <a:ext cx="13230" cy="43069"/>
            </a:xfrm>
            <a:custGeom>
              <a:avLst/>
              <a:gdLst>
                <a:gd name="T0" fmla="*/ 0 w 23"/>
                <a:gd name="T1" fmla="*/ 2147483647 h 71"/>
                <a:gd name="T2" fmla="*/ 2147483647 w 23"/>
                <a:gd name="T3" fmla="*/ 0 h 71"/>
                <a:gd name="T4" fmla="*/ 2147483647 w 23"/>
                <a:gd name="T5" fmla="*/ 2147483647 h 71"/>
                <a:gd name="T6" fmla="*/ 2147483647 w 23"/>
                <a:gd name="T7" fmla="*/ 2147483647 h 71"/>
                <a:gd name="T8" fmla="*/ 2147483647 w 23"/>
                <a:gd name="T9" fmla="*/ 2147483647 h 71"/>
                <a:gd name="T10" fmla="*/ 2147483647 w 23"/>
                <a:gd name="T11" fmla="*/ 2147483647 h 71"/>
                <a:gd name="T12" fmla="*/ 2147483647 w 23"/>
                <a:gd name="T13" fmla="*/ 2147483647 h 71"/>
                <a:gd name="T14" fmla="*/ 2147483647 w 23"/>
                <a:gd name="T15" fmla="*/ 2147483647 h 71"/>
                <a:gd name="T16" fmla="*/ 2147483647 w 23"/>
                <a:gd name="T17" fmla="*/ 2147483647 h 71"/>
                <a:gd name="T18" fmla="*/ 2147483647 w 23"/>
                <a:gd name="T19" fmla="*/ 2147483647 h 71"/>
                <a:gd name="T20" fmla="*/ 2147483647 w 23"/>
                <a:gd name="T21" fmla="*/ 2147483647 h 71"/>
                <a:gd name="T22" fmla="*/ 2147483647 w 23"/>
                <a:gd name="T23" fmla="*/ 2147483647 h 71"/>
                <a:gd name="T24" fmla="*/ 2147483647 w 23"/>
                <a:gd name="T25" fmla="*/ 2147483647 h 71"/>
                <a:gd name="T26" fmla="*/ 2147483647 w 23"/>
                <a:gd name="T27" fmla="*/ 2147483647 h 71"/>
                <a:gd name="T28" fmla="*/ 2147483647 w 23"/>
                <a:gd name="T29" fmla="*/ 2147483647 h 71"/>
                <a:gd name="T30" fmla="*/ 0 w 23"/>
                <a:gd name="T31" fmla="*/ 2147483647 h 7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3"/>
                <a:gd name="T49" fmla="*/ 0 h 71"/>
                <a:gd name="T50" fmla="*/ 23 w 23"/>
                <a:gd name="T51" fmla="*/ 71 h 7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3" h="71">
                  <a:moveTo>
                    <a:pt x="0" y="10"/>
                  </a:moveTo>
                  <a:lnTo>
                    <a:pt x="18" y="0"/>
                  </a:lnTo>
                  <a:lnTo>
                    <a:pt x="23" y="6"/>
                  </a:lnTo>
                  <a:lnTo>
                    <a:pt x="8" y="15"/>
                  </a:lnTo>
                  <a:lnTo>
                    <a:pt x="14" y="27"/>
                  </a:lnTo>
                  <a:lnTo>
                    <a:pt x="10" y="34"/>
                  </a:lnTo>
                  <a:lnTo>
                    <a:pt x="19" y="44"/>
                  </a:lnTo>
                  <a:lnTo>
                    <a:pt x="14" y="55"/>
                  </a:lnTo>
                  <a:lnTo>
                    <a:pt x="19" y="67"/>
                  </a:lnTo>
                  <a:lnTo>
                    <a:pt x="16" y="71"/>
                  </a:lnTo>
                  <a:lnTo>
                    <a:pt x="10" y="57"/>
                  </a:lnTo>
                  <a:lnTo>
                    <a:pt x="16" y="46"/>
                  </a:lnTo>
                  <a:lnTo>
                    <a:pt x="8" y="38"/>
                  </a:lnTo>
                  <a:lnTo>
                    <a:pt x="10" y="33"/>
                  </a:lnTo>
                  <a:lnTo>
                    <a:pt x="4" y="25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1" name="Freeform 17"/>
            <p:cNvSpPr>
              <a:spLocks/>
            </p:cNvSpPr>
            <p:nvPr/>
          </p:nvSpPr>
          <p:spPr bwMode="auto">
            <a:xfrm>
              <a:off x="3157985" y="3118880"/>
              <a:ext cx="9923" cy="9312"/>
            </a:xfrm>
            <a:custGeom>
              <a:avLst/>
              <a:gdLst>
                <a:gd name="T0" fmla="*/ 2147483647 w 17"/>
                <a:gd name="T1" fmla="*/ 0 h 13"/>
                <a:gd name="T2" fmla="*/ 2147483647 w 17"/>
                <a:gd name="T3" fmla="*/ 2147483647 h 13"/>
                <a:gd name="T4" fmla="*/ 2147483647 w 17"/>
                <a:gd name="T5" fmla="*/ 2147483647 h 13"/>
                <a:gd name="T6" fmla="*/ 0 w 17"/>
                <a:gd name="T7" fmla="*/ 2147483647 h 13"/>
                <a:gd name="T8" fmla="*/ 2147483647 w 17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3"/>
                <a:gd name="T17" fmla="*/ 17 w 17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3">
                  <a:moveTo>
                    <a:pt x="2" y="0"/>
                  </a:moveTo>
                  <a:lnTo>
                    <a:pt x="17" y="2"/>
                  </a:lnTo>
                  <a:lnTo>
                    <a:pt x="15" y="11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2" name="Freeform 18"/>
            <p:cNvSpPr>
              <a:spLocks/>
            </p:cNvSpPr>
            <p:nvPr/>
          </p:nvSpPr>
          <p:spPr bwMode="auto">
            <a:xfrm>
              <a:off x="3024579" y="3134012"/>
              <a:ext cx="137817" cy="213017"/>
            </a:xfrm>
            <a:custGeom>
              <a:avLst/>
              <a:gdLst>
                <a:gd name="T0" fmla="*/ 2147483647 w 252"/>
                <a:gd name="T1" fmla="*/ 2147483647 h 341"/>
                <a:gd name="T2" fmla="*/ 2147483647 w 252"/>
                <a:gd name="T3" fmla="*/ 2147483647 h 341"/>
                <a:gd name="T4" fmla="*/ 2147483647 w 252"/>
                <a:gd name="T5" fmla="*/ 2147483647 h 341"/>
                <a:gd name="T6" fmla="*/ 2147483647 w 252"/>
                <a:gd name="T7" fmla="*/ 2147483647 h 341"/>
                <a:gd name="T8" fmla="*/ 2147483647 w 252"/>
                <a:gd name="T9" fmla="*/ 2147483647 h 341"/>
                <a:gd name="T10" fmla="*/ 2147483647 w 252"/>
                <a:gd name="T11" fmla="*/ 2147483647 h 341"/>
                <a:gd name="T12" fmla="*/ 2147483647 w 252"/>
                <a:gd name="T13" fmla="*/ 2147483647 h 341"/>
                <a:gd name="T14" fmla="*/ 2147483647 w 252"/>
                <a:gd name="T15" fmla="*/ 2147483647 h 341"/>
                <a:gd name="T16" fmla="*/ 2147483647 w 252"/>
                <a:gd name="T17" fmla="*/ 2147483647 h 341"/>
                <a:gd name="T18" fmla="*/ 2147483647 w 252"/>
                <a:gd name="T19" fmla="*/ 2147483647 h 341"/>
                <a:gd name="T20" fmla="*/ 2147483647 w 252"/>
                <a:gd name="T21" fmla="*/ 2147483647 h 341"/>
                <a:gd name="T22" fmla="*/ 2147483647 w 252"/>
                <a:gd name="T23" fmla="*/ 2147483647 h 341"/>
                <a:gd name="T24" fmla="*/ 2147483647 w 252"/>
                <a:gd name="T25" fmla="*/ 2147483647 h 341"/>
                <a:gd name="T26" fmla="*/ 2147483647 w 252"/>
                <a:gd name="T27" fmla="*/ 2147483647 h 341"/>
                <a:gd name="T28" fmla="*/ 2147483647 w 252"/>
                <a:gd name="T29" fmla="*/ 2147483647 h 341"/>
                <a:gd name="T30" fmla="*/ 2147483647 w 252"/>
                <a:gd name="T31" fmla="*/ 0 h 341"/>
                <a:gd name="T32" fmla="*/ 2147483647 w 252"/>
                <a:gd name="T33" fmla="*/ 2147483647 h 341"/>
                <a:gd name="T34" fmla="*/ 2147483647 w 252"/>
                <a:gd name="T35" fmla="*/ 2147483647 h 341"/>
                <a:gd name="T36" fmla="*/ 2147483647 w 252"/>
                <a:gd name="T37" fmla="*/ 2147483647 h 341"/>
                <a:gd name="T38" fmla="*/ 2147483647 w 252"/>
                <a:gd name="T39" fmla="*/ 2147483647 h 341"/>
                <a:gd name="T40" fmla="*/ 2147483647 w 252"/>
                <a:gd name="T41" fmla="*/ 2147483647 h 341"/>
                <a:gd name="T42" fmla="*/ 2147483647 w 252"/>
                <a:gd name="T43" fmla="*/ 2147483647 h 341"/>
                <a:gd name="T44" fmla="*/ 2147483647 w 252"/>
                <a:gd name="T45" fmla="*/ 2147483647 h 341"/>
                <a:gd name="T46" fmla="*/ 2147483647 w 252"/>
                <a:gd name="T47" fmla="*/ 2147483647 h 341"/>
                <a:gd name="T48" fmla="*/ 2147483647 w 252"/>
                <a:gd name="T49" fmla="*/ 2147483647 h 341"/>
                <a:gd name="T50" fmla="*/ 2147483647 w 252"/>
                <a:gd name="T51" fmla="*/ 2147483647 h 341"/>
                <a:gd name="T52" fmla="*/ 2147483647 w 252"/>
                <a:gd name="T53" fmla="*/ 2147483647 h 341"/>
                <a:gd name="T54" fmla="*/ 2147483647 w 252"/>
                <a:gd name="T55" fmla="*/ 2147483647 h 341"/>
                <a:gd name="T56" fmla="*/ 2147483647 w 252"/>
                <a:gd name="T57" fmla="*/ 2147483647 h 341"/>
                <a:gd name="T58" fmla="*/ 2147483647 w 252"/>
                <a:gd name="T59" fmla="*/ 2147483647 h 341"/>
                <a:gd name="T60" fmla="*/ 2147483647 w 252"/>
                <a:gd name="T61" fmla="*/ 2147483647 h 341"/>
                <a:gd name="T62" fmla="*/ 2147483647 w 252"/>
                <a:gd name="T63" fmla="*/ 2147483647 h 341"/>
                <a:gd name="T64" fmla="*/ 2147483647 w 252"/>
                <a:gd name="T65" fmla="*/ 2147483647 h 341"/>
                <a:gd name="T66" fmla="*/ 2147483647 w 252"/>
                <a:gd name="T67" fmla="*/ 2147483647 h 341"/>
                <a:gd name="T68" fmla="*/ 2147483647 w 252"/>
                <a:gd name="T69" fmla="*/ 2147483647 h 341"/>
                <a:gd name="T70" fmla="*/ 2147483647 w 252"/>
                <a:gd name="T71" fmla="*/ 2147483647 h 341"/>
                <a:gd name="T72" fmla="*/ 2147483647 w 252"/>
                <a:gd name="T73" fmla="*/ 2147483647 h 341"/>
                <a:gd name="T74" fmla="*/ 2147483647 w 252"/>
                <a:gd name="T75" fmla="*/ 2147483647 h 341"/>
                <a:gd name="T76" fmla="*/ 2147483647 w 252"/>
                <a:gd name="T77" fmla="*/ 2147483647 h 341"/>
                <a:gd name="T78" fmla="*/ 2147483647 w 252"/>
                <a:gd name="T79" fmla="*/ 2147483647 h 341"/>
                <a:gd name="T80" fmla="*/ 2147483647 w 252"/>
                <a:gd name="T81" fmla="*/ 2147483647 h 341"/>
                <a:gd name="T82" fmla="*/ 2147483647 w 252"/>
                <a:gd name="T83" fmla="*/ 2147483647 h 341"/>
                <a:gd name="T84" fmla="*/ 2147483647 w 252"/>
                <a:gd name="T85" fmla="*/ 2147483647 h 341"/>
                <a:gd name="T86" fmla="*/ 2147483647 w 252"/>
                <a:gd name="T87" fmla="*/ 2147483647 h 341"/>
                <a:gd name="T88" fmla="*/ 2147483647 w 252"/>
                <a:gd name="T89" fmla="*/ 2147483647 h 341"/>
                <a:gd name="T90" fmla="*/ 2147483647 w 252"/>
                <a:gd name="T91" fmla="*/ 2147483647 h 34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2"/>
                <a:gd name="T139" fmla="*/ 0 h 341"/>
                <a:gd name="T140" fmla="*/ 252 w 252"/>
                <a:gd name="T141" fmla="*/ 341 h 34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2" h="341">
                  <a:moveTo>
                    <a:pt x="11" y="226"/>
                  </a:moveTo>
                  <a:lnTo>
                    <a:pt x="21" y="212"/>
                  </a:lnTo>
                  <a:lnTo>
                    <a:pt x="9" y="188"/>
                  </a:lnTo>
                  <a:lnTo>
                    <a:pt x="5" y="180"/>
                  </a:lnTo>
                  <a:lnTo>
                    <a:pt x="9" y="169"/>
                  </a:lnTo>
                  <a:lnTo>
                    <a:pt x="7" y="153"/>
                  </a:lnTo>
                  <a:lnTo>
                    <a:pt x="0" y="142"/>
                  </a:lnTo>
                  <a:lnTo>
                    <a:pt x="21" y="140"/>
                  </a:lnTo>
                  <a:lnTo>
                    <a:pt x="30" y="134"/>
                  </a:lnTo>
                  <a:lnTo>
                    <a:pt x="26" y="106"/>
                  </a:lnTo>
                  <a:lnTo>
                    <a:pt x="30" y="104"/>
                  </a:lnTo>
                  <a:lnTo>
                    <a:pt x="36" y="87"/>
                  </a:lnTo>
                  <a:lnTo>
                    <a:pt x="30" y="81"/>
                  </a:lnTo>
                  <a:lnTo>
                    <a:pt x="30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58"/>
                  </a:lnTo>
                  <a:lnTo>
                    <a:pt x="53" y="58"/>
                  </a:lnTo>
                  <a:lnTo>
                    <a:pt x="66" y="60"/>
                  </a:lnTo>
                  <a:lnTo>
                    <a:pt x="66" y="68"/>
                  </a:lnTo>
                  <a:lnTo>
                    <a:pt x="72" y="68"/>
                  </a:lnTo>
                  <a:lnTo>
                    <a:pt x="72" y="58"/>
                  </a:lnTo>
                  <a:lnTo>
                    <a:pt x="78" y="62"/>
                  </a:lnTo>
                  <a:lnTo>
                    <a:pt x="85" y="49"/>
                  </a:lnTo>
                  <a:lnTo>
                    <a:pt x="95" y="53"/>
                  </a:lnTo>
                  <a:lnTo>
                    <a:pt x="100" y="49"/>
                  </a:lnTo>
                  <a:lnTo>
                    <a:pt x="91" y="43"/>
                  </a:lnTo>
                  <a:lnTo>
                    <a:pt x="89" y="30"/>
                  </a:lnTo>
                  <a:lnTo>
                    <a:pt x="80" y="26"/>
                  </a:lnTo>
                  <a:lnTo>
                    <a:pt x="91" y="20"/>
                  </a:lnTo>
                  <a:lnTo>
                    <a:pt x="85" y="5"/>
                  </a:lnTo>
                  <a:lnTo>
                    <a:pt x="118" y="0"/>
                  </a:lnTo>
                  <a:lnTo>
                    <a:pt x="119" y="13"/>
                  </a:lnTo>
                  <a:lnTo>
                    <a:pt x="118" y="28"/>
                  </a:lnTo>
                  <a:lnTo>
                    <a:pt x="131" y="32"/>
                  </a:lnTo>
                  <a:lnTo>
                    <a:pt x="137" y="26"/>
                  </a:lnTo>
                  <a:lnTo>
                    <a:pt x="138" y="15"/>
                  </a:lnTo>
                  <a:lnTo>
                    <a:pt x="144" y="17"/>
                  </a:lnTo>
                  <a:lnTo>
                    <a:pt x="146" y="26"/>
                  </a:lnTo>
                  <a:lnTo>
                    <a:pt x="140" y="32"/>
                  </a:lnTo>
                  <a:lnTo>
                    <a:pt x="137" y="36"/>
                  </a:lnTo>
                  <a:lnTo>
                    <a:pt x="129" y="41"/>
                  </a:lnTo>
                  <a:lnTo>
                    <a:pt x="131" y="47"/>
                  </a:lnTo>
                  <a:lnTo>
                    <a:pt x="140" y="45"/>
                  </a:lnTo>
                  <a:lnTo>
                    <a:pt x="156" y="53"/>
                  </a:lnTo>
                  <a:lnTo>
                    <a:pt x="154" y="38"/>
                  </a:lnTo>
                  <a:lnTo>
                    <a:pt x="171" y="39"/>
                  </a:lnTo>
                  <a:lnTo>
                    <a:pt x="178" y="26"/>
                  </a:lnTo>
                  <a:lnTo>
                    <a:pt x="190" y="26"/>
                  </a:lnTo>
                  <a:lnTo>
                    <a:pt x="186" y="32"/>
                  </a:lnTo>
                  <a:lnTo>
                    <a:pt x="195" y="32"/>
                  </a:lnTo>
                  <a:lnTo>
                    <a:pt x="214" y="38"/>
                  </a:lnTo>
                  <a:lnTo>
                    <a:pt x="216" y="47"/>
                  </a:lnTo>
                  <a:lnTo>
                    <a:pt x="224" y="53"/>
                  </a:lnTo>
                  <a:lnTo>
                    <a:pt x="222" y="64"/>
                  </a:lnTo>
                  <a:lnTo>
                    <a:pt x="226" y="98"/>
                  </a:lnTo>
                  <a:lnTo>
                    <a:pt x="239" y="115"/>
                  </a:lnTo>
                  <a:lnTo>
                    <a:pt x="243" y="134"/>
                  </a:lnTo>
                  <a:lnTo>
                    <a:pt x="239" y="161"/>
                  </a:lnTo>
                  <a:lnTo>
                    <a:pt x="252" y="174"/>
                  </a:lnTo>
                  <a:lnTo>
                    <a:pt x="252" y="191"/>
                  </a:lnTo>
                  <a:lnTo>
                    <a:pt x="239" y="191"/>
                  </a:lnTo>
                  <a:lnTo>
                    <a:pt x="230" y="205"/>
                  </a:lnTo>
                  <a:lnTo>
                    <a:pt x="209" y="208"/>
                  </a:lnTo>
                  <a:lnTo>
                    <a:pt x="190" y="229"/>
                  </a:lnTo>
                  <a:lnTo>
                    <a:pt x="176" y="224"/>
                  </a:lnTo>
                  <a:lnTo>
                    <a:pt x="169" y="226"/>
                  </a:lnTo>
                  <a:lnTo>
                    <a:pt x="180" y="241"/>
                  </a:lnTo>
                  <a:lnTo>
                    <a:pt x="190" y="264"/>
                  </a:lnTo>
                  <a:lnTo>
                    <a:pt x="203" y="265"/>
                  </a:lnTo>
                  <a:lnTo>
                    <a:pt x="226" y="283"/>
                  </a:lnTo>
                  <a:lnTo>
                    <a:pt x="228" y="290"/>
                  </a:lnTo>
                  <a:lnTo>
                    <a:pt x="213" y="298"/>
                  </a:lnTo>
                  <a:lnTo>
                    <a:pt x="195" y="303"/>
                  </a:lnTo>
                  <a:lnTo>
                    <a:pt x="194" y="313"/>
                  </a:lnTo>
                  <a:lnTo>
                    <a:pt x="207" y="322"/>
                  </a:lnTo>
                  <a:lnTo>
                    <a:pt x="199" y="340"/>
                  </a:lnTo>
                  <a:lnTo>
                    <a:pt x="190" y="330"/>
                  </a:lnTo>
                  <a:lnTo>
                    <a:pt x="156" y="341"/>
                  </a:lnTo>
                  <a:lnTo>
                    <a:pt x="110" y="336"/>
                  </a:lnTo>
                  <a:lnTo>
                    <a:pt x="89" y="330"/>
                  </a:lnTo>
                  <a:lnTo>
                    <a:pt x="74" y="332"/>
                  </a:lnTo>
                  <a:lnTo>
                    <a:pt x="59" y="338"/>
                  </a:lnTo>
                  <a:lnTo>
                    <a:pt x="53" y="330"/>
                  </a:lnTo>
                  <a:lnTo>
                    <a:pt x="53" y="309"/>
                  </a:lnTo>
                  <a:lnTo>
                    <a:pt x="64" y="281"/>
                  </a:lnTo>
                  <a:lnTo>
                    <a:pt x="57" y="265"/>
                  </a:lnTo>
                  <a:lnTo>
                    <a:pt x="45" y="260"/>
                  </a:lnTo>
                  <a:lnTo>
                    <a:pt x="24" y="267"/>
                  </a:lnTo>
                  <a:lnTo>
                    <a:pt x="19" y="254"/>
                  </a:lnTo>
                  <a:lnTo>
                    <a:pt x="23" y="241"/>
                  </a:lnTo>
                  <a:lnTo>
                    <a:pt x="13" y="237"/>
                  </a:lnTo>
                  <a:lnTo>
                    <a:pt x="11" y="22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3" name="Freeform 19"/>
            <p:cNvSpPr>
              <a:spLocks/>
            </p:cNvSpPr>
            <p:nvPr/>
          </p:nvSpPr>
          <p:spPr bwMode="auto">
            <a:xfrm>
              <a:off x="3134832" y="3140997"/>
              <a:ext cx="7718" cy="13968"/>
            </a:xfrm>
            <a:custGeom>
              <a:avLst/>
              <a:gdLst>
                <a:gd name="T0" fmla="*/ 2147483647 w 15"/>
                <a:gd name="T1" fmla="*/ 0 h 21"/>
                <a:gd name="T2" fmla="*/ 2147483647 w 15"/>
                <a:gd name="T3" fmla="*/ 2147483647 h 21"/>
                <a:gd name="T4" fmla="*/ 2147483647 w 15"/>
                <a:gd name="T5" fmla="*/ 2147483647 h 21"/>
                <a:gd name="T6" fmla="*/ 0 w 15"/>
                <a:gd name="T7" fmla="*/ 2147483647 h 21"/>
                <a:gd name="T8" fmla="*/ 2147483647 w 15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21"/>
                <a:gd name="T17" fmla="*/ 15 w 15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21">
                  <a:moveTo>
                    <a:pt x="2" y="0"/>
                  </a:moveTo>
                  <a:lnTo>
                    <a:pt x="15" y="13"/>
                  </a:lnTo>
                  <a:lnTo>
                    <a:pt x="10" y="21"/>
                  </a:lnTo>
                  <a:lnTo>
                    <a:pt x="0" y="1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4" name="Freeform 20"/>
            <p:cNvSpPr>
              <a:spLocks/>
            </p:cNvSpPr>
            <p:nvPr/>
          </p:nvSpPr>
          <p:spPr bwMode="auto">
            <a:xfrm>
              <a:off x="3267136" y="2995493"/>
              <a:ext cx="26461" cy="36084"/>
            </a:xfrm>
            <a:custGeom>
              <a:avLst/>
              <a:gdLst>
                <a:gd name="T0" fmla="*/ 2147483647 w 48"/>
                <a:gd name="T1" fmla="*/ 2147483647 h 59"/>
                <a:gd name="T2" fmla="*/ 2147483647 w 48"/>
                <a:gd name="T3" fmla="*/ 2147483647 h 59"/>
                <a:gd name="T4" fmla="*/ 2147483647 w 48"/>
                <a:gd name="T5" fmla="*/ 2147483647 h 59"/>
                <a:gd name="T6" fmla="*/ 2147483647 w 48"/>
                <a:gd name="T7" fmla="*/ 2147483647 h 59"/>
                <a:gd name="T8" fmla="*/ 2147483647 w 48"/>
                <a:gd name="T9" fmla="*/ 0 h 59"/>
                <a:gd name="T10" fmla="*/ 2147483647 w 48"/>
                <a:gd name="T11" fmla="*/ 2147483647 h 59"/>
                <a:gd name="T12" fmla="*/ 2147483647 w 48"/>
                <a:gd name="T13" fmla="*/ 2147483647 h 59"/>
                <a:gd name="T14" fmla="*/ 2147483647 w 48"/>
                <a:gd name="T15" fmla="*/ 2147483647 h 59"/>
                <a:gd name="T16" fmla="*/ 2147483647 w 48"/>
                <a:gd name="T17" fmla="*/ 2147483647 h 59"/>
                <a:gd name="T18" fmla="*/ 2147483647 w 48"/>
                <a:gd name="T19" fmla="*/ 2147483647 h 59"/>
                <a:gd name="T20" fmla="*/ 2147483647 w 48"/>
                <a:gd name="T21" fmla="*/ 2147483647 h 59"/>
                <a:gd name="T22" fmla="*/ 2147483647 w 48"/>
                <a:gd name="T23" fmla="*/ 2147483647 h 59"/>
                <a:gd name="T24" fmla="*/ 2147483647 w 48"/>
                <a:gd name="T25" fmla="*/ 2147483647 h 59"/>
                <a:gd name="T26" fmla="*/ 0 w 48"/>
                <a:gd name="T27" fmla="*/ 2147483647 h 59"/>
                <a:gd name="T28" fmla="*/ 2147483647 w 48"/>
                <a:gd name="T29" fmla="*/ 2147483647 h 59"/>
                <a:gd name="T30" fmla="*/ 2147483647 w 48"/>
                <a:gd name="T31" fmla="*/ 2147483647 h 59"/>
                <a:gd name="T32" fmla="*/ 2147483647 w 48"/>
                <a:gd name="T33" fmla="*/ 2147483647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8"/>
                <a:gd name="T52" fmla="*/ 0 h 59"/>
                <a:gd name="T53" fmla="*/ 48 w 48"/>
                <a:gd name="T54" fmla="*/ 59 h 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8" h="59">
                  <a:moveTo>
                    <a:pt x="6" y="29"/>
                  </a:moveTo>
                  <a:lnTo>
                    <a:pt x="27" y="21"/>
                  </a:lnTo>
                  <a:lnTo>
                    <a:pt x="23" y="14"/>
                  </a:lnTo>
                  <a:lnTo>
                    <a:pt x="14" y="8"/>
                  </a:lnTo>
                  <a:lnTo>
                    <a:pt x="25" y="0"/>
                  </a:lnTo>
                  <a:lnTo>
                    <a:pt x="40" y="8"/>
                  </a:lnTo>
                  <a:lnTo>
                    <a:pt x="27" y="19"/>
                  </a:lnTo>
                  <a:lnTo>
                    <a:pt x="38" y="19"/>
                  </a:lnTo>
                  <a:lnTo>
                    <a:pt x="46" y="15"/>
                  </a:lnTo>
                  <a:lnTo>
                    <a:pt x="48" y="27"/>
                  </a:lnTo>
                  <a:lnTo>
                    <a:pt x="29" y="44"/>
                  </a:lnTo>
                  <a:lnTo>
                    <a:pt x="16" y="44"/>
                  </a:lnTo>
                  <a:lnTo>
                    <a:pt x="8" y="59"/>
                  </a:lnTo>
                  <a:lnTo>
                    <a:pt x="0" y="55"/>
                  </a:lnTo>
                  <a:lnTo>
                    <a:pt x="10" y="42"/>
                  </a:lnTo>
                  <a:lnTo>
                    <a:pt x="2" y="38"/>
                  </a:lnTo>
                  <a:lnTo>
                    <a:pt x="6" y="2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5" name="Freeform 21"/>
            <p:cNvSpPr>
              <a:spLocks/>
            </p:cNvSpPr>
            <p:nvPr/>
          </p:nvSpPr>
          <p:spPr bwMode="auto">
            <a:xfrm>
              <a:off x="3295802" y="2975705"/>
              <a:ext cx="76075" cy="71005"/>
            </a:xfrm>
            <a:custGeom>
              <a:avLst/>
              <a:gdLst>
                <a:gd name="T0" fmla="*/ 2147483647 w 140"/>
                <a:gd name="T1" fmla="*/ 2147483647 h 116"/>
                <a:gd name="T2" fmla="*/ 2147483647 w 140"/>
                <a:gd name="T3" fmla="*/ 2147483647 h 116"/>
                <a:gd name="T4" fmla="*/ 2147483647 w 140"/>
                <a:gd name="T5" fmla="*/ 2147483647 h 116"/>
                <a:gd name="T6" fmla="*/ 2147483647 w 140"/>
                <a:gd name="T7" fmla="*/ 2147483647 h 116"/>
                <a:gd name="T8" fmla="*/ 0 w 140"/>
                <a:gd name="T9" fmla="*/ 2147483647 h 116"/>
                <a:gd name="T10" fmla="*/ 2147483647 w 140"/>
                <a:gd name="T11" fmla="*/ 2147483647 h 116"/>
                <a:gd name="T12" fmla="*/ 2147483647 w 140"/>
                <a:gd name="T13" fmla="*/ 2147483647 h 116"/>
                <a:gd name="T14" fmla="*/ 2147483647 w 140"/>
                <a:gd name="T15" fmla="*/ 2147483647 h 116"/>
                <a:gd name="T16" fmla="*/ 2147483647 w 140"/>
                <a:gd name="T17" fmla="*/ 0 h 116"/>
                <a:gd name="T18" fmla="*/ 2147483647 w 140"/>
                <a:gd name="T19" fmla="*/ 2147483647 h 116"/>
                <a:gd name="T20" fmla="*/ 2147483647 w 140"/>
                <a:gd name="T21" fmla="*/ 2147483647 h 116"/>
                <a:gd name="T22" fmla="*/ 2147483647 w 140"/>
                <a:gd name="T23" fmla="*/ 2147483647 h 116"/>
                <a:gd name="T24" fmla="*/ 2147483647 w 140"/>
                <a:gd name="T25" fmla="*/ 2147483647 h 116"/>
                <a:gd name="T26" fmla="*/ 2147483647 w 140"/>
                <a:gd name="T27" fmla="*/ 2147483647 h 116"/>
                <a:gd name="T28" fmla="*/ 2147483647 w 140"/>
                <a:gd name="T29" fmla="*/ 2147483647 h 116"/>
                <a:gd name="T30" fmla="*/ 2147483647 w 140"/>
                <a:gd name="T31" fmla="*/ 2147483647 h 116"/>
                <a:gd name="T32" fmla="*/ 2147483647 w 140"/>
                <a:gd name="T33" fmla="*/ 2147483647 h 116"/>
                <a:gd name="T34" fmla="*/ 2147483647 w 140"/>
                <a:gd name="T35" fmla="*/ 2147483647 h 116"/>
                <a:gd name="T36" fmla="*/ 2147483647 w 140"/>
                <a:gd name="T37" fmla="*/ 2147483647 h 116"/>
                <a:gd name="T38" fmla="*/ 2147483647 w 140"/>
                <a:gd name="T39" fmla="*/ 2147483647 h 116"/>
                <a:gd name="T40" fmla="*/ 2147483647 w 140"/>
                <a:gd name="T41" fmla="*/ 2147483647 h 116"/>
                <a:gd name="T42" fmla="*/ 2147483647 w 140"/>
                <a:gd name="T43" fmla="*/ 2147483647 h 116"/>
                <a:gd name="T44" fmla="*/ 2147483647 w 140"/>
                <a:gd name="T45" fmla="*/ 2147483647 h 11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0"/>
                <a:gd name="T70" fmla="*/ 0 h 116"/>
                <a:gd name="T71" fmla="*/ 140 w 140"/>
                <a:gd name="T72" fmla="*/ 116 h 11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0" h="116">
                  <a:moveTo>
                    <a:pt x="26" y="101"/>
                  </a:moveTo>
                  <a:lnTo>
                    <a:pt x="30" y="70"/>
                  </a:lnTo>
                  <a:lnTo>
                    <a:pt x="15" y="72"/>
                  </a:lnTo>
                  <a:lnTo>
                    <a:pt x="4" y="61"/>
                  </a:lnTo>
                  <a:lnTo>
                    <a:pt x="0" y="32"/>
                  </a:lnTo>
                  <a:lnTo>
                    <a:pt x="26" y="15"/>
                  </a:lnTo>
                  <a:lnTo>
                    <a:pt x="85" y="2"/>
                  </a:lnTo>
                  <a:lnTo>
                    <a:pt x="125" y="8"/>
                  </a:lnTo>
                  <a:lnTo>
                    <a:pt x="129" y="0"/>
                  </a:lnTo>
                  <a:lnTo>
                    <a:pt x="140" y="11"/>
                  </a:lnTo>
                  <a:lnTo>
                    <a:pt x="129" y="34"/>
                  </a:lnTo>
                  <a:lnTo>
                    <a:pt x="112" y="46"/>
                  </a:lnTo>
                  <a:lnTo>
                    <a:pt x="114" y="63"/>
                  </a:lnTo>
                  <a:lnTo>
                    <a:pt x="114" y="68"/>
                  </a:lnTo>
                  <a:lnTo>
                    <a:pt x="121" y="85"/>
                  </a:lnTo>
                  <a:lnTo>
                    <a:pt x="137" y="103"/>
                  </a:lnTo>
                  <a:lnTo>
                    <a:pt x="131" y="108"/>
                  </a:lnTo>
                  <a:lnTo>
                    <a:pt x="118" y="116"/>
                  </a:lnTo>
                  <a:lnTo>
                    <a:pt x="97" y="106"/>
                  </a:lnTo>
                  <a:lnTo>
                    <a:pt x="89" y="116"/>
                  </a:lnTo>
                  <a:lnTo>
                    <a:pt x="72" y="99"/>
                  </a:lnTo>
                  <a:lnTo>
                    <a:pt x="51" y="89"/>
                  </a:lnTo>
                  <a:lnTo>
                    <a:pt x="26" y="10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6" name="Freeform 22"/>
            <p:cNvSpPr>
              <a:spLocks/>
            </p:cNvSpPr>
            <p:nvPr/>
          </p:nvSpPr>
          <p:spPr bwMode="auto">
            <a:xfrm>
              <a:off x="3248393" y="2527554"/>
              <a:ext cx="174201" cy="445822"/>
            </a:xfrm>
            <a:custGeom>
              <a:avLst/>
              <a:gdLst>
                <a:gd name="T0" fmla="*/ 2147483647 w 319"/>
                <a:gd name="T1" fmla="*/ 2147483647 h 712"/>
                <a:gd name="T2" fmla="*/ 2147483647 w 319"/>
                <a:gd name="T3" fmla="*/ 2147483647 h 712"/>
                <a:gd name="T4" fmla="*/ 2147483647 w 319"/>
                <a:gd name="T5" fmla="*/ 2147483647 h 712"/>
                <a:gd name="T6" fmla="*/ 2147483647 w 319"/>
                <a:gd name="T7" fmla="*/ 2147483647 h 712"/>
                <a:gd name="T8" fmla="*/ 2147483647 w 319"/>
                <a:gd name="T9" fmla="*/ 2147483647 h 712"/>
                <a:gd name="T10" fmla="*/ 2147483647 w 319"/>
                <a:gd name="T11" fmla="*/ 2147483647 h 712"/>
                <a:gd name="T12" fmla="*/ 2147483647 w 319"/>
                <a:gd name="T13" fmla="*/ 2147483647 h 712"/>
                <a:gd name="T14" fmla="*/ 2147483647 w 319"/>
                <a:gd name="T15" fmla="*/ 2147483647 h 712"/>
                <a:gd name="T16" fmla="*/ 2147483647 w 319"/>
                <a:gd name="T17" fmla="*/ 2147483647 h 712"/>
                <a:gd name="T18" fmla="*/ 2147483647 w 319"/>
                <a:gd name="T19" fmla="*/ 2147483647 h 712"/>
                <a:gd name="T20" fmla="*/ 2147483647 w 319"/>
                <a:gd name="T21" fmla="*/ 2147483647 h 712"/>
                <a:gd name="T22" fmla="*/ 2147483647 w 319"/>
                <a:gd name="T23" fmla="*/ 2147483647 h 712"/>
                <a:gd name="T24" fmla="*/ 2147483647 w 319"/>
                <a:gd name="T25" fmla="*/ 2147483647 h 712"/>
                <a:gd name="T26" fmla="*/ 2147483647 w 319"/>
                <a:gd name="T27" fmla="*/ 2147483647 h 712"/>
                <a:gd name="T28" fmla="*/ 2147483647 w 319"/>
                <a:gd name="T29" fmla="*/ 2147483647 h 712"/>
                <a:gd name="T30" fmla="*/ 2147483647 w 319"/>
                <a:gd name="T31" fmla="*/ 2147483647 h 712"/>
                <a:gd name="T32" fmla="*/ 2147483647 w 319"/>
                <a:gd name="T33" fmla="*/ 2147483647 h 712"/>
                <a:gd name="T34" fmla="*/ 2147483647 w 319"/>
                <a:gd name="T35" fmla="*/ 2147483647 h 712"/>
                <a:gd name="T36" fmla="*/ 2147483647 w 319"/>
                <a:gd name="T37" fmla="*/ 2147483647 h 712"/>
                <a:gd name="T38" fmla="*/ 2147483647 w 319"/>
                <a:gd name="T39" fmla="*/ 2147483647 h 712"/>
                <a:gd name="T40" fmla="*/ 2147483647 w 319"/>
                <a:gd name="T41" fmla="*/ 2147483647 h 712"/>
                <a:gd name="T42" fmla="*/ 2147483647 w 319"/>
                <a:gd name="T43" fmla="*/ 2147483647 h 712"/>
                <a:gd name="T44" fmla="*/ 2147483647 w 319"/>
                <a:gd name="T45" fmla="*/ 2147483647 h 712"/>
                <a:gd name="T46" fmla="*/ 2147483647 w 319"/>
                <a:gd name="T47" fmla="*/ 2147483647 h 712"/>
                <a:gd name="T48" fmla="*/ 2147483647 w 319"/>
                <a:gd name="T49" fmla="*/ 2147483647 h 712"/>
                <a:gd name="T50" fmla="*/ 2147483647 w 319"/>
                <a:gd name="T51" fmla="*/ 2147483647 h 712"/>
                <a:gd name="T52" fmla="*/ 2147483647 w 319"/>
                <a:gd name="T53" fmla="*/ 2147483647 h 712"/>
                <a:gd name="T54" fmla="*/ 2147483647 w 319"/>
                <a:gd name="T55" fmla="*/ 2147483647 h 712"/>
                <a:gd name="T56" fmla="*/ 2147483647 w 319"/>
                <a:gd name="T57" fmla="*/ 2147483647 h 712"/>
                <a:gd name="T58" fmla="*/ 2147483647 w 319"/>
                <a:gd name="T59" fmla="*/ 2147483647 h 712"/>
                <a:gd name="T60" fmla="*/ 2147483647 w 319"/>
                <a:gd name="T61" fmla="*/ 2147483647 h 712"/>
                <a:gd name="T62" fmla="*/ 2147483647 w 319"/>
                <a:gd name="T63" fmla="*/ 2147483647 h 712"/>
                <a:gd name="T64" fmla="*/ 2147483647 w 319"/>
                <a:gd name="T65" fmla="*/ 2147483647 h 712"/>
                <a:gd name="T66" fmla="*/ 2147483647 w 319"/>
                <a:gd name="T67" fmla="*/ 2147483647 h 712"/>
                <a:gd name="T68" fmla="*/ 2147483647 w 319"/>
                <a:gd name="T69" fmla="*/ 2147483647 h 712"/>
                <a:gd name="T70" fmla="*/ 2147483647 w 319"/>
                <a:gd name="T71" fmla="*/ 2147483647 h 712"/>
                <a:gd name="T72" fmla="*/ 2147483647 w 319"/>
                <a:gd name="T73" fmla="*/ 2147483647 h 712"/>
                <a:gd name="T74" fmla="*/ 2147483647 w 319"/>
                <a:gd name="T75" fmla="*/ 2147483647 h 712"/>
                <a:gd name="T76" fmla="*/ 2147483647 w 319"/>
                <a:gd name="T77" fmla="*/ 2147483647 h 712"/>
                <a:gd name="T78" fmla="*/ 2147483647 w 319"/>
                <a:gd name="T79" fmla="*/ 2147483647 h 712"/>
                <a:gd name="T80" fmla="*/ 2147483647 w 319"/>
                <a:gd name="T81" fmla="*/ 2147483647 h 71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19"/>
                <a:gd name="T124" fmla="*/ 0 h 712"/>
                <a:gd name="T125" fmla="*/ 319 w 319"/>
                <a:gd name="T126" fmla="*/ 712 h 71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19" h="712">
                  <a:moveTo>
                    <a:pt x="215" y="667"/>
                  </a:moveTo>
                  <a:lnTo>
                    <a:pt x="205" y="676"/>
                  </a:lnTo>
                  <a:lnTo>
                    <a:pt x="190" y="669"/>
                  </a:lnTo>
                  <a:lnTo>
                    <a:pt x="183" y="678"/>
                  </a:lnTo>
                  <a:lnTo>
                    <a:pt x="166" y="682"/>
                  </a:lnTo>
                  <a:lnTo>
                    <a:pt x="158" y="676"/>
                  </a:lnTo>
                  <a:lnTo>
                    <a:pt x="147" y="684"/>
                  </a:lnTo>
                  <a:lnTo>
                    <a:pt x="131" y="682"/>
                  </a:lnTo>
                  <a:lnTo>
                    <a:pt x="122" y="695"/>
                  </a:lnTo>
                  <a:lnTo>
                    <a:pt x="112" y="701"/>
                  </a:lnTo>
                  <a:lnTo>
                    <a:pt x="109" y="691"/>
                  </a:lnTo>
                  <a:lnTo>
                    <a:pt x="86" y="693"/>
                  </a:lnTo>
                  <a:lnTo>
                    <a:pt x="72" y="712"/>
                  </a:lnTo>
                  <a:lnTo>
                    <a:pt x="63" y="712"/>
                  </a:lnTo>
                  <a:lnTo>
                    <a:pt x="78" y="691"/>
                  </a:lnTo>
                  <a:lnTo>
                    <a:pt x="65" y="701"/>
                  </a:lnTo>
                  <a:lnTo>
                    <a:pt x="72" y="686"/>
                  </a:lnTo>
                  <a:lnTo>
                    <a:pt x="67" y="680"/>
                  </a:lnTo>
                  <a:lnTo>
                    <a:pt x="69" y="669"/>
                  </a:lnTo>
                  <a:lnTo>
                    <a:pt x="57" y="676"/>
                  </a:lnTo>
                  <a:lnTo>
                    <a:pt x="53" y="665"/>
                  </a:lnTo>
                  <a:lnTo>
                    <a:pt x="31" y="651"/>
                  </a:lnTo>
                  <a:lnTo>
                    <a:pt x="21" y="621"/>
                  </a:lnTo>
                  <a:lnTo>
                    <a:pt x="29" y="593"/>
                  </a:lnTo>
                  <a:lnTo>
                    <a:pt x="23" y="547"/>
                  </a:lnTo>
                  <a:lnTo>
                    <a:pt x="17" y="545"/>
                  </a:lnTo>
                  <a:lnTo>
                    <a:pt x="17" y="524"/>
                  </a:lnTo>
                  <a:lnTo>
                    <a:pt x="27" y="494"/>
                  </a:lnTo>
                  <a:lnTo>
                    <a:pt x="38" y="496"/>
                  </a:lnTo>
                  <a:lnTo>
                    <a:pt x="55" y="465"/>
                  </a:lnTo>
                  <a:lnTo>
                    <a:pt x="84" y="437"/>
                  </a:lnTo>
                  <a:lnTo>
                    <a:pt x="135" y="391"/>
                  </a:lnTo>
                  <a:lnTo>
                    <a:pt x="133" y="378"/>
                  </a:lnTo>
                  <a:lnTo>
                    <a:pt x="137" y="359"/>
                  </a:lnTo>
                  <a:lnTo>
                    <a:pt x="116" y="330"/>
                  </a:lnTo>
                  <a:lnTo>
                    <a:pt x="105" y="327"/>
                  </a:lnTo>
                  <a:lnTo>
                    <a:pt x="95" y="300"/>
                  </a:lnTo>
                  <a:lnTo>
                    <a:pt x="97" y="277"/>
                  </a:lnTo>
                  <a:lnTo>
                    <a:pt x="105" y="237"/>
                  </a:lnTo>
                  <a:lnTo>
                    <a:pt x="91" y="196"/>
                  </a:lnTo>
                  <a:lnTo>
                    <a:pt x="86" y="150"/>
                  </a:lnTo>
                  <a:lnTo>
                    <a:pt x="72" y="127"/>
                  </a:lnTo>
                  <a:lnTo>
                    <a:pt x="31" y="110"/>
                  </a:lnTo>
                  <a:lnTo>
                    <a:pt x="4" y="78"/>
                  </a:lnTo>
                  <a:lnTo>
                    <a:pt x="0" y="76"/>
                  </a:lnTo>
                  <a:lnTo>
                    <a:pt x="13" y="76"/>
                  </a:lnTo>
                  <a:lnTo>
                    <a:pt x="15" y="66"/>
                  </a:lnTo>
                  <a:lnTo>
                    <a:pt x="32" y="65"/>
                  </a:lnTo>
                  <a:lnTo>
                    <a:pt x="59" y="108"/>
                  </a:lnTo>
                  <a:lnTo>
                    <a:pt x="101" y="104"/>
                  </a:lnTo>
                  <a:lnTo>
                    <a:pt x="122" y="118"/>
                  </a:lnTo>
                  <a:lnTo>
                    <a:pt x="145" y="91"/>
                  </a:lnTo>
                  <a:lnTo>
                    <a:pt x="150" y="47"/>
                  </a:lnTo>
                  <a:lnTo>
                    <a:pt x="173" y="9"/>
                  </a:lnTo>
                  <a:lnTo>
                    <a:pt x="205" y="0"/>
                  </a:lnTo>
                  <a:lnTo>
                    <a:pt x="219" y="21"/>
                  </a:lnTo>
                  <a:lnTo>
                    <a:pt x="232" y="17"/>
                  </a:lnTo>
                  <a:lnTo>
                    <a:pt x="240" y="32"/>
                  </a:lnTo>
                  <a:lnTo>
                    <a:pt x="230" y="63"/>
                  </a:lnTo>
                  <a:lnTo>
                    <a:pt x="219" y="74"/>
                  </a:lnTo>
                  <a:lnTo>
                    <a:pt x="221" y="82"/>
                  </a:lnTo>
                  <a:lnTo>
                    <a:pt x="240" y="76"/>
                  </a:lnTo>
                  <a:lnTo>
                    <a:pt x="226" y="112"/>
                  </a:lnTo>
                  <a:lnTo>
                    <a:pt x="234" y="140"/>
                  </a:lnTo>
                  <a:lnTo>
                    <a:pt x="262" y="158"/>
                  </a:lnTo>
                  <a:lnTo>
                    <a:pt x="264" y="175"/>
                  </a:lnTo>
                  <a:lnTo>
                    <a:pt x="234" y="232"/>
                  </a:lnTo>
                  <a:lnTo>
                    <a:pt x="251" y="254"/>
                  </a:lnTo>
                  <a:lnTo>
                    <a:pt x="266" y="296"/>
                  </a:lnTo>
                  <a:lnTo>
                    <a:pt x="278" y="323"/>
                  </a:lnTo>
                  <a:lnTo>
                    <a:pt x="262" y="330"/>
                  </a:lnTo>
                  <a:lnTo>
                    <a:pt x="259" y="412"/>
                  </a:lnTo>
                  <a:lnTo>
                    <a:pt x="276" y="422"/>
                  </a:lnTo>
                  <a:lnTo>
                    <a:pt x="264" y="433"/>
                  </a:lnTo>
                  <a:lnTo>
                    <a:pt x="283" y="454"/>
                  </a:lnTo>
                  <a:lnTo>
                    <a:pt x="262" y="479"/>
                  </a:lnTo>
                  <a:lnTo>
                    <a:pt x="291" y="499"/>
                  </a:lnTo>
                  <a:lnTo>
                    <a:pt x="319" y="536"/>
                  </a:lnTo>
                  <a:lnTo>
                    <a:pt x="312" y="555"/>
                  </a:lnTo>
                  <a:lnTo>
                    <a:pt x="264" y="612"/>
                  </a:lnTo>
                  <a:lnTo>
                    <a:pt x="251" y="636"/>
                  </a:lnTo>
                  <a:lnTo>
                    <a:pt x="232" y="651"/>
                  </a:lnTo>
                  <a:lnTo>
                    <a:pt x="215" y="66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7" name="Freeform 23"/>
            <p:cNvSpPr>
              <a:spLocks/>
            </p:cNvSpPr>
            <p:nvPr/>
          </p:nvSpPr>
          <p:spPr bwMode="auto">
            <a:xfrm>
              <a:off x="2862505" y="3243431"/>
              <a:ext cx="196251" cy="229313"/>
            </a:xfrm>
            <a:custGeom>
              <a:avLst/>
              <a:gdLst>
                <a:gd name="T0" fmla="*/ 2147483647 w 361"/>
                <a:gd name="T1" fmla="*/ 2147483647 h 369"/>
                <a:gd name="T2" fmla="*/ 2147483647 w 361"/>
                <a:gd name="T3" fmla="*/ 2147483647 h 369"/>
                <a:gd name="T4" fmla="*/ 2147483647 w 361"/>
                <a:gd name="T5" fmla="*/ 2147483647 h 369"/>
                <a:gd name="T6" fmla="*/ 2147483647 w 361"/>
                <a:gd name="T7" fmla="*/ 2147483647 h 369"/>
                <a:gd name="T8" fmla="*/ 2147483647 w 361"/>
                <a:gd name="T9" fmla="*/ 2147483647 h 369"/>
                <a:gd name="T10" fmla="*/ 2147483647 w 361"/>
                <a:gd name="T11" fmla="*/ 2147483647 h 369"/>
                <a:gd name="T12" fmla="*/ 2147483647 w 361"/>
                <a:gd name="T13" fmla="*/ 2147483647 h 369"/>
                <a:gd name="T14" fmla="*/ 2147483647 w 361"/>
                <a:gd name="T15" fmla="*/ 2147483647 h 369"/>
                <a:gd name="T16" fmla="*/ 2147483647 w 361"/>
                <a:gd name="T17" fmla="*/ 2147483647 h 369"/>
                <a:gd name="T18" fmla="*/ 2147483647 w 361"/>
                <a:gd name="T19" fmla="*/ 2147483647 h 369"/>
                <a:gd name="T20" fmla="*/ 2147483647 w 361"/>
                <a:gd name="T21" fmla="*/ 2147483647 h 369"/>
                <a:gd name="T22" fmla="*/ 2147483647 w 361"/>
                <a:gd name="T23" fmla="*/ 2147483647 h 369"/>
                <a:gd name="T24" fmla="*/ 2147483647 w 361"/>
                <a:gd name="T25" fmla="*/ 2147483647 h 369"/>
                <a:gd name="T26" fmla="*/ 2147483647 w 361"/>
                <a:gd name="T27" fmla="*/ 2147483647 h 369"/>
                <a:gd name="T28" fmla="*/ 2147483647 w 361"/>
                <a:gd name="T29" fmla="*/ 2147483647 h 369"/>
                <a:gd name="T30" fmla="*/ 2147483647 w 361"/>
                <a:gd name="T31" fmla="*/ 2147483647 h 369"/>
                <a:gd name="T32" fmla="*/ 2147483647 w 361"/>
                <a:gd name="T33" fmla="*/ 2147483647 h 369"/>
                <a:gd name="T34" fmla="*/ 2147483647 w 361"/>
                <a:gd name="T35" fmla="*/ 2147483647 h 369"/>
                <a:gd name="T36" fmla="*/ 2147483647 w 361"/>
                <a:gd name="T37" fmla="*/ 2147483647 h 369"/>
                <a:gd name="T38" fmla="*/ 2147483647 w 361"/>
                <a:gd name="T39" fmla="*/ 2147483647 h 369"/>
                <a:gd name="T40" fmla="*/ 2147483647 w 361"/>
                <a:gd name="T41" fmla="*/ 2147483647 h 369"/>
                <a:gd name="T42" fmla="*/ 2147483647 w 361"/>
                <a:gd name="T43" fmla="*/ 2147483647 h 369"/>
                <a:gd name="T44" fmla="*/ 2147483647 w 361"/>
                <a:gd name="T45" fmla="*/ 2147483647 h 369"/>
                <a:gd name="T46" fmla="*/ 2147483647 w 361"/>
                <a:gd name="T47" fmla="*/ 2147483647 h 369"/>
                <a:gd name="T48" fmla="*/ 2147483647 w 361"/>
                <a:gd name="T49" fmla="*/ 2147483647 h 369"/>
                <a:gd name="T50" fmla="*/ 2147483647 w 361"/>
                <a:gd name="T51" fmla="*/ 2147483647 h 369"/>
                <a:gd name="T52" fmla="*/ 2147483647 w 361"/>
                <a:gd name="T53" fmla="*/ 2147483647 h 369"/>
                <a:gd name="T54" fmla="*/ 2147483647 w 361"/>
                <a:gd name="T55" fmla="*/ 2147483647 h 369"/>
                <a:gd name="T56" fmla="*/ 2147483647 w 361"/>
                <a:gd name="T57" fmla="*/ 2147483647 h 369"/>
                <a:gd name="T58" fmla="*/ 2147483647 w 361"/>
                <a:gd name="T59" fmla="*/ 2147483647 h 369"/>
                <a:gd name="T60" fmla="*/ 2147483647 w 361"/>
                <a:gd name="T61" fmla="*/ 2147483647 h 369"/>
                <a:gd name="T62" fmla="*/ 2147483647 w 361"/>
                <a:gd name="T63" fmla="*/ 2147483647 h 369"/>
                <a:gd name="T64" fmla="*/ 2147483647 w 361"/>
                <a:gd name="T65" fmla="*/ 2147483647 h 369"/>
                <a:gd name="T66" fmla="*/ 2147483647 w 361"/>
                <a:gd name="T67" fmla="*/ 2147483647 h 369"/>
                <a:gd name="T68" fmla="*/ 2147483647 w 361"/>
                <a:gd name="T69" fmla="*/ 2147483647 h 369"/>
                <a:gd name="T70" fmla="*/ 2147483647 w 361"/>
                <a:gd name="T71" fmla="*/ 2147483647 h 369"/>
                <a:gd name="T72" fmla="*/ 2147483647 w 361"/>
                <a:gd name="T73" fmla="*/ 2147483647 h 369"/>
                <a:gd name="T74" fmla="*/ 2147483647 w 361"/>
                <a:gd name="T75" fmla="*/ 2147483647 h 369"/>
                <a:gd name="T76" fmla="*/ 2147483647 w 361"/>
                <a:gd name="T77" fmla="*/ 2147483647 h 369"/>
                <a:gd name="T78" fmla="*/ 2147483647 w 361"/>
                <a:gd name="T79" fmla="*/ 2147483647 h 369"/>
                <a:gd name="T80" fmla="*/ 2147483647 w 361"/>
                <a:gd name="T81" fmla="*/ 2147483647 h 369"/>
                <a:gd name="T82" fmla="*/ 2147483647 w 361"/>
                <a:gd name="T83" fmla="*/ 2147483647 h 369"/>
                <a:gd name="T84" fmla="*/ 2147483647 w 361"/>
                <a:gd name="T85" fmla="*/ 2147483647 h 369"/>
                <a:gd name="T86" fmla="*/ 2147483647 w 361"/>
                <a:gd name="T87" fmla="*/ 2147483647 h 369"/>
                <a:gd name="T88" fmla="*/ 2147483647 w 361"/>
                <a:gd name="T89" fmla="*/ 2147483647 h 369"/>
                <a:gd name="T90" fmla="*/ 2147483647 w 361"/>
                <a:gd name="T91" fmla="*/ 2147483647 h 369"/>
                <a:gd name="T92" fmla="*/ 2147483647 w 361"/>
                <a:gd name="T93" fmla="*/ 2147483647 h 369"/>
                <a:gd name="T94" fmla="*/ 2147483647 w 361"/>
                <a:gd name="T95" fmla="*/ 2147483647 h 369"/>
                <a:gd name="T96" fmla="*/ 2147483647 w 361"/>
                <a:gd name="T97" fmla="*/ 2147483647 h 369"/>
                <a:gd name="T98" fmla="*/ 2147483647 w 361"/>
                <a:gd name="T99" fmla="*/ 2147483647 h 369"/>
                <a:gd name="T100" fmla="*/ 2147483647 w 361"/>
                <a:gd name="T101" fmla="*/ 2147483647 h 369"/>
                <a:gd name="T102" fmla="*/ 2147483647 w 361"/>
                <a:gd name="T103" fmla="*/ 2147483647 h 369"/>
                <a:gd name="T104" fmla="*/ 2147483647 w 361"/>
                <a:gd name="T105" fmla="*/ 2147483647 h 369"/>
                <a:gd name="T106" fmla="*/ 2147483647 w 361"/>
                <a:gd name="T107" fmla="*/ 0 h 3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61"/>
                <a:gd name="T163" fmla="*/ 0 h 369"/>
                <a:gd name="T164" fmla="*/ 361 w 361"/>
                <a:gd name="T165" fmla="*/ 369 h 3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61" h="369">
                  <a:moveTo>
                    <a:pt x="204" y="0"/>
                  </a:moveTo>
                  <a:lnTo>
                    <a:pt x="221" y="23"/>
                  </a:lnTo>
                  <a:lnTo>
                    <a:pt x="228" y="21"/>
                  </a:lnTo>
                  <a:lnTo>
                    <a:pt x="236" y="34"/>
                  </a:lnTo>
                  <a:lnTo>
                    <a:pt x="249" y="38"/>
                  </a:lnTo>
                  <a:lnTo>
                    <a:pt x="247" y="53"/>
                  </a:lnTo>
                  <a:lnTo>
                    <a:pt x="263" y="51"/>
                  </a:lnTo>
                  <a:lnTo>
                    <a:pt x="270" y="40"/>
                  </a:lnTo>
                  <a:lnTo>
                    <a:pt x="270" y="63"/>
                  </a:lnTo>
                  <a:lnTo>
                    <a:pt x="284" y="67"/>
                  </a:lnTo>
                  <a:lnTo>
                    <a:pt x="293" y="78"/>
                  </a:lnTo>
                  <a:lnTo>
                    <a:pt x="299" y="80"/>
                  </a:lnTo>
                  <a:lnTo>
                    <a:pt x="310" y="78"/>
                  </a:lnTo>
                  <a:lnTo>
                    <a:pt x="316" y="78"/>
                  </a:lnTo>
                  <a:lnTo>
                    <a:pt x="323" y="91"/>
                  </a:lnTo>
                  <a:lnTo>
                    <a:pt x="342" y="86"/>
                  </a:lnTo>
                  <a:lnTo>
                    <a:pt x="356" y="89"/>
                  </a:lnTo>
                  <a:lnTo>
                    <a:pt x="361" y="105"/>
                  </a:lnTo>
                  <a:lnTo>
                    <a:pt x="350" y="133"/>
                  </a:lnTo>
                  <a:lnTo>
                    <a:pt x="350" y="154"/>
                  </a:lnTo>
                  <a:lnTo>
                    <a:pt x="342" y="162"/>
                  </a:lnTo>
                  <a:lnTo>
                    <a:pt x="325" y="164"/>
                  </a:lnTo>
                  <a:lnTo>
                    <a:pt x="325" y="177"/>
                  </a:lnTo>
                  <a:lnTo>
                    <a:pt x="308" y="202"/>
                  </a:lnTo>
                  <a:lnTo>
                    <a:pt x="308" y="217"/>
                  </a:lnTo>
                  <a:lnTo>
                    <a:pt x="322" y="203"/>
                  </a:lnTo>
                  <a:lnTo>
                    <a:pt x="329" y="203"/>
                  </a:lnTo>
                  <a:lnTo>
                    <a:pt x="333" y="224"/>
                  </a:lnTo>
                  <a:lnTo>
                    <a:pt x="327" y="253"/>
                  </a:lnTo>
                  <a:lnTo>
                    <a:pt x="322" y="255"/>
                  </a:lnTo>
                  <a:lnTo>
                    <a:pt x="314" y="276"/>
                  </a:lnTo>
                  <a:lnTo>
                    <a:pt x="327" y="300"/>
                  </a:lnTo>
                  <a:lnTo>
                    <a:pt x="346" y="300"/>
                  </a:lnTo>
                  <a:lnTo>
                    <a:pt x="354" y="310"/>
                  </a:lnTo>
                  <a:lnTo>
                    <a:pt x="341" y="319"/>
                  </a:lnTo>
                  <a:lnTo>
                    <a:pt x="325" y="334"/>
                  </a:lnTo>
                  <a:lnTo>
                    <a:pt x="304" y="340"/>
                  </a:lnTo>
                  <a:lnTo>
                    <a:pt x="284" y="331"/>
                  </a:lnTo>
                  <a:lnTo>
                    <a:pt x="270" y="331"/>
                  </a:lnTo>
                  <a:lnTo>
                    <a:pt x="261" y="338"/>
                  </a:lnTo>
                  <a:lnTo>
                    <a:pt x="242" y="327"/>
                  </a:lnTo>
                  <a:lnTo>
                    <a:pt x="232" y="338"/>
                  </a:lnTo>
                  <a:lnTo>
                    <a:pt x="234" y="361"/>
                  </a:lnTo>
                  <a:lnTo>
                    <a:pt x="215" y="369"/>
                  </a:lnTo>
                  <a:lnTo>
                    <a:pt x="194" y="365"/>
                  </a:lnTo>
                  <a:lnTo>
                    <a:pt x="181" y="357"/>
                  </a:lnTo>
                  <a:lnTo>
                    <a:pt x="158" y="355"/>
                  </a:lnTo>
                  <a:lnTo>
                    <a:pt x="135" y="357"/>
                  </a:lnTo>
                  <a:lnTo>
                    <a:pt x="122" y="357"/>
                  </a:lnTo>
                  <a:lnTo>
                    <a:pt x="101" y="342"/>
                  </a:lnTo>
                  <a:lnTo>
                    <a:pt x="90" y="327"/>
                  </a:lnTo>
                  <a:lnTo>
                    <a:pt x="95" y="323"/>
                  </a:lnTo>
                  <a:lnTo>
                    <a:pt x="103" y="283"/>
                  </a:lnTo>
                  <a:lnTo>
                    <a:pt x="113" y="279"/>
                  </a:lnTo>
                  <a:lnTo>
                    <a:pt x="105" y="272"/>
                  </a:lnTo>
                  <a:lnTo>
                    <a:pt x="99" y="274"/>
                  </a:lnTo>
                  <a:lnTo>
                    <a:pt x="101" y="251"/>
                  </a:lnTo>
                  <a:lnTo>
                    <a:pt x="114" y="255"/>
                  </a:lnTo>
                  <a:lnTo>
                    <a:pt x="116" y="247"/>
                  </a:lnTo>
                  <a:lnTo>
                    <a:pt x="99" y="236"/>
                  </a:lnTo>
                  <a:lnTo>
                    <a:pt x="95" y="224"/>
                  </a:lnTo>
                  <a:lnTo>
                    <a:pt x="103" y="230"/>
                  </a:lnTo>
                  <a:lnTo>
                    <a:pt x="105" y="217"/>
                  </a:lnTo>
                  <a:lnTo>
                    <a:pt x="90" y="207"/>
                  </a:lnTo>
                  <a:lnTo>
                    <a:pt x="82" y="190"/>
                  </a:lnTo>
                  <a:lnTo>
                    <a:pt x="84" y="177"/>
                  </a:lnTo>
                  <a:lnTo>
                    <a:pt x="76" y="177"/>
                  </a:lnTo>
                  <a:lnTo>
                    <a:pt x="76" y="167"/>
                  </a:lnTo>
                  <a:lnTo>
                    <a:pt x="59" y="158"/>
                  </a:lnTo>
                  <a:lnTo>
                    <a:pt x="52" y="165"/>
                  </a:lnTo>
                  <a:lnTo>
                    <a:pt x="46" y="156"/>
                  </a:lnTo>
                  <a:lnTo>
                    <a:pt x="17" y="143"/>
                  </a:lnTo>
                  <a:lnTo>
                    <a:pt x="10" y="148"/>
                  </a:lnTo>
                  <a:lnTo>
                    <a:pt x="2" y="141"/>
                  </a:lnTo>
                  <a:lnTo>
                    <a:pt x="6" y="133"/>
                  </a:lnTo>
                  <a:lnTo>
                    <a:pt x="16" y="131"/>
                  </a:lnTo>
                  <a:lnTo>
                    <a:pt x="12" y="124"/>
                  </a:lnTo>
                  <a:lnTo>
                    <a:pt x="2" y="127"/>
                  </a:lnTo>
                  <a:lnTo>
                    <a:pt x="0" y="124"/>
                  </a:lnTo>
                  <a:lnTo>
                    <a:pt x="8" y="114"/>
                  </a:lnTo>
                  <a:lnTo>
                    <a:pt x="25" y="110"/>
                  </a:lnTo>
                  <a:lnTo>
                    <a:pt x="27" y="116"/>
                  </a:lnTo>
                  <a:lnTo>
                    <a:pt x="36" y="112"/>
                  </a:lnTo>
                  <a:lnTo>
                    <a:pt x="38" y="105"/>
                  </a:lnTo>
                  <a:lnTo>
                    <a:pt x="52" y="103"/>
                  </a:lnTo>
                  <a:lnTo>
                    <a:pt x="67" y="118"/>
                  </a:lnTo>
                  <a:lnTo>
                    <a:pt x="71" y="114"/>
                  </a:lnTo>
                  <a:lnTo>
                    <a:pt x="82" y="112"/>
                  </a:lnTo>
                  <a:lnTo>
                    <a:pt x="95" y="114"/>
                  </a:lnTo>
                  <a:lnTo>
                    <a:pt x="90" y="107"/>
                  </a:lnTo>
                  <a:lnTo>
                    <a:pt x="90" y="88"/>
                  </a:lnTo>
                  <a:lnTo>
                    <a:pt x="82" y="82"/>
                  </a:lnTo>
                  <a:lnTo>
                    <a:pt x="82" y="67"/>
                  </a:lnTo>
                  <a:lnTo>
                    <a:pt x="99" y="67"/>
                  </a:lnTo>
                  <a:lnTo>
                    <a:pt x="103" y="82"/>
                  </a:lnTo>
                  <a:lnTo>
                    <a:pt x="109" y="78"/>
                  </a:lnTo>
                  <a:lnTo>
                    <a:pt x="130" y="78"/>
                  </a:lnTo>
                  <a:lnTo>
                    <a:pt x="145" y="78"/>
                  </a:lnTo>
                  <a:lnTo>
                    <a:pt x="137" y="72"/>
                  </a:lnTo>
                  <a:lnTo>
                    <a:pt x="149" y="61"/>
                  </a:lnTo>
                  <a:lnTo>
                    <a:pt x="156" y="63"/>
                  </a:lnTo>
                  <a:lnTo>
                    <a:pt x="175" y="50"/>
                  </a:lnTo>
                  <a:lnTo>
                    <a:pt x="185" y="48"/>
                  </a:lnTo>
                  <a:lnTo>
                    <a:pt x="190" y="50"/>
                  </a:lnTo>
                  <a:lnTo>
                    <a:pt x="187" y="40"/>
                  </a:lnTo>
                  <a:lnTo>
                    <a:pt x="189" y="25"/>
                  </a:lnTo>
                  <a:lnTo>
                    <a:pt x="190" y="12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8" name="Freeform 24"/>
            <p:cNvSpPr>
              <a:spLocks/>
            </p:cNvSpPr>
            <p:nvPr/>
          </p:nvSpPr>
          <p:spPr bwMode="auto">
            <a:xfrm>
              <a:off x="3066475" y="3456448"/>
              <a:ext cx="16538" cy="38413"/>
            </a:xfrm>
            <a:custGeom>
              <a:avLst/>
              <a:gdLst>
                <a:gd name="T0" fmla="*/ 2147483647 w 30"/>
                <a:gd name="T1" fmla="*/ 2147483647 h 61"/>
                <a:gd name="T2" fmla="*/ 2147483647 w 30"/>
                <a:gd name="T3" fmla="*/ 2147483647 h 61"/>
                <a:gd name="T4" fmla="*/ 2147483647 w 30"/>
                <a:gd name="T5" fmla="*/ 2147483647 h 61"/>
                <a:gd name="T6" fmla="*/ 2147483647 w 30"/>
                <a:gd name="T7" fmla="*/ 0 h 61"/>
                <a:gd name="T8" fmla="*/ 2147483647 w 30"/>
                <a:gd name="T9" fmla="*/ 2147483647 h 61"/>
                <a:gd name="T10" fmla="*/ 2147483647 w 30"/>
                <a:gd name="T11" fmla="*/ 2147483647 h 61"/>
                <a:gd name="T12" fmla="*/ 2147483647 w 30"/>
                <a:gd name="T13" fmla="*/ 2147483647 h 61"/>
                <a:gd name="T14" fmla="*/ 0 w 30"/>
                <a:gd name="T15" fmla="*/ 2147483647 h 61"/>
                <a:gd name="T16" fmla="*/ 2147483647 w 30"/>
                <a:gd name="T17" fmla="*/ 2147483647 h 61"/>
                <a:gd name="T18" fmla="*/ 2147483647 w 30"/>
                <a:gd name="T19" fmla="*/ 2147483647 h 6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1"/>
                <a:gd name="T32" fmla="*/ 30 w 30"/>
                <a:gd name="T33" fmla="*/ 61 h 6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1">
                  <a:moveTo>
                    <a:pt x="4" y="19"/>
                  </a:moveTo>
                  <a:lnTo>
                    <a:pt x="15" y="11"/>
                  </a:lnTo>
                  <a:lnTo>
                    <a:pt x="19" y="2"/>
                  </a:lnTo>
                  <a:lnTo>
                    <a:pt x="23" y="0"/>
                  </a:lnTo>
                  <a:lnTo>
                    <a:pt x="30" y="27"/>
                  </a:lnTo>
                  <a:lnTo>
                    <a:pt x="23" y="57"/>
                  </a:lnTo>
                  <a:lnTo>
                    <a:pt x="9" y="61"/>
                  </a:lnTo>
                  <a:lnTo>
                    <a:pt x="0" y="44"/>
                  </a:lnTo>
                  <a:lnTo>
                    <a:pt x="4" y="34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49" name="Freeform 25"/>
            <p:cNvSpPr>
              <a:spLocks/>
            </p:cNvSpPr>
            <p:nvPr/>
          </p:nvSpPr>
          <p:spPr bwMode="auto">
            <a:xfrm>
              <a:off x="3241778" y="3493697"/>
              <a:ext cx="91511" cy="122222"/>
            </a:xfrm>
            <a:custGeom>
              <a:avLst/>
              <a:gdLst>
                <a:gd name="T0" fmla="*/ 2147483647 w 167"/>
                <a:gd name="T1" fmla="*/ 2147483647 h 196"/>
                <a:gd name="T2" fmla="*/ 2147483647 w 167"/>
                <a:gd name="T3" fmla="*/ 2147483647 h 196"/>
                <a:gd name="T4" fmla="*/ 2147483647 w 167"/>
                <a:gd name="T5" fmla="*/ 2147483647 h 196"/>
                <a:gd name="T6" fmla="*/ 2147483647 w 167"/>
                <a:gd name="T7" fmla="*/ 2147483647 h 196"/>
                <a:gd name="T8" fmla="*/ 2147483647 w 167"/>
                <a:gd name="T9" fmla="*/ 0 h 196"/>
                <a:gd name="T10" fmla="*/ 2147483647 w 167"/>
                <a:gd name="T11" fmla="*/ 2147483647 h 196"/>
                <a:gd name="T12" fmla="*/ 2147483647 w 167"/>
                <a:gd name="T13" fmla="*/ 2147483647 h 196"/>
                <a:gd name="T14" fmla="*/ 2147483647 w 167"/>
                <a:gd name="T15" fmla="*/ 2147483647 h 196"/>
                <a:gd name="T16" fmla="*/ 2147483647 w 167"/>
                <a:gd name="T17" fmla="*/ 2147483647 h 196"/>
                <a:gd name="T18" fmla="*/ 2147483647 w 167"/>
                <a:gd name="T19" fmla="*/ 2147483647 h 196"/>
                <a:gd name="T20" fmla="*/ 2147483647 w 167"/>
                <a:gd name="T21" fmla="*/ 2147483647 h 196"/>
                <a:gd name="T22" fmla="*/ 2147483647 w 167"/>
                <a:gd name="T23" fmla="*/ 2147483647 h 196"/>
                <a:gd name="T24" fmla="*/ 2147483647 w 167"/>
                <a:gd name="T25" fmla="*/ 2147483647 h 196"/>
                <a:gd name="T26" fmla="*/ 2147483647 w 167"/>
                <a:gd name="T27" fmla="*/ 2147483647 h 196"/>
                <a:gd name="T28" fmla="*/ 2147483647 w 167"/>
                <a:gd name="T29" fmla="*/ 2147483647 h 196"/>
                <a:gd name="T30" fmla="*/ 2147483647 w 167"/>
                <a:gd name="T31" fmla="*/ 2147483647 h 196"/>
                <a:gd name="T32" fmla="*/ 2147483647 w 167"/>
                <a:gd name="T33" fmla="*/ 2147483647 h 196"/>
                <a:gd name="T34" fmla="*/ 2147483647 w 167"/>
                <a:gd name="T35" fmla="*/ 2147483647 h 196"/>
                <a:gd name="T36" fmla="*/ 2147483647 w 167"/>
                <a:gd name="T37" fmla="*/ 2147483647 h 196"/>
                <a:gd name="T38" fmla="*/ 2147483647 w 167"/>
                <a:gd name="T39" fmla="*/ 2147483647 h 196"/>
                <a:gd name="T40" fmla="*/ 2147483647 w 167"/>
                <a:gd name="T41" fmla="*/ 2147483647 h 196"/>
                <a:gd name="T42" fmla="*/ 2147483647 w 167"/>
                <a:gd name="T43" fmla="*/ 2147483647 h 196"/>
                <a:gd name="T44" fmla="*/ 2147483647 w 167"/>
                <a:gd name="T45" fmla="*/ 2147483647 h 196"/>
                <a:gd name="T46" fmla="*/ 2147483647 w 167"/>
                <a:gd name="T47" fmla="*/ 2147483647 h 196"/>
                <a:gd name="T48" fmla="*/ 2147483647 w 167"/>
                <a:gd name="T49" fmla="*/ 2147483647 h 196"/>
                <a:gd name="T50" fmla="*/ 2147483647 w 167"/>
                <a:gd name="T51" fmla="*/ 2147483647 h 196"/>
                <a:gd name="T52" fmla="*/ 2147483647 w 167"/>
                <a:gd name="T53" fmla="*/ 2147483647 h 196"/>
                <a:gd name="T54" fmla="*/ 2147483647 w 167"/>
                <a:gd name="T55" fmla="*/ 2147483647 h 196"/>
                <a:gd name="T56" fmla="*/ 2147483647 w 167"/>
                <a:gd name="T57" fmla="*/ 2147483647 h 196"/>
                <a:gd name="T58" fmla="*/ 2147483647 w 167"/>
                <a:gd name="T59" fmla="*/ 2147483647 h 196"/>
                <a:gd name="T60" fmla="*/ 2147483647 w 167"/>
                <a:gd name="T61" fmla="*/ 2147483647 h 196"/>
                <a:gd name="T62" fmla="*/ 0 w 167"/>
                <a:gd name="T63" fmla="*/ 2147483647 h 19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7"/>
                <a:gd name="T97" fmla="*/ 0 h 196"/>
                <a:gd name="T98" fmla="*/ 167 w 167"/>
                <a:gd name="T99" fmla="*/ 196 h 19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7" h="196">
                  <a:moveTo>
                    <a:pt x="0" y="80"/>
                  </a:moveTo>
                  <a:lnTo>
                    <a:pt x="9" y="78"/>
                  </a:lnTo>
                  <a:lnTo>
                    <a:pt x="13" y="63"/>
                  </a:lnTo>
                  <a:lnTo>
                    <a:pt x="34" y="32"/>
                  </a:lnTo>
                  <a:lnTo>
                    <a:pt x="49" y="28"/>
                  </a:lnTo>
                  <a:lnTo>
                    <a:pt x="64" y="15"/>
                  </a:lnTo>
                  <a:lnTo>
                    <a:pt x="74" y="19"/>
                  </a:lnTo>
                  <a:lnTo>
                    <a:pt x="85" y="11"/>
                  </a:lnTo>
                  <a:lnTo>
                    <a:pt x="112" y="8"/>
                  </a:lnTo>
                  <a:lnTo>
                    <a:pt x="121" y="0"/>
                  </a:lnTo>
                  <a:lnTo>
                    <a:pt x="144" y="15"/>
                  </a:lnTo>
                  <a:lnTo>
                    <a:pt x="167" y="11"/>
                  </a:lnTo>
                  <a:lnTo>
                    <a:pt x="167" y="25"/>
                  </a:lnTo>
                  <a:lnTo>
                    <a:pt x="142" y="19"/>
                  </a:lnTo>
                  <a:lnTo>
                    <a:pt x="121" y="25"/>
                  </a:lnTo>
                  <a:lnTo>
                    <a:pt x="102" y="34"/>
                  </a:lnTo>
                  <a:lnTo>
                    <a:pt x="120" y="51"/>
                  </a:lnTo>
                  <a:lnTo>
                    <a:pt x="104" y="47"/>
                  </a:lnTo>
                  <a:lnTo>
                    <a:pt x="108" y="59"/>
                  </a:lnTo>
                  <a:lnTo>
                    <a:pt x="93" y="59"/>
                  </a:lnTo>
                  <a:lnTo>
                    <a:pt x="80" y="51"/>
                  </a:lnTo>
                  <a:lnTo>
                    <a:pt x="72" y="42"/>
                  </a:lnTo>
                  <a:lnTo>
                    <a:pt x="70" y="55"/>
                  </a:lnTo>
                  <a:lnTo>
                    <a:pt x="91" y="91"/>
                  </a:lnTo>
                  <a:lnTo>
                    <a:pt x="78" y="85"/>
                  </a:lnTo>
                  <a:lnTo>
                    <a:pt x="74" y="95"/>
                  </a:lnTo>
                  <a:lnTo>
                    <a:pt x="66" y="103"/>
                  </a:lnTo>
                  <a:lnTo>
                    <a:pt x="82" y="106"/>
                  </a:lnTo>
                  <a:lnTo>
                    <a:pt x="95" y="116"/>
                  </a:lnTo>
                  <a:lnTo>
                    <a:pt x="106" y="129"/>
                  </a:lnTo>
                  <a:lnTo>
                    <a:pt x="118" y="144"/>
                  </a:lnTo>
                  <a:lnTo>
                    <a:pt x="108" y="148"/>
                  </a:lnTo>
                  <a:lnTo>
                    <a:pt x="99" y="139"/>
                  </a:lnTo>
                  <a:lnTo>
                    <a:pt x="93" y="148"/>
                  </a:lnTo>
                  <a:lnTo>
                    <a:pt x="97" y="158"/>
                  </a:lnTo>
                  <a:lnTo>
                    <a:pt x="87" y="158"/>
                  </a:lnTo>
                  <a:lnTo>
                    <a:pt x="83" y="154"/>
                  </a:lnTo>
                  <a:lnTo>
                    <a:pt x="78" y="156"/>
                  </a:lnTo>
                  <a:lnTo>
                    <a:pt x="87" y="173"/>
                  </a:lnTo>
                  <a:lnTo>
                    <a:pt x="89" y="184"/>
                  </a:lnTo>
                  <a:lnTo>
                    <a:pt x="82" y="196"/>
                  </a:lnTo>
                  <a:lnTo>
                    <a:pt x="80" y="180"/>
                  </a:lnTo>
                  <a:lnTo>
                    <a:pt x="70" y="175"/>
                  </a:lnTo>
                  <a:lnTo>
                    <a:pt x="68" y="188"/>
                  </a:lnTo>
                  <a:lnTo>
                    <a:pt x="62" y="190"/>
                  </a:lnTo>
                  <a:lnTo>
                    <a:pt x="55" y="171"/>
                  </a:lnTo>
                  <a:lnTo>
                    <a:pt x="45" y="182"/>
                  </a:lnTo>
                  <a:lnTo>
                    <a:pt x="42" y="165"/>
                  </a:lnTo>
                  <a:lnTo>
                    <a:pt x="40" y="148"/>
                  </a:lnTo>
                  <a:lnTo>
                    <a:pt x="30" y="135"/>
                  </a:lnTo>
                  <a:lnTo>
                    <a:pt x="42" y="123"/>
                  </a:lnTo>
                  <a:lnTo>
                    <a:pt x="55" y="123"/>
                  </a:lnTo>
                  <a:lnTo>
                    <a:pt x="80" y="142"/>
                  </a:lnTo>
                  <a:lnTo>
                    <a:pt x="87" y="139"/>
                  </a:lnTo>
                  <a:lnTo>
                    <a:pt x="78" y="131"/>
                  </a:lnTo>
                  <a:lnTo>
                    <a:pt x="82" y="127"/>
                  </a:lnTo>
                  <a:lnTo>
                    <a:pt x="68" y="120"/>
                  </a:lnTo>
                  <a:lnTo>
                    <a:pt x="38" y="116"/>
                  </a:lnTo>
                  <a:lnTo>
                    <a:pt x="28" y="123"/>
                  </a:lnTo>
                  <a:lnTo>
                    <a:pt x="19" y="101"/>
                  </a:lnTo>
                  <a:lnTo>
                    <a:pt x="26" y="99"/>
                  </a:lnTo>
                  <a:lnTo>
                    <a:pt x="21" y="91"/>
                  </a:lnTo>
                  <a:lnTo>
                    <a:pt x="9" y="93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0" name="Freeform 26"/>
            <p:cNvSpPr>
              <a:spLocks/>
            </p:cNvSpPr>
            <p:nvPr/>
          </p:nvSpPr>
          <p:spPr bwMode="auto">
            <a:xfrm>
              <a:off x="3329981" y="3563538"/>
              <a:ext cx="4410" cy="9312"/>
            </a:xfrm>
            <a:custGeom>
              <a:avLst/>
              <a:gdLst>
                <a:gd name="T0" fmla="*/ 2147483647 w 8"/>
                <a:gd name="T1" fmla="*/ 0 h 17"/>
                <a:gd name="T2" fmla="*/ 2147483647 w 8"/>
                <a:gd name="T3" fmla="*/ 2147483647 h 17"/>
                <a:gd name="T4" fmla="*/ 2147483647 w 8"/>
                <a:gd name="T5" fmla="*/ 2147483647 h 17"/>
                <a:gd name="T6" fmla="*/ 0 w 8"/>
                <a:gd name="T7" fmla="*/ 2147483647 h 17"/>
                <a:gd name="T8" fmla="*/ 2147483647 w 8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7"/>
                <a:gd name="T17" fmla="*/ 8 w 8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7">
                  <a:moveTo>
                    <a:pt x="2" y="0"/>
                  </a:moveTo>
                  <a:lnTo>
                    <a:pt x="8" y="4"/>
                  </a:lnTo>
                  <a:lnTo>
                    <a:pt x="6" y="17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1" name="Freeform 27"/>
            <p:cNvSpPr>
              <a:spLocks/>
            </p:cNvSpPr>
            <p:nvPr/>
          </p:nvSpPr>
          <p:spPr bwMode="auto">
            <a:xfrm>
              <a:off x="3360852" y="3615920"/>
              <a:ext cx="6615" cy="13968"/>
            </a:xfrm>
            <a:custGeom>
              <a:avLst/>
              <a:gdLst>
                <a:gd name="T0" fmla="*/ 2147483647 w 14"/>
                <a:gd name="T1" fmla="*/ 0 h 22"/>
                <a:gd name="T2" fmla="*/ 2147483647 w 14"/>
                <a:gd name="T3" fmla="*/ 2147483647 h 22"/>
                <a:gd name="T4" fmla="*/ 2147483647 w 14"/>
                <a:gd name="T5" fmla="*/ 2147483647 h 22"/>
                <a:gd name="T6" fmla="*/ 2147483647 w 14"/>
                <a:gd name="T7" fmla="*/ 2147483647 h 22"/>
                <a:gd name="T8" fmla="*/ 0 w 14"/>
                <a:gd name="T9" fmla="*/ 2147483647 h 22"/>
                <a:gd name="T10" fmla="*/ 0 w 14"/>
                <a:gd name="T11" fmla="*/ 2147483647 h 22"/>
                <a:gd name="T12" fmla="*/ 2147483647 w 14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2"/>
                <a:gd name="T23" fmla="*/ 14 w 14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2">
                  <a:moveTo>
                    <a:pt x="6" y="0"/>
                  </a:moveTo>
                  <a:lnTo>
                    <a:pt x="14" y="1"/>
                  </a:lnTo>
                  <a:lnTo>
                    <a:pt x="14" y="15"/>
                  </a:lnTo>
                  <a:lnTo>
                    <a:pt x="8" y="13"/>
                  </a:lnTo>
                  <a:lnTo>
                    <a:pt x="0" y="22"/>
                  </a:lnTo>
                  <a:lnTo>
                    <a:pt x="0" y="9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2" name="Freeform 28"/>
            <p:cNvSpPr>
              <a:spLocks/>
            </p:cNvSpPr>
            <p:nvPr/>
          </p:nvSpPr>
          <p:spPr bwMode="auto">
            <a:xfrm>
              <a:off x="3317853" y="3592639"/>
              <a:ext cx="7718" cy="6984"/>
            </a:xfrm>
            <a:custGeom>
              <a:avLst/>
              <a:gdLst>
                <a:gd name="T0" fmla="*/ 2147483647 w 15"/>
                <a:gd name="T1" fmla="*/ 2147483647 h 10"/>
                <a:gd name="T2" fmla="*/ 2147483647 w 15"/>
                <a:gd name="T3" fmla="*/ 2147483647 h 10"/>
                <a:gd name="T4" fmla="*/ 2147483647 w 15"/>
                <a:gd name="T5" fmla="*/ 0 h 10"/>
                <a:gd name="T6" fmla="*/ 2147483647 w 15"/>
                <a:gd name="T7" fmla="*/ 2147483647 h 10"/>
                <a:gd name="T8" fmla="*/ 2147483647 w 15"/>
                <a:gd name="T9" fmla="*/ 2147483647 h 10"/>
                <a:gd name="T10" fmla="*/ 2147483647 w 15"/>
                <a:gd name="T11" fmla="*/ 2147483647 h 10"/>
                <a:gd name="T12" fmla="*/ 0 w 15"/>
                <a:gd name="T13" fmla="*/ 2147483647 h 10"/>
                <a:gd name="T14" fmla="*/ 2147483647 w 15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10"/>
                <a:gd name="T26" fmla="*/ 15 w 1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10">
                  <a:moveTo>
                    <a:pt x="3" y="2"/>
                  </a:moveTo>
                  <a:lnTo>
                    <a:pt x="7" y="6"/>
                  </a:lnTo>
                  <a:lnTo>
                    <a:pt x="11" y="0"/>
                  </a:lnTo>
                  <a:lnTo>
                    <a:pt x="15" y="4"/>
                  </a:lnTo>
                  <a:lnTo>
                    <a:pt x="9" y="10"/>
                  </a:lnTo>
                  <a:lnTo>
                    <a:pt x="7" y="6"/>
                  </a:lnTo>
                  <a:lnTo>
                    <a:pt x="0" y="8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3" name="Freeform 29"/>
            <p:cNvSpPr>
              <a:spLocks/>
            </p:cNvSpPr>
            <p:nvPr/>
          </p:nvSpPr>
          <p:spPr bwMode="auto">
            <a:xfrm>
              <a:off x="3327776" y="3599623"/>
              <a:ext cx="6615" cy="5820"/>
            </a:xfrm>
            <a:custGeom>
              <a:avLst/>
              <a:gdLst>
                <a:gd name="T0" fmla="*/ 0 w 11"/>
                <a:gd name="T1" fmla="*/ 2147483647 h 9"/>
                <a:gd name="T2" fmla="*/ 2147483647 w 11"/>
                <a:gd name="T3" fmla="*/ 0 h 9"/>
                <a:gd name="T4" fmla="*/ 2147483647 w 11"/>
                <a:gd name="T5" fmla="*/ 2147483647 h 9"/>
                <a:gd name="T6" fmla="*/ 0 w 11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9"/>
                <a:gd name="T14" fmla="*/ 11 w 11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9">
                  <a:moveTo>
                    <a:pt x="0" y="6"/>
                  </a:moveTo>
                  <a:lnTo>
                    <a:pt x="11" y="0"/>
                  </a:lnTo>
                  <a:lnTo>
                    <a:pt x="5" y="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4" name="Freeform 30"/>
            <p:cNvSpPr>
              <a:spLocks/>
            </p:cNvSpPr>
            <p:nvPr/>
          </p:nvSpPr>
          <p:spPr bwMode="auto">
            <a:xfrm>
              <a:off x="3302418" y="3601951"/>
              <a:ext cx="5513" cy="4656"/>
            </a:xfrm>
            <a:custGeom>
              <a:avLst/>
              <a:gdLst>
                <a:gd name="T0" fmla="*/ 2147483647 w 9"/>
                <a:gd name="T1" fmla="*/ 0 h 7"/>
                <a:gd name="T2" fmla="*/ 2147483647 w 9"/>
                <a:gd name="T3" fmla="*/ 2147483647 h 7"/>
                <a:gd name="T4" fmla="*/ 0 w 9"/>
                <a:gd name="T5" fmla="*/ 2147483647 h 7"/>
                <a:gd name="T6" fmla="*/ 0 w 9"/>
                <a:gd name="T7" fmla="*/ 2147483647 h 7"/>
                <a:gd name="T8" fmla="*/ 2147483647 w 9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7"/>
                <a:gd name="T17" fmla="*/ 9 w 9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7">
                  <a:moveTo>
                    <a:pt x="8" y="0"/>
                  </a:moveTo>
                  <a:lnTo>
                    <a:pt x="9" y="5"/>
                  </a:lnTo>
                  <a:lnTo>
                    <a:pt x="0" y="7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5" name="Freeform 31"/>
            <p:cNvSpPr>
              <a:spLocks/>
            </p:cNvSpPr>
            <p:nvPr/>
          </p:nvSpPr>
          <p:spPr bwMode="auto">
            <a:xfrm>
              <a:off x="3331084" y="3585655"/>
              <a:ext cx="6615" cy="3492"/>
            </a:xfrm>
            <a:custGeom>
              <a:avLst/>
              <a:gdLst>
                <a:gd name="T0" fmla="*/ 0 w 12"/>
                <a:gd name="T1" fmla="*/ 0 h 8"/>
                <a:gd name="T2" fmla="*/ 2147483647 w 12"/>
                <a:gd name="T3" fmla="*/ 0 h 8"/>
                <a:gd name="T4" fmla="*/ 0 w 12"/>
                <a:gd name="T5" fmla="*/ 2147483647 h 8"/>
                <a:gd name="T6" fmla="*/ 0 w 12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8"/>
                <a:gd name="T14" fmla="*/ 12 w 1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8">
                  <a:moveTo>
                    <a:pt x="0" y="0"/>
                  </a:moveTo>
                  <a:lnTo>
                    <a:pt x="12" y="0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6" name="Freeform 32"/>
            <p:cNvSpPr>
              <a:spLocks/>
            </p:cNvSpPr>
            <p:nvPr/>
          </p:nvSpPr>
          <p:spPr bwMode="auto">
            <a:xfrm>
              <a:off x="3329981" y="3540258"/>
              <a:ext cx="11025" cy="13968"/>
            </a:xfrm>
            <a:custGeom>
              <a:avLst/>
              <a:gdLst>
                <a:gd name="T0" fmla="*/ 2147483647 w 19"/>
                <a:gd name="T1" fmla="*/ 2147483647 h 21"/>
                <a:gd name="T2" fmla="*/ 2147483647 w 19"/>
                <a:gd name="T3" fmla="*/ 0 h 21"/>
                <a:gd name="T4" fmla="*/ 2147483647 w 19"/>
                <a:gd name="T5" fmla="*/ 2147483647 h 21"/>
                <a:gd name="T6" fmla="*/ 2147483647 w 19"/>
                <a:gd name="T7" fmla="*/ 2147483647 h 21"/>
                <a:gd name="T8" fmla="*/ 2147483647 w 19"/>
                <a:gd name="T9" fmla="*/ 2147483647 h 21"/>
                <a:gd name="T10" fmla="*/ 2147483647 w 19"/>
                <a:gd name="T11" fmla="*/ 2147483647 h 21"/>
                <a:gd name="T12" fmla="*/ 0 w 19"/>
                <a:gd name="T13" fmla="*/ 2147483647 h 21"/>
                <a:gd name="T14" fmla="*/ 2147483647 w 19"/>
                <a:gd name="T15" fmla="*/ 2147483647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1"/>
                <a:gd name="T26" fmla="*/ 19 w 19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1">
                  <a:moveTo>
                    <a:pt x="2" y="6"/>
                  </a:moveTo>
                  <a:lnTo>
                    <a:pt x="12" y="0"/>
                  </a:lnTo>
                  <a:lnTo>
                    <a:pt x="19" y="9"/>
                  </a:lnTo>
                  <a:lnTo>
                    <a:pt x="12" y="21"/>
                  </a:lnTo>
                  <a:lnTo>
                    <a:pt x="12" y="11"/>
                  </a:lnTo>
                  <a:lnTo>
                    <a:pt x="4" y="13"/>
                  </a:lnTo>
                  <a:lnTo>
                    <a:pt x="0" y="8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7" name="Freeform 33"/>
            <p:cNvSpPr>
              <a:spLocks/>
            </p:cNvSpPr>
            <p:nvPr/>
          </p:nvSpPr>
          <p:spPr bwMode="auto">
            <a:xfrm>
              <a:off x="3295802" y="3627560"/>
              <a:ext cx="42999" cy="17460"/>
            </a:xfrm>
            <a:custGeom>
              <a:avLst/>
              <a:gdLst>
                <a:gd name="T0" fmla="*/ 2147483647 w 80"/>
                <a:gd name="T1" fmla="*/ 0 h 28"/>
                <a:gd name="T2" fmla="*/ 2147483647 w 80"/>
                <a:gd name="T3" fmla="*/ 2147483647 h 28"/>
                <a:gd name="T4" fmla="*/ 2147483647 w 80"/>
                <a:gd name="T5" fmla="*/ 2147483647 h 28"/>
                <a:gd name="T6" fmla="*/ 2147483647 w 80"/>
                <a:gd name="T7" fmla="*/ 2147483647 h 28"/>
                <a:gd name="T8" fmla="*/ 2147483647 w 80"/>
                <a:gd name="T9" fmla="*/ 2147483647 h 28"/>
                <a:gd name="T10" fmla="*/ 2147483647 w 80"/>
                <a:gd name="T11" fmla="*/ 2147483647 h 28"/>
                <a:gd name="T12" fmla="*/ 2147483647 w 80"/>
                <a:gd name="T13" fmla="*/ 2147483647 h 28"/>
                <a:gd name="T14" fmla="*/ 2147483647 w 80"/>
                <a:gd name="T15" fmla="*/ 2147483647 h 28"/>
                <a:gd name="T16" fmla="*/ 2147483647 w 80"/>
                <a:gd name="T17" fmla="*/ 2147483647 h 28"/>
                <a:gd name="T18" fmla="*/ 0 w 80"/>
                <a:gd name="T19" fmla="*/ 2147483647 h 28"/>
                <a:gd name="T20" fmla="*/ 0 w 80"/>
                <a:gd name="T21" fmla="*/ 2147483647 h 28"/>
                <a:gd name="T22" fmla="*/ 2147483647 w 80"/>
                <a:gd name="T23" fmla="*/ 0 h 28"/>
                <a:gd name="T24" fmla="*/ 2147483647 w 80"/>
                <a:gd name="T25" fmla="*/ 0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"/>
                <a:gd name="T40" fmla="*/ 0 h 28"/>
                <a:gd name="T41" fmla="*/ 80 w 80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" h="28">
                  <a:moveTo>
                    <a:pt x="19" y="0"/>
                  </a:moveTo>
                  <a:lnTo>
                    <a:pt x="23" y="7"/>
                  </a:lnTo>
                  <a:lnTo>
                    <a:pt x="36" y="5"/>
                  </a:lnTo>
                  <a:lnTo>
                    <a:pt x="61" y="5"/>
                  </a:lnTo>
                  <a:lnTo>
                    <a:pt x="62" y="13"/>
                  </a:lnTo>
                  <a:lnTo>
                    <a:pt x="80" y="5"/>
                  </a:lnTo>
                  <a:lnTo>
                    <a:pt x="80" y="20"/>
                  </a:lnTo>
                  <a:lnTo>
                    <a:pt x="26" y="28"/>
                  </a:lnTo>
                  <a:lnTo>
                    <a:pt x="24" y="19"/>
                  </a:lnTo>
                  <a:lnTo>
                    <a:pt x="0" y="15"/>
                  </a:lnTo>
                  <a:lnTo>
                    <a:pt x="0" y="3"/>
                  </a:lnTo>
                  <a:lnTo>
                    <a:pt x="9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8" name="Freeform 34"/>
            <p:cNvSpPr>
              <a:spLocks/>
            </p:cNvSpPr>
            <p:nvPr/>
          </p:nvSpPr>
          <p:spPr bwMode="auto">
            <a:xfrm>
              <a:off x="3284777" y="3554226"/>
              <a:ext cx="30871" cy="27937"/>
            </a:xfrm>
            <a:custGeom>
              <a:avLst/>
              <a:gdLst>
                <a:gd name="T0" fmla="*/ 0 w 57"/>
                <a:gd name="T1" fmla="*/ 2147483647 h 43"/>
                <a:gd name="T2" fmla="*/ 2147483647 w 57"/>
                <a:gd name="T3" fmla="*/ 0 h 43"/>
                <a:gd name="T4" fmla="*/ 2147483647 w 57"/>
                <a:gd name="T5" fmla="*/ 2147483647 h 43"/>
                <a:gd name="T6" fmla="*/ 2147483647 w 57"/>
                <a:gd name="T7" fmla="*/ 2147483647 h 43"/>
                <a:gd name="T8" fmla="*/ 2147483647 w 57"/>
                <a:gd name="T9" fmla="*/ 2147483647 h 43"/>
                <a:gd name="T10" fmla="*/ 2147483647 w 57"/>
                <a:gd name="T11" fmla="*/ 2147483647 h 43"/>
                <a:gd name="T12" fmla="*/ 2147483647 w 57"/>
                <a:gd name="T13" fmla="*/ 2147483647 h 43"/>
                <a:gd name="T14" fmla="*/ 2147483647 w 57"/>
                <a:gd name="T15" fmla="*/ 2147483647 h 43"/>
                <a:gd name="T16" fmla="*/ 2147483647 w 57"/>
                <a:gd name="T17" fmla="*/ 2147483647 h 43"/>
                <a:gd name="T18" fmla="*/ 2147483647 w 57"/>
                <a:gd name="T19" fmla="*/ 2147483647 h 43"/>
                <a:gd name="T20" fmla="*/ 0 w 57"/>
                <a:gd name="T21" fmla="*/ 2147483647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43"/>
                <a:gd name="T35" fmla="*/ 57 w 57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43">
                  <a:moveTo>
                    <a:pt x="0" y="4"/>
                  </a:moveTo>
                  <a:lnTo>
                    <a:pt x="7" y="0"/>
                  </a:lnTo>
                  <a:lnTo>
                    <a:pt x="21" y="11"/>
                  </a:lnTo>
                  <a:lnTo>
                    <a:pt x="32" y="11"/>
                  </a:lnTo>
                  <a:lnTo>
                    <a:pt x="38" y="19"/>
                  </a:lnTo>
                  <a:lnTo>
                    <a:pt x="38" y="26"/>
                  </a:lnTo>
                  <a:lnTo>
                    <a:pt x="57" y="42"/>
                  </a:lnTo>
                  <a:lnTo>
                    <a:pt x="51" y="43"/>
                  </a:lnTo>
                  <a:lnTo>
                    <a:pt x="34" y="34"/>
                  </a:lnTo>
                  <a:lnTo>
                    <a:pt x="26" y="23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59" name="Freeform 35"/>
            <p:cNvSpPr>
              <a:spLocks/>
            </p:cNvSpPr>
            <p:nvPr/>
          </p:nvSpPr>
          <p:spPr bwMode="auto">
            <a:xfrm>
              <a:off x="2836045" y="3007133"/>
              <a:ext cx="128997" cy="272382"/>
            </a:xfrm>
            <a:custGeom>
              <a:avLst/>
              <a:gdLst>
                <a:gd name="T0" fmla="*/ 2147483647 w 236"/>
                <a:gd name="T1" fmla="*/ 2147483647 h 437"/>
                <a:gd name="T2" fmla="*/ 2147483647 w 236"/>
                <a:gd name="T3" fmla="*/ 2147483647 h 437"/>
                <a:gd name="T4" fmla="*/ 2147483647 w 236"/>
                <a:gd name="T5" fmla="*/ 2147483647 h 437"/>
                <a:gd name="T6" fmla="*/ 2147483647 w 236"/>
                <a:gd name="T7" fmla="*/ 2147483647 h 437"/>
                <a:gd name="T8" fmla="*/ 2147483647 w 236"/>
                <a:gd name="T9" fmla="*/ 2147483647 h 437"/>
                <a:gd name="T10" fmla="*/ 2147483647 w 236"/>
                <a:gd name="T11" fmla="*/ 2147483647 h 437"/>
                <a:gd name="T12" fmla="*/ 2147483647 w 236"/>
                <a:gd name="T13" fmla="*/ 2147483647 h 437"/>
                <a:gd name="T14" fmla="*/ 2147483647 w 236"/>
                <a:gd name="T15" fmla="*/ 2147483647 h 437"/>
                <a:gd name="T16" fmla="*/ 2147483647 w 236"/>
                <a:gd name="T17" fmla="*/ 2147483647 h 437"/>
                <a:gd name="T18" fmla="*/ 2147483647 w 236"/>
                <a:gd name="T19" fmla="*/ 2147483647 h 437"/>
                <a:gd name="T20" fmla="*/ 2147483647 w 236"/>
                <a:gd name="T21" fmla="*/ 2147483647 h 437"/>
                <a:gd name="T22" fmla="*/ 2147483647 w 236"/>
                <a:gd name="T23" fmla="*/ 2147483647 h 437"/>
                <a:gd name="T24" fmla="*/ 2147483647 w 236"/>
                <a:gd name="T25" fmla="*/ 2147483647 h 437"/>
                <a:gd name="T26" fmla="*/ 2147483647 w 236"/>
                <a:gd name="T27" fmla="*/ 2147483647 h 437"/>
                <a:gd name="T28" fmla="*/ 2147483647 w 236"/>
                <a:gd name="T29" fmla="*/ 2147483647 h 437"/>
                <a:gd name="T30" fmla="*/ 2147483647 w 236"/>
                <a:gd name="T31" fmla="*/ 2147483647 h 437"/>
                <a:gd name="T32" fmla="*/ 2147483647 w 236"/>
                <a:gd name="T33" fmla="*/ 2147483647 h 437"/>
                <a:gd name="T34" fmla="*/ 2147483647 w 236"/>
                <a:gd name="T35" fmla="*/ 2147483647 h 437"/>
                <a:gd name="T36" fmla="*/ 2147483647 w 236"/>
                <a:gd name="T37" fmla="*/ 2147483647 h 437"/>
                <a:gd name="T38" fmla="*/ 2147483647 w 236"/>
                <a:gd name="T39" fmla="*/ 2147483647 h 437"/>
                <a:gd name="T40" fmla="*/ 2147483647 w 236"/>
                <a:gd name="T41" fmla="*/ 2147483647 h 437"/>
                <a:gd name="T42" fmla="*/ 2147483647 w 236"/>
                <a:gd name="T43" fmla="*/ 2147483647 h 437"/>
                <a:gd name="T44" fmla="*/ 2147483647 w 236"/>
                <a:gd name="T45" fmla="*/ 2147483647 h 437"/>
                <a:gd name="T46" fmla="*/ 2147483647 w 236"/>
                <a:gd name="T47" fmla="*/ 2147483647 h 437"/>
                <a:gd name="T48" fmla="*/ 2147483647 w 236"/>
                <a:gd name="T49" fmla="*/ 2147483647 h 437"/>
                <a:gd name="T50" fmla="*/ 2147483647 w 236"/>
                <a:gd name="T51" fmla="*/ 2147483647 h 437"/>
                <a:gd name="T52" fmla="*/ 2147483647 w 236"/>
                <a:gd name="T53" fmla="*/ 2147483647 h 437"/>
                <a:gd name="T54" fmla="*/ 2147483647 w 236"/>
                <a:gd name="T55" fmla="*/ 2147483647 h 437"/>
                <a:gd name="T56" fmla="*/ 2147483647 w 236"/>
                <a:gd name="T57" fmla="*/ 2147483647 h 437"/>
                <a:gd name="T58" fmla="*/ 2147483647 w 236"/>
                <a:gd name="T59" fmla="*/ 2147483647 h 437"/>
                <a:gd name="T60" fmla="*/ 2147483647 w 236"/>
                <a:gd name="T61" fmla="*/ 2147483647 h 437"/>
                <a:gd name="T62" fmla="*/ 2147483647 w 236"/>
                <a:gd name="T63" fmla="*/ 2147483647 h 437"/>
                <a:gd name="T64" fmla="*/ 2147483647 w 236"/>
                <a:gd name="T65" fmla="*/ 2147483647 h 437"/>
                <a:gd name="T66" fmla="*/ 2147483647 w 236"/>
                <a:gd name="T67" fmla="*/ 2147483647 h 437"/>
                <a:gd name="T68" fmla="*/ 2147483647 w 236"/>
                <a:gd name="T69" fmla="*/ 2147483647 h 437"/>
                <a:gd name="T70" fmla="*/ 2147483647 w 236"/>
                <a:gd name="T71" fmla="*/ 2147483647 h 437"/>
                <a:gd name="T72" fmla="*/ 2147483647 w 236"/>
                <a:gd name="T73" fmla="*/ 2147483647 h 437"/>
                <a:gd name="T74" fmla="*/ 2147483647 w 236"/>
                <a:gd name="T75" fmla="*/ 2147483647 h 437"/>
                <a:gd name="T76" fmla="*/ 2147483647 w 236"/>
                <a:gd name="T77" fmla="*/ 2147483647 h 437"/>
                <a:gd name="T78" fmla="*/ 0 w 236"/>
                <a:gd name="T79" fmla="*/ 2147483647 h 437"/>
                <a:gd name="T80" fmla="*/ 2147483647 w 236"/>
                <a:gd name="T81" fmla="*/ 2147483647 h 437"/>
                <a:gd name="T82" fmla="*/ 2147483647 w 236"/>
                <a:gd name="T83" fmla="*/ 2147483647 h 437"/>
                <a:gd name="T84" fmla="*/ 2147483647 w 236"/>
                <a:gd name="T85" fmla="*/ 2147483647 h 437"/>
                <a:gd name="T86" fmla="*/ 2147483647 w 236"/>
                <a:gd name="T87" fmla="*/ 2147483647 h 437"/>
                <a:gd name="T88" fmla="*/ 2147483647 w 236"/>
                <a:gd name="T89" fmla="*/ 2147483647 h 43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6"/>
                <a:gd name="T136" fmla="*/ 0 h 437"/>
                <a:gd name="T137" fmla="*/ 236 w 236"/>
                <a:gd name="T138" fmla="*/ 437 h 43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6" h="437">
                  <a:moveTo>
                    <a:pt x="64" y="40"/>
                  </a:moveTo>
                  <a:lnTo>
                    <a:pt x="78" y="44"/>
                  </a:lnTo>
                  <a:lnTo>
                    <a:pt x="70" y="55"/>
                  </a:lnTo>
                  <a:lnTo>
                    <a:pt x="55" y="67"/>
                  </a:lnTo>
                  <a:lnTo>
                    <a:pt x="63" y="69"/>
                  </a:lnTo>
                  <a:lnTo>
                    <a:pt x="70" y="59"/>
                  </a:lnTo>
                  <a:lnTo>
                    <a:pt x="87" y="53"/>
                  </a:lnTo>
                  <a:lnTo>
                    <a:pt x="118" y="57"/>
                  </a:lnTo>
                  <a:lnTo>
                    <a:pt x="135" y="53"/>
                  </a:lnTo>
                  <a:lnTo>
                    <a:pt x="137" y="63"/>
                  </a:lnTo>
                  <a:lnTo>
                    <a:pt x="114" y="101"/>
                  </a:lnTo>
                  <a:lnTo>
                    <a:pt x="110" y="114"/>
                  </a:lnTo>
                  <a:lnTo>
                    <a:pt x="108" y="128"/>
                  </a:lnTo>
                  <a:lnTo>
                    <a:pt x="121" y="128"/>
                  </a:lnTo>
                  <a:lnTo>
                    <a:pt x="116" y="137"/>
                  </a:lnTo>
                  <a:lnTo>
                    <a:pt x="102" y="135"/>
                  </a:lnTo>
                  <a:lnTo>
                    <a:pt x="95" y="145"/>
                  </a:lnTo>
                  <a:lnTo>
                    <a:pt x="110" y="145"/>
                  </a:lnTo>
                  <a:lnTo>
                    <a:pt x="129" y="154"/>
                  </a:lnTo>
                  <a:lnTo>
                    <a:pt x="139" y="169"/>
                  </a:lnTo>
                  <a:lnTo>
                    <a:pt x="142" y="198"/>
                  </a:lnTo>
                  <a:lnTo>
                    <a:pt x="148" y="198"/>
                  </a:lnTo>
                  <a:lnTo>
                    <a:pt x="156" y="217"/>
                  </a:lnTo>
                  <a:lnTo>
                    <a:pt x="169" y="223"/>
                  </a:lnTo>
                  <a:lnTo>
                    <a:pt x="186" y="259"/>
                  </a:lnTo>
                  <a:lnTo>
                    <a:pt x="184" y="266"/>
                  </a:lnTo>
                  <a:lnTo>
                    <a:pt x="192" y="278"/>
                  </a:lnTo>
                  <a:lnTo>
                    <a:pt x="182" y="295"/>
                  </a:lnTo>
                  <a:lnTo>
                    <a:pt x="190" y="306"/>
                  </a:lnTo>
                  <a:lnTo>
                    <a:pt x="196" y="295"/>
                  </a:lnTo>
                  <a:lnTo>
                    <a:pt x="222" y="295"/>
                  </a:lnTo>
                  <a:lnTo>
                    <a:pt x="236" y="304"/>
                  </a:lnTo>
                  <a:lnTo>
                    <a:pt x="236" y="327"/>
                  </a:lnTo>
                  <a:lnTo>
                    <a:pt x="228" y="338"/>
                  </a:lnTo>
                  <a:lnTo>
                    <a:pt x="218" y="340"/>
                  </a:lnTo>
                  <a:lnTo>
                    <a:pt x="201" y="357"/>
                  </a:lnTo>
                  <a:lnTo>
                    <a:pt x="205" y="365"/>
                  </a:lnTo>
                  <a:lnTo>
                    <a:pt x="226" y="361"/>
                  </a:lnTo>
                  <a:lnTo>
                    <a:pt x="226" y="374"/>
                  </a:lnTo>
                  <a:lnTo>
                    <a:pt x="217" y="392"/>
                  </a:lnTo>
                  <a:lnTo>
                    <a:pt x="194" y="399"/>
                  </a:lnTo>
                  <a:lnTo>
                    <a:pt x="180" y="393"/>
                  </a:lnTo>
                  <a:lnTo>
                    <a:pt x="167" y="401"/>
                  </a:lnTo>
                  <a:lnTo>
                    <a:pt x="146" y="395"/>
                  </a:lnTo>
                  <a:lnTo>
                    <a:pt x="146" y="407"/>
                  </a:lnTo>
                  <a:lnTo>
                    <a:pt x="139" y="407"/>
                  </a:lnTo>
                  <a:lnTo>
                    <a:pt x="139" y="401"/>
                  </a:lnTo>
                  <a:lnTo>
                    <a:pt x="129" y="403"/>
                  </a:lnTo>
                  <a:lnTo>
                    <a:pt x="120" y="414"/>
                  </a:lnTo>
                  <a:lnTo>
                    <a:pt x="116" y="405"/>
                  </a:lnTo>
                  <a:lnTo>
                    <a:pt x="108" y="397"/>
                  </a:lnTo>
                  <a:lnTo>
                    <a:pt x="85" y="403"/>
                  </a:lnTo>
                  <a:lnTo>
                    <a:pt x="82" y="422"/>
                  </a:lnTo>
                  <a:lnTo>
                    <a:pt x="61" y="416"/>
                  </a:lnTo>
                  <a:lnTo>
                    <a:pt x="42" y="424"/>
                  </a:lnTo>
                  <a:lnTo>
                    <a:pt x="36" y="437"/>
                  </a:lnTo>
                  <a:lnTo>
                    <a:pt x="32" y="430"/>
                  </a:lnTo>
                  <a:lnTo>
                    <a:pt x="23" y="433"/>
                  </a:lnTo>
                  <a:lnTo>
                    <a:pt x="17" y="428"/>
                  </a:lnTo>
                  <a:lnTo>
                    <a:pt x="23" y="420"/>
                  </a:lnTo>
                  <a:lnTo>
                    <a:pt x="32" y="418"/>
                  </a:lnTo>
                  <a:lnTo>
                    <a:pt x="42" y="403"/>
                  </a:lnTo>
                  <a:lnTo>
                    <a:pt x="51" y="397"/>
                  </a:lnTo>
                  <a:lnTo>
                    <a:pt x="57" y="384"/>
                  </a:lnTo>
                  <a:lnTo>
                    <a:pt x="66" y="374"/>
                  </a:lnTo>
                  <a:lnTo>
                    <a:pt x="89" y="374"/>
                  </a:lnTo>
                  <a:lnTo>
                    <a:pt x="102" y="355"/>
                  </a:lnTo>
                  <a:lnTo>
                    <a:pt x="97" y="355"/>
                  </a:lnTo>
                  <a:lnTo>
                    <a:pt x="89" y="361"/>
                  </a:lnTo>
                  <a:lnTo>
                    <a:pt x="78" y="357"/>
                  </a:lnTo>
                  <a:lnTo>
                    <a:pt x="64" y="361"/>
                  </a:lnTo>
                  <a:lnTo>
                    <a:pt x="59" y="346"/>
                  </a:lnTo>
                  <a:lnTo>
                    <a:pt x="42" y="359"/>
                  </a:lnTo>
                  <a:lnTo>
                    <a:pt x="36" y="344"/>
                  </a:lnTo>
                  <a:lnTo>
                    <a:pt x="64" y="331"/>
                  </a:lnTo>
                  <a:lnTo>
                    <a:pt x="74" y="319"/>
                  </a:lnTo>
                  <a:lnTo>
                    <a:pt x="72" y="304"/>
                  </a:lnTo>
                  <a:lnTo>
                    <a:pt x="78" y="293"/>
                  </a:lnTo>
                  <a:lnTo>
                    <a:pt x="64" y="293"/>
                  </a:lnTo>
                  <a:lnTo>
                    <a:pt x="53" y="297"/>
                  </a:lnTo>
                  <a:lnTo>
                    <a:pt x="63" y="283"/>
                  </a:lnTo>
                  <a:lnTo>
                    <a:pt x="51" y="274"/>
                  </a:lnTo>
                  <a:lnTo>
                    <a:pt x="61" y="268"/>
                  </a:lnTo>
                  <a:lnTo>
                    <a:pt x="68" y="276"/>
                  </a:lnTo>
                  <a:lnTo>
                    <a:pt x="102" y="272"/>
                  </a:lnTo>
                  <a:lnTo>
                    <a:pt x="99" y="264"/>
                  </a:lnTo>
                  <a:lnTo>
                    <a:pt x="97" y="249"/>
                  </a:lnTo>
                  <a:lnTo>
                    <a:pt x="108" y="236"/>
                  </a:lnTo>
                  <a:lnTo>
                    <a:pt x="102" y="232"/>
                  </a:lnTo>
                  <a:lnTo>
                    <a:pt x="91" y="242"/>
                  </a:lnTo>
                  <a:lnTo>
                    <a:pt x="85" y="223"/>
                  </a:lnTo>
                  <a:lnTo>
                    <a:pt x="89" y="209"/>
                  </a:lnTo>
                  <a:lnTo>
                    <a:pt x="102" y="202"/>
                  </a:lnTo>
                  <a:lnTo>
                    <a:pt x="87" y="198"/>
                  </a:lnTo>
                  <a:lnTo>
                    <a:pt x="80" y="209"/>
                  </a:lnTo>
                  <a:lnTo>
                    <a:pt x="63" y="204"/>
                  </a:lnTo>
                  <a:lnTo>
                    <a:pt x="64" y="213"/>
                  </a:lnTo>
                  <a:lnTo>
                    <a:pt x="55" y="207"/>
                  </a:lnTo>
                  <a:lnTo>
                    <a:pt x="47" y="211"/>
                  </a:lnTo>
                  <a:lnTo>
                    <a:pt x="47" y="219"/>
                  </a:lnTo>
                  <a:lnTo>
                    <a:pt x="40" y="204"/>
                  </a:lnTo>
                  <a:lnTo>
                    <a:pt x="49" y="181"/>
                  </a:lnTo>
                  <a:lnTo>
                    <a:pt x="51" y="167"/>
                  </a:lnTo>
                  <a:lnTo>
                    <a:pt x="44" y="166"/>
                  </a:lnTo>
                  <a:lnTo>
                    <a:pt x="36" y="148"/>
                  </a:lnTo>
                  <a:lnTo>
                    <a:pt x="28" y="150"/>
                  </a:lnTo>
                  <a:lnTo>
                    <a:pt x="38" y="169"/>
                  </a:lnTo>
                  <a:lnTo>
                    <a:pt x="30" y="164"/>
                  </a:lnTo>
                  <a:lnTo>
                    <a:pt x="28" y="179"/>
                  </a:lnTo>
                  <a:lnTo>
                    <a:pt x="19" y="179"/>
                  </a:lnTo>
                  <a:lnTo>
                    <a:pt x="21" y="164"/>
                  </a:lnTo>
                  <a:lnTo>
                    <a:pt x="19" y="147"/>
                  </a:lnTo>
                  <a:lnTo>
                    <a:pt x="6" y="152"/>
                  </a:lnTo>
                  <a:lnTo>
                    <a:pt x="11" y="141"/>
                  </a:lnTo>
                  <a:lnTo>
                    <a:pt x="19" y="141"/>
                  </a:lnTo>
                  <a:lnTo>
                    <a:pt x="38" y="107"/>
                  </a:lnTo>
                  <a:lnTo>
                    <a:pt x="34" y="103"/>
                  </a:lnTo>
                  <a:lnTo>
                    <a:pt x="15" y="126"/>
                  </a:lnTo>
                  <a:lnTo>
                    <a:pt x="0" y="131"/>
                  </a:lnTo>
                  <a:lnTo>
                    <a:pt x="0" y="124"/>
                  </a:lnTo>
                  <a:lnTo>
                    <a:pt x="6" y="124"/>
                  </a:lnTo>
                  <a:lnTo>
                    <a:pt x="2" y="118"/>
                  </a:lnTo>
                  <a:lnTo>
                    <a:pt x="7" y="110"/>
                  </a:lnTo>
                  <a:lnTo>
                    <a:pt x="19" y="114"/>
                  </a:lnTo>
                  <a:lnTo>
                    <a:pt x="11" y="103"/>
                  </a:lnTo>
                  <a:lnTo>
                    <a:pt x="17" y="97"/>
                  </a:lnTo>
                  <a:lnTo>
                    <a:pt x="19" y="71"/>
                  </a:lnTo>
                  <a:lnTo>
                    <a:pt x="13" y="46"/>
                  </a:lnTo>
                  <a:lnTo>
                    <a:pt x="26" y="36"/>
                  </a:lnTo>
                  <a:lnTo>
                    <a:pt x="32" y="25"/>
                  </a:lnTo>
                  <a:lnTo>
                    <a:pt x="36" y="23"/>
                  </a:lnTo>
                  <a:lnTo>
                    <a:pt x="40" y="2"/>
                  </a:lnTo>
                  <a:lnTo>
                    <a:pt x="61" y="6"/>
                  </a:lnTo>
                  <a:lnTo>
                    <a:pt x="93" y="0"/>
                  </a:lnTo>
                  <a:lnTo>
                    <a:pt x="91" y="17"/>
                  </a:lnTo>
                  <a:lnTo>
                    <a:pt x="64" y="4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0" name="Freeform 36"/>
            <p:cNvSpPr>
              <a:spLocks/>
            </p:cNvSpPr>
            <p:nvPr/>
          </p:nvSpPr>
          <p:spPr bwMode="auto">
            <a:xfrm>
              <a:off x="2830532" y="3042054"/>
              <a:ext cx="12128" cy="20952"/>
            </a:xfrm>
            <a:custGeom>
              <a:avLst/>
              <a:gdLst>
                <a:gd name="T0" fmla="*/ 2147483647 w 21"/>
                <a:gd name="T1" fmla="*/ 2147483647 h 35"/>
                <a:gd name="T2" fmla="*/ 2147483647 w 21"/>
                <a:gd name="T3" fmla="*/ 2147483647 h 35"/>
                <a:gd name="T4" fmla="*/ 2147483647 w 21"/>
                <a:gd name="T5" fmla="*/ 2147483647 h 35"/>
                <a:gd name="T6" fmla="*/ 2147483647 w 21"/>
                <a:gd name="T7" fmla="*/ 2147483647 h 35"/>
                <a:gd name="T8" fmla="*/ 0 w 21"/>
                <a:gd name="T9" fmla="*/ 2147483647 h 35"/>
                <a:gd name="T10" fmla="*/ 2147483647 w 21"/>
                <a:gd name="T11" fmla="*/ 2147483647 h 35"/>
                <a:gd name="T12" fmla="*/ 2147483647 w 21"/>
                <a:gd name="T13" fmla="*/ 0 h 35"/>
                <a:gd name="T14" fmla="*/ 2147483647 w 21"/>
                <a:gd name="T15" fmla="*/ 2147483647 h 35"/>
                <a:gd name="T16" fmla="*/ 2147483647 w 21"/>
                <a:gd name="T17" fmla="*/ 2147483647 h 35"/>
                <a:gd name="T18" fmla="*/ 2147483647 w 21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1"/>
                <a:gd name="T31" fmla="*/ 0 h 35"/>
                <a:gd name="T32" fmla="*/ 21 w 21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1" h="35">
                  <a:moveTo>
                    <a:pt x="21" y="25"/>
                  </a:moveTo>
                  <a:lnTo>
                    <a:pt x="17" y="35"/>
                  </a:lnTo>
                  <a:lnTo>
                    <a:pt x="8" y="31"/>
                  </a:lnTo>
                  <a:lnTo>
                    <a:pt x="10" y="21"/>
                  </a:lnTo>
                  <a:lnTo>
                    <a:pt x="0" y="19"/>
                  </a:lnTo>
                  <a:lnTo>
                    <a:pt x="4" y="8"/>
                  </a:lnTo>
                  <a:lnTo>
                    <a:pt x="10" y="0"/>
                  </a:lnTo>
                  <a:lnTo>
                    <a:pt x="17" y="6"/>
                  </a:lnTo>
                  <a:lnTo>
                    <a:pt x="16" y="16"/>
                  </a:lnTo>
                  <a:lnTo>
                    <a:pt x="21" y="2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1" name="Freeform 37"/>
            <p:cNvSpPr>
              <a:spLocks/>
            </p:cNvSpPr>
            <p:nvPr/>
          </p:nvSpPr>
          <p:spPr bwMode="auto">
            <a:xfrm>
              <a:off x="2819507" y="3010626"/>
              <a:ext cx="20949" cy="55873"/>
            </a:xfrm>
            <a:custGeom>
              <a:avLst/>
              <a:gdLst>
                <a:gd name="T0" fmla="*/ 0 w 38"/>
                <a:gd name="T1" fmla="*/ 2147483647 h 89"/>
                <a:gd name="T2" fmla="*/ 2147483647 w 38"/>
                <a:gd name="T3" fmla="*/ 2147483647 h 89"/>
                <a:gd name="T4" fmla="*/ 2147483647 w 38"/>
                <a:gd name="T5" fmla="*/ 2147483647 h 89"/>
                <a:gd name="T6" fmla="*/ 2147483647 w 38"/>
                <a:gd name="T7" fmla="*/ 2147483647 h 89"/>
                <a:gd name="T8" fmla="*/ 2147483647 w 38"/>
                <a:gd name="T9" fmla="*/ 2147483647 h 89"/>
                <a:gd name="T10" fmla="*/ 2147483647 w 38"/>
                <a:gd name="T11" fmla="*/ 0 h 89"/>
                <a:gd name="T12" fmla="*/ 2147483647 w 38"/>
                <a:gd name="T13" fmla="*/ 2147483647 h 89"/>
                <a:gd name="T14" fmla="*/ 2147483647 w 38"/>
                <a:gd name="T15" fmla="*/ 2147483647 h 89"/>
                <a:gd name="T16" fmla="*/ 2147483647 w 38"/>
                <a:gd name="T17" fmla="*/ 2147483647 h 89"/>
                <a:gd name="T18" fmla="*/ 2147483647 w 38"/>
                <a:gd name="T19" fmla="*/ 2147483647 h 89"/>
                <a:gd name="T20" fmla="*/ 2147483647 w 38"/>
                <a:gd name="T21" fmla="*/ 2147483647 h 89"/>
                <a:gd name="T22" fmla="*/ 2147483647 w 38"/>
                <a:gd name="T23" fmla="*/ 2147483647 h 89"/>
                <a:gd name="T24" fmla="*/ 0 w 38"/>
                <a:gd name="T25" fmla="*/ 2147483647 h 8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"/>
                <a:gd name="T40" fmla="*/ 0 h 89"/>
                <a:gd name="T41" fmla="*/ 38 w 38"/>
                <a:gd name="T42" fmla="*/ 89 h 8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" h="89">
                  <a:moveTo>
                    <a:pt x="0" y="89"/>
                  </a:moveTo>
                  <a:lnTo>
                    <a:pt x="10" y="57"/>
                  </a:lnTo>
                  <a:lnTo>
                    <a:pt x="4" y="49"/>
                  </a:lnTo>
                  <a:lnTo>
                    <a:pt x="14" y="44"/>
                  </a:lnTo>
                  <a:lnTo>
                    <a:pt x="19" y="15"/>
                  </a:lnTo>
                  <a:lnTo>
                    <a:pt x="35" y="0"/>
                  </a:lnTo>
                  <a:lnTo>
                    <a:pt x="38" y="15"/>
                  </a:lnTo>
                  <a:lnTo>
                    <a:pt x="33" y="28"/>
                  </a:lnTo>
                  <a:lnTo>
                    <a:pt x="25" y="28"/>
                  </a:lnTo>
                  <a:lnTo>
                    <a:pt x="18" y="34"/>
                  </a:lnTo>
                  <a:lnTo>
                    <a:pt x="19" y="46"/>
                  </a:lnTo>
                  <a:lnTo>
                    <a:pt x="8" y="84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2" name="Freeform 38"/>
            <p:cNvSpPr>
              <a:spLocks/>
            </p:cNvSpPr>
            <p:nvPr/>
          </p:nvSpPr>
          <p:spPr bwMode="auto">
            <a:xfrm>
              <a:off x="2882351" y="2987345"/>
              <a:ext cx="11025" cy="15132"/>
            </a:xfrm>
            <a:custGeom>
              <a:avLst/>
              <a:gdLst>
                <a:gd name="T0" fmla="*/ 0 w 23"/>
                <a:gd name="T1" fmla="*/ 2147483647 h 27"/>
                <a:gd name="T2" fmla="*/ 2147483647 w 23"/>
                <a:gd name="T3" fmla="*/ 0 h 27"/>
                <a:gd name="T4" fmla="*/ 2147483647 w 23"/>
                <a:gd name="T5" fmla="*/ 2147483647 h 27"/>
                <a:gd name="T6" fmla="*/ 2147483647 w 23"/>
                <a:gd name="T7" fmla="*/ 2147483647 h 27"/>
                <a:gd name="T8" fmla="*/ 2147483647 w 23"/>
                <a:gd name="T9" fmla="*/ 2147483647 h 27"/>
                <a:gd name="T10" fmla="*/ 2147483647 w 23"/>
                <a:gd name="T11" fmla="*/ 2147483647 h 27"/>
                <a:gd name="T12" fmla="*/ 2147483647 w 23"/>
                <a:gd name="T13" fmla="*/ 2147483647 h 27"/>
                <a:gd name="T14" fmla="*/ 0 w 23"/>
                <a:gd name="T15" fmla="*/ 2147483647 h 27"/>
                <a:gd name="T16" fmla="*/ 0 w 23"/>
                <a:gd name="T17" fmla="*/ 2147483647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27"/>
                <a:gd name="T29" fmla="*/ 23 w 23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27">
                  <a:moveTo>
                    <a:pt x="0" y="6"/>
                  </a:moveTo>
                  <a:lnTo>
                    <a:pt x="18" y="0"/>
                  </a:lnTo>
                  <a:lnTo>
                    <a:pt x="14" y="9"/>
                  </a:lnTo>
                  <a:lnTo>
                    <a:pt x="23" y="13"/>
                  </a:lnTo>
                  <a:lnTo>
                    <a:pt x="16" y="27"/>
                  </a:lnTo>
                  <a:lnTo>
                    <a:pt x="10" y="17"/>
                  </a:lnTo>
                  <a:lnTo>
                    <a:pt x="6" y="27"/>
                  </a:lnTo>
                  <a:lnTo>
                    <a:pt x="0" y="23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3" name="Freeform 39"/>
            <p:cNvSpPr>
              <a:spLocks/>
            </p:cNvSpPr>
            <p:nvPr/>
          </p:nvSpPr>
          <p:spPr bwMode="auto">
            <a:xfrm>
              <a:off x="2912120" y="2948932"/>
              <a:ext cx="6615" cy="17460"/>
            </a:xfrm>
            <a:custGeom>
              <a:avLst/>
              <a:gdLst>
                <a:gd name="T0" fmla="*/ 2147483647 w 11"/>
                <a:gd name="T1" fmla="*/ 2147483647 h 29"/>
                <a:gd name="T2" fmla="*/ 2147483647 w 11"/>
                <a:gd name="T3" fmla="*/ 2147483647 h 29"/>
                <a:gd name="T4" fmla="*/ 0 w 11"/>
                <a:gd name="T5" fmla="*/ 2147483647 h 29"/>
                <a:gd name="T6" fmla="*/ 2147483647 w 11"/>
                <a:gd name="T7" fmla="*/ 0 h 29"/>
                <a:gd name="T8" fmla="*/ 2147483647 w 11"/>
                <a:gd name="T9" fmla="*/ 2147483647 h 29"/>
                <a:gd name="T10" fmla="*/ 2147483647 w 11"/>
                <a:gd name="T11" fmla="*/ 2147483647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29"/>
                <a:gd name="T20" fmla="*/ 11 w 11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29">
                  <a:moveTo>
                    <a:pt x="5" y="29"/>
                  </a:moveTo>
                  <a:lnTo>
                    <a:pt x="5" y="17"/>
                  </a:lnTo>
                  <a:lnTo>
                    <a:pt x="0" y="14"/>
                  </a:lnTo>
                  <a:lnTo>
                    <a:pt x="9" y="0"/>
                  </a:lnTo>
                  <a:lnTo>
                    <a:pt x="11" y="21"/>
                  </a:lnTo>
                  <a:lnTo>
                    <a:pt x="5" y="2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4" name="Freeform 40"/>
            <p:cNvSpPr>
              <a:spLocks/>
            </p:cNvSpPr>
            <p:nvPr/>
          </p:nvSpPr>
          <p:spPr bwMode="auto">
            <a:xfrm>
              <a:off x="2806277" y="3121208"/>
              <a:ext cx="40794" cy="37249"/>
            </a:xfrm>
            <a:custGeom>
              <a:avLst/>
              <a:gdLst>
                <a:gd name="T0" fmla="*/ 2147483647 w 74"/>
                <a:gd name="T1" fmla="*/ 2147483647 h 58"/>
                <a:gd name="T2" fmla="*/ 2147483647 w 74"/>
                <a:gd name="T3" fmla="*/ 0 h 58"/>
                <a:gd name="T4" fmla="*/ 2147483647 w 74"/>
                <a:gd name="T5" fmla="*/ 2147483647 h 58"/>
                <a:gd name="T6" fmla="*/ 2147483647 w 74"/>
                <a:gd name="T7" fmla="*/ 2147483647 h 58"/>
                <a:gd name="T8" fmla="*/ 2147483647 w 74"/>
                <a:gd name="T9" fmla="*/ 2147483647 h 58"/>
                <a:gd name="T10" fmla="*/ 2147483647 w 74"/>
                <a:gd name="T11" fmla="*/ 2147483647 h 58"/>
                <a:gd name="T12" fmla="*/ 2147483647 w 74"/>
                <a:gd name="T13" fmla="*/ 2147483647 h 58"/>
                <a:gd name="T14" fmla="*/ 2147483647 w 74"/>
                <a:gd name="T15" fmla="*/ 2147483647 h 58"/>
                <a:gd name="T16" fmla="*/ 2147483647 w 74"/>
                <a:gd name="T17" fmla="*/ 2147483647 h 58"/>
                <a:gd name="T18" fmla="*/ 2147483647 w 74"/>
                <a:gd name="T19" fmla="*/ 2147483647 h 58"/>
                <a:gd name="T20" fmla="*/ 2147483647 w 74"/>
                <a:gd name="T21" fmla="*/ 2147483647 h 58"/>
                <a:gd name="T22" fmla="*/ 2147483647 w 74"/>
                <a:gd name="T23" fmla="*/ 2147483647 h 58"/>
                <a:gd name="T24" fmla="*/ 0 w 74"/>
                <a:gd name="T25" fmla="*/ 2147483647 h 58"/>
                <a:gd name="T26" fmla="*/ 0 w 74"/>
                <a:gd name="T27" fmla="*/ 2147483647 h 58"/>
                <a:gd name="T28" fmla="*/ 2147483647 w 74"/>
                <a:gd name="T29" fmla="*/ 2147483647 h 58"/>
                <a:gd name="T30" fmla="*/ 2147483647 w 74"/>
                <a:gd name="T31" fmla="*/ 2147483647 h 58"/>
                <a:gd name="T32" fmla="*/ 2147483647 w 74"/>
                <a:gd name="T33" fmla="*/ 2147483647 h 58"/>
                <a:gd name="T34" fmla="*/ 2147483647 w 74"/>
                <a:gd name="T35" fmla="*/ 2147483647 h 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4"/>
                <a:gd name="T55" fmla="*/ 0 h 58"/>
                <a:gd name="T56" fmla="*/ 74 w 74"/>
                <a:gd name="T57" fmla="*/ 58 h 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4" h="58">
                  <a:moveTo>
                    <a:pt x="30" y="3"/>
                  </a:moveTo>
                  <a:lnTo>
                    <a:pt x="40" y="0"/>
                  </a:lnTo>
                  <a:lnTo>
                    <a:pt x="60" y="3"/>
                  </a:lnTo>
                  <a:lnTo>
                    <a:pt x="68" y="17"/>
                  </a:lnTo>
                  <a:lnTo>
                    <a:pt x="62" y="24"/>
                  </a:lnTo>
                  <a:lnTo>
                    <a:pt x="68" y="26"/>
                  </a:lnTo>
                  <a:lnTo>
                    <a:pt x="74" y="34"/>
                  </a:lnTo>
                  <a:lnTo>
                    <a:pt x="64" y="47"/>
                  </a:lnTo>
                  <a:lnTo>
                    <a:pt x="53" y="51"/>
                  </a:lnTo>
                  <a:lnTo>
                    <a:pt x="40" y="51"/>
                  </a:lnTo>
                  <a:lnTo>
                    <a:pt x="26" y="43"/>
                  </a:lnTo>
                  <a:lnTo>
                    <a:pt x="22" y="58"/>
                  </a:lnTo>
                  <a:lnTo>
                    <a:pt x="0" y="51"/>
                  </a:lnTo>
                  <a:lnTo>
                    <a:pt x="0" y="41"/>
                  </a:lnTo>
                  <a:lnTo>
                    <a:pt x="7" y="28"/>
                  </a:lnTo>
                  <a:lnTo>
                    <a:pt x="15" y="28"/>
                  </a:lnTo>
                  <a:lnTo>
                    <a:pt x="22" y="13"/>
                  </a:lnTo>
                  <a:lnTo>
                    <a:pt x="30" y="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5" name="Freeform 41"/>
            <p:cNvSpPr>
              <a:spLocks/>
            </p:cNvSpPr>
            <p:nvPr/>
          </p:nvSpPr>
          <p:spPr bwMode="auto">
            <a:xfrm>
              <a:off x="2776508" y="3114224"/>
              <a:ext cx="65050" cy="119894"/>
            </a:xfrm>
            <a:custGeom>
              <a:avLst/>
              <a:gdLst>
                <a:gd name="T0" fmla="*/ 2147483647 w 119"/>
                <a:gd name="T1" fmla="*/ 2147483647 h 194"/>
                <a:gd name="T2" fmla="*/ 2147483647 w 119"/>
                <a:gd name="T3" fmla="*/ 2147483647 h 194"/>
                <a:gd name="T4" fmla="*/ 2147483647 w 119"/>
                <a:gd name="T5" fmla="*/ 2147483647 h 194"/>
                <a:gd name="T6" fmla="*/ 2147483647 w 119"/>
                <a:gd name="T7" fmla="*/ 2147483647 h 194"/>
                <a:gd name="T8" fmla="*/ 2147483647 w 119"/>
                <a:gd name="T9" fmla="*/ 2147483647 h 194"/>
                <a:gd name="T10" fmla="*/ 2147483647 w 119"/>
                <a:gd name="T11" fmla="*/ 2147483647 h 194"/>
                <a:gd name="T12" fmla="*/ 2147483647 w 119"/>
                <a:gd name="T13" fmla="*/ 2147483647 h 194"/>
                <a:gd name="T14" fmla="*/ 2147483647 w 119"/>
                <a:gd name="T15" fmla="*/ 2147483647 h 194"/>
                <a:gd name="T16" fmla="*/ 2147483647 w 119"/>
                <a:gd name="T17" fmla="*/ 2147483647 h 194"/>
                <a:gd name="T18" fmla="*/ 2147483647 w 119"/>
                <a:gd name="T19" fmla="*/ 2147483647 h 194"/>
                <a:gd name="T20" fmla="*/ 2147483647 w 119"/>
                <a:gd name="T21" fmla="*/ 2147483647 h 194"/>
                <a:gd name="T22" fmla="*/ 2147483647 w 119"/>
                <a:gd name="T23" fmla="*/ 2147483647 h 194"/>
                <a:gd name="T24" fmla="*/ 2147483647 w 119"/>
                <a:gd name="T25" fmla="*/ 2147483647 h 194"/>
                <a:gd name="T26" fmla="*/ 2147483647 w 119"/>
                <a:gd name="T27" fmla="*/ 2147483647 h 194"/>
                <a:gd name="T28" fmla="*/ 2147483647 w 119"/>
                <a:gd name="T29" fmla="*/ 2147483647 h 194"/>
                <a:gd name="T30" fmla="*/ 2147483647 w 119"/>
                <a:gd name="T31" fmla="*/ 2147483647 h 194"/>
                <a:gd name="T32" fmla="*/ 2147483647 w 119"/>
                <a:gd name="T33" fmla="*/ 2147483647 h 194"/>
                <a:gd name="T34" fmla="*/ 2147483647 w 119"/>
                <a:gd name="T35" fmla="*/ 2147483647 h 194"/>
                <a:gd name="T36" fmla="*/ 2147483647 w 119"/>
                <a:gd name="T37" fmla="*/ 2147483647 h 194"/>
                <a:gd name="T38" fmla="*/ 2147483647 w 119"/>
                <a:gd name="T39" fmla="*/ 2147483647 h 194"/>
                <a:gd name="T40" fmla="*/ 2147483647 w 119"/>
                <a:gd name="T41" fmla="*/ 2147483647 h 194"/>
                <a:gd name="T42" fmla="*/ 0 w 119"/>
                <a:gd name="T43" fmla="*/ 2147483647 h 194"/>
                <a:gd name="T44" fmla="*/ 2147483647 w 119"/>
                <a:gd name="T45" fmla="*/ 2147483647 h 194"/>
                <a:gd name="T46" fmla="*/ 2147483647 w 119"/>
                <a:gd name="T47" fmla="*/ 2147483647 h 194"/>
                <a:gd name="T48" fmla="*/ 2147483647 w 119"/>
                <a:gd name="T49" fmla="*/ 2147483647 h 194"/>
                <a:gd name="T50" fmla="*/ 2147483647 w 119"/>
                <a:gd name="T51" fmla="*/ 2147483647 h 194"/>
                <a:gd name="T52" fmla="*/ 2147483647 w 119"/>
                <a:gd name="T53" fmla="*/ 2147483647 h 194"/>
                <a:gd name="T54" fmla="*/ 2147483647 w 119"/>
                <a:gd name="T55" fmla="*/ 2147483647 h 194"/>
                <a:gd name="T56" fmla="*/ 2147483647 w 119"/>
                <a:gd name="T57" fmla="*/ 2147483647 h 194"/>
                <a:gd name="T58" fmla="*/ 2147483647 w 119"/>
                <a:gd name="T59" fmla="*/ 2147483647 h 194"/>
                <a:gd name="T60" fmla="*/ 2147483647 w 119"/>
                <a:gd name="T61" fmla="*/ 2147483647 h 194"/>
                <a:gd name="T62" fmla="*/ 2147483647 w 119"/>
                <a:gd name="T63" fmla="*/ 2147483647 h 194"/>
                <a:gd name="T64" fmla="*/ 2147483647 w 119"/>
                <a:gd name="T65" fmla="*/ 2147483647 h 194"/>
                <a:gd name="T66" fmla="*/ 2147483647 w 119"/>
                <a:gd name="T67" fmla="*/ 2147483647 h 194"/>
                <a:gd name="T68" fmla="*/ 2147483647 w 119"/>
                <a:gd name="T69" fmla="*/ 2147483647 h 194"/>
                <a:gd name="T70" fmla="*/ 2147483647 w 119"/>
                <a:gd name="T71" fmla="*/ 2147483647 h 194"/>
                <a:gd name="T72" fmla="*/ 2147483647 w 119"/>
                <a:gd name="T73" fmla="*/ 2147483647 h 194"/>
                <a:gd name="T74" fmla="*/ 2147483647 w 119"/>
                <a:gd name="T75" fmla="*/ 2147483647 h 194"/>
                <a:gd name="T76" fmla="*/ 2147483647 w 119"/>
                <a:gd name="T77" fmla="*/ 2147483647 h 194"/>
                <a:gd name="T78" fmla="*/ 2147483647 w 119"/>
                <a:gd name="T79" fmla="*/ 2147483647 h 194"/>
                <a:gd name="T80" fmla="*/ 2147483647 w 119"/>
                <a:gd name="T81" fmla="*/ 2147483647 h 194"/>
                <a:gd name="T82" fmla="*/ 2147483647 w 119"/>
                <a:gd name="T83" fmla="*/ 2147483647 h 194"/>
                <a:gd name="T84" fmla="*/ 2147483647 w 119"/>
                <a:gd name="T85" fmla="*/ 2147483647 h 194"/>
                <a:gd name="T86" fmla="*/ 2147483647 w 119"/>
                <a:gd name="T87" fmla="*/ 2147483647 h 194"/>
                <a:gd name="T88" fmla="*/ 2147483647 w 119"/>
                <a:gd name="T89" fmla="*/ 2147483647 h 194"/>
                <a:gd name="T90" fmla="*/ 2147483647 w 119"/>
                <a:gd name="T91" fmla="*/ 2147483647 h 194"/>
                <a:gd name="T92" fmla="*/ 2147483647 w 119"/>
                <a:gd name="T93" fmla="*/ 2147483647 h 194"/>
                <a:gd name="T94" fmla="*/ 2147483647 w 119"/>
                <a:gd name="T95" fmla="*/ 2147483647 h 194"/>
                <a:gd name="T96" fmla="*/ 2147483647 w 119"/>
                <a:gd name="T97" fmla="*/ 2147483647 h 194"/>
                <a:gd name="T98" fmla="*/ 2147483647 w 119"/>
                <a:gd name="T99" fmla="*/ 2147483647 h 194"/>
                <a:gd name="T100" fmla="*/ 2147483647 w 119"/>
                <a:gd name="T101" fmla="*/ 0 h 194"/>
                <a:gd name="T102" fmla="*/ 2147483647 w 119"/>
                <a:gd name="T103" fmla="*/ 2147483647 h 194"/>
                <a:gd name="T104" fmla="*/ 2147483647 w 119"/>
                <a:gd name="T105" fmla="*/ 2147483647 h 19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9"/>
                <a:gd name="T160" fmla="*/ 0 h 194"/>
                <a:gd name="T161" fmla="*/ 119 w 119"/>
                <a:gd name="T162" fmla="*/ 194 h 19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9" h="194">
                  <a:moveTo>
                    <a:pt x="87" y="17"/>
                  </a:moveTo>
                  <a:lnTo>
                    <a:pt x="79" y="27"/>
                  </a:lnTo>
                  <a:lnTo>
                    <a:pt x="72" y="42"/>
                  </a:lnTo>
                  <a:lnTo>
                    <a:pt x="64" y="40"/>
                  </a:lnTo>
                  <a:lnTo>
                    <a:pt x="57" y="55"/>
                  </a:lnTo>
                  <a:lnTo>
                    <a:pt x="57" y="65"/>
                  </a:lnTo>
                  <a:lnTo>
                    <a:pt x="79" y="72"/>
                  </a:lnTo>
                  <a:lnTo>
                    <a:pt x="83" y="57"/>
                  </a:lnTo>
                  <a:lnTo>
                    <a:pt x="97" y="65"/>
                  </a:lnTo>
                  <a:lnTo>
                    <a:pt x="110" y="65"/>
                  </a:lnTo>
                  <a:lnTo>
                    <a:pt x="119" y="97"/>
                  </a:lnTo>
                  <a:lnTo>
                    <a:pt x="114" y="105"/>
                  </a:lnTo>
                  <a:lnTo>
                    <a:pt x="117" y="107"/>
                  </a:lnTo>
                  <a:lnTo>
                    <a:pt x="114" y="148"/>
                  </a:lnTo>
                  <a:lnTo>
                    <a:pt x="110" y="160"/>
                  </a:lnTo>
                  <a:lnTo>
                    <a:pt x="97" y="169"/>
                  </a:lnTo>
                  <a:lnTo>
                    <a:pt x="81" y="167"/>
                  </a:lnTo>
                  <a:lnTo>
                    <a:pt x="53" y="183"/>
                  </a:lnTo>
                  <a:lnTo>
                    <a:pt x="17" y="194"/>
                  </a:lnTo>
                  <a:lnTo>
                    <a:pt x="5" y="190"/>
                  </a:lnTo>
                  <a:lnTo>
                    <a:pt x="17" y="179"/>
                  </a:lnTo>
                  <a:lnTo>
                    <a:pt x="0" y="177"/>
                  </a:lnTo>
                  <a:lnTo>
                    <a:pt x="3" y="160"/>
                  </a:lnTo>
                  <a:lnTo>
                    <a:pt x="17" y="160"/>
                  </a:lnTo>
                  <a:lnTo>
                    <a:pt x="17" y="152"/>
                  </a:lnTo>
                  <a:lnTo>
                    <a:pt x="36" y="141"/>
                  </a:lnTo>
                  <a:lnTo>
                    <a:pt x="34" y="135"/>
                  </a:lnTo>
                  <a:lnTo>
                    <a:pt x="15" y="141"/>
                  </a:lnTo>
                  <a:lnTo>
                    <a:pt x="30" y="127"/>
                  </a:lnTo>
                  <a:lnTo>
                    <a:pt x="22" y="126"/>
                  </a:lnTo>
                  <a:lnTo>
                    <a:pt x="36" y="105"/>
                  </a:lnTo>
                  <a:lnTo>
                    <a:pt x="30" y="107"/>
                  </a:lnTo>
                  <a:lnTo>
                    <a:pt x="21" y="114"/>
                  </a:lnTo>
                  <a:lnTo>
                    <a:pt x="3" y="107"/>
                  </a:lnTo>
                  <a:lnTo>
                    <a:pt x="3" y="93"/>
                  </a:lnTo>
                  <a:lnTo>
                    <a:pt x="13" y="88"/>
                  </a:lnTo>
                  <a:lnTo>
                    <a:pt x="17" y="74"/>
                  </a:lnTo>
                  <a:lnTo>
                    <a:pt x="2" y="72"/>
                  </a:lnTo>
                  <a:lnTo>
                    <a:pt x="7" y="59"/>
                  </a:lnTo>
                  <a:lnTo>
                    <a:pt x="32" y="55"/>
                  </a:lnTo>
                  <a:lnTo>
                    <a:pt x="45" y="59"/>
                  </a:lnTo>
                  <a:lnTo>
                    <a:pt x="47" y="53"/>
                  </a:lnTo>
                  <a:lnTo>
                    <a:pt x="57" y="52"/>
                  </a:lnTo>
                  <a:lnTo>
                    <a:pt x="57" y="46"/>
                  </a:lnTo>
                  <a:lnTo>
                    <a:pt x="43" y="40"/>
                  </a:lnTo>
                  <a:lnTo>
                    <a:pt x="49" y="29"/>
                  </a:lnTo>
                  <a:lnTo>
                    <a:pt x="53" y="15"/>
                  </a:lnTo>
                  <a:lnTo>
                    <a:pt x="70" y="8"/>
                  </a:lnTo>
                  <a:lnTo>
                    <a:pt x="72" y="19"/>
                  </a:lnTo>
                  <a:lnTo>
                    <a:pt x="78" y="8"/>
                  </a:lnTo>
                  <a:lnTo>
                    <a:pt x="83" y="0"/>
                  </a:lnTo>
                  <a:lnTo>
                    <a:pt x="93" y="6"/>
                  </a:lnTo>
                  <a:lnTo>
                    <a:pt x="87" y="1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6" name="Freeform 42"/>
            <p:cNvSpPr>
              <a:spLocks/>
            </p:cNvSpPr>
            <p:nvPr/>
          </p:nvSpPr>
          <p:spPr bwMode="auto">
            <a:xfrm>
              <a:off x="2562616" y="2702158"/>
              <a:ext cx="166483" cy="129207"/>
            </a:xfrm>
            <a:custGeom>
              <a:avLst/>
              <a:gdLst>
                <a:gd name="T0" fmla="*/ 2147483647 w 306"/>
                <a:gd name="T1" fmla="*/ 2147483647 h 205"/>
                <a:gd name="T2" fmla="*/ 2147483647 w 306"/>
                <a:gd name="T3" fmla="*/ 2147483647 h 205"/>
                <a:gd name="T4" fmla="*/ 2147483647 w 306"/>
                <a:gd name="T5" fmla="*/ 2147483647 h 205"/>
                <a:gd name="T6" fmla="*/ 2147483647 w 306"/>
                <a:gd name="T7" fmla="*/ 2147483647 h 205"/>
                <a:gd name="T8" fmla="*/ 2147483647 w 306"/>
                <a:gd name="T9" fmla="*/ 2147483647 h 205"/>
                <a:gd name="T10" fmla="*/ 2147483647 w 306"/>
                <a:gd name="T11" fmla="*/ 2147483647 h 205"/>
                <a:gd name="T12" fmla="*/ 2147483647 w 306"/>
                <a:gd name="T13" fmla="*/ 2147483647 h 205"/>
                <a:gd name="T14" fmla="*/ 0 w 306"/>
                <a:gd name="T15" fmla="*/ 2147483647 h 205"/>
                <a:gd name="T16" fmla="*/ 2147483647 w 306"/>
                <a:gd name="T17" fmla="*/ 2147483647 h 205"/>
                <a:gd name="T18" fmla="*/ 2147483647 w 306"/>
                <a:gd name="T19" fmla="*/ 2147483647 h 205"/>
                <a:gd name="T20" fmla="*/ 2147483647 w 306"/>
                <a:gd name="T21" fmla="*/ 2147483647 h 205"/>
                <a:gd name="T22" fmla="*/ 2147483647 w 306"/>
                <a:gd name="T23" fmla="*/ 2147483647 h 205"/>
                <a:gd name="T24" fmla="*/ 2147483647 w 306"/>
                <a:gd name="T25" fmla="*/ 2147483647 h 205"/>
                <a:gd name="T26" fmla="*/ 2147483647 w 306"/>
                <a:gd name="T27" fmla="*/ 0 h 205"/>
                <a:gd name="T28" fmla="*/ 2147483647 w 306"/>
                <a:gd name="T29" fmla="*/ 2147483647 h 205"/>
                <a:gd name="T30" fmla="*/ 2147483647 w 306"/>
                <a:gd name="T31" fmla="*/ 2147483647 h 205"/>
                <a:gd name="T32" fmla="*/ 2147483647 w 306"/>
                <a:gd name="T33" fmla="*/ 2147483647 h 205"/>
                <a:gd name="T34" fmla="*/ 2147483647 w 306"/>
                <a:gd name="T35" fmla="*/ 2147483647 h 205"/>
                <a:gd name="T36" fmla="*/ 2147483647 w 306"/>
                <a:gd name="T37" fmla="*/ 2147483647 h 205"/>
                <a:gd name="T38" fmla="*/ 2147483647 w 306"/>
                <a:gd name="T39" fmla="*/ 2147483647 h 205"/>
                <a:gd name="T40" fmla="*/ 2147483647 w 306"/>
                <a:gd name="T41" fmla="*/ 2147483647 h 205"/>
                <a:gd name="T42" fmla="*/ 2147483647 w 306"/>
                <a:gd name="T43" fmla="*/ 2147483647 h 205"/>
                <a:gd name="T44" fmla="*/ 2147483647 w 306"/>
                <a:gd name="T45" fmla="*/ 2147483647 h 205"/>
                <a:gd name="T46" fmla="*/ 2147483647 w 306"/>
                <a:gd name="T47" fmla="*/ 2147483647 h 205"/>
                <a:gd name="T48" fmla="*/ 2147483647 w 306"/>
                <a:gd name="T49" fmla="*/ 2147483647 h 205"/>
                <a:gd name="T50" fmla="*/ 2147483647 w 306"/>
                <a:gd name="T51" fmla="*/ 2147483647 h 205"/>
                <a:gd name="T52" fmla="*/ 2147483647 w 306"/>
                <a:gd name="T53" fmla="*/ 2147483647 h 205"/>
                <a:gd name="T54" fmla="*/ 2147483647 w 306"/>
                <a:gd name="T55" fmla="*/ 2147483647 h 205"/>
                <a:gd name="T56" fmla="*/ 2147483647 w 306"/>
                <a:gd name="T57" fmla="*/ 2147483647 h 205"/>
                <a:gd name="T58" fmla="*/ 2147483647 w 306"/>
                <a:gd name="T59" fmla="*/ 2147483647 h 205"/>
                <a:gd name="T60" fmla="*/ 2147483647 w 306"/>
                <a:gd name="T61" fmla="*/ 2147483647 h 205"/>
                <a:gd name="T62" fmla="*/ 2147483647 w 306"/>
                <a:gd name="T63" fmla="*/ 2147483647 h 205"/>
                <a:gd name="T64" fmla="*/ 2147483647 w 306"/>
                <a:gd name="T65" fmla="*/ 2147483647 h 205"/>
                <a:gd name="T66" fmla="*/ 2147483647 w 306"/>
                <a:gd name="T67" fmla="*/ 2147483647 h 205"/>
                <a:gd name="T68" fmla="*/ 2147483647 w 306"/>
                <a:gd name="T69" fmla="*/ 2147483647 h 205"/>
                <a:gd name="T70" fmla="*/ 2147483647 w 306"/>
                <a:gd name="T71" fmla="*/ 2147483647 h 205"/>
                <a:gd name="T72" fmla="*/ 2147483647 w 306"/>
                <a:gd name="T73" fmla="*/ 2147483647 h 205"/>
                <a:gd name="T74" fmla="*/ 2147483647 w 306"/>
                <a:gd name="T75" fmla="*/ 2147483647 h 20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06"/>
                <a:gd name="T115" fmla="*/ 0 h 205"/>
                <a:gd name="T116" fmla="*/ 306 w 306"/>
                <a:gd name="T117" fmla="*/ 205 h 20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06" h="205">
                  <a:moveTo>
                    <a:pt x="48" y="184"/>
                  </a:moveTo>
                  <a:lnTo>
                    <a:pt x="40" y="165"/>
                  </a:lnTo>
                  <a:lnTo>
                    <a:pt x="63" y="160"/>
                  </a:lnTo>
                  <a:lnTo>
                    <a:pt x="69" y="129"/>
                  </a:lnTo>
                  <a:lnTo>
                    <a:pt x="59" y="137"/>
                  </a:lnTo>
                  <a:lnTo>
                    <a:pt x="55" y="122"/>
                  </a:lnTo>
                  <a:lnTo>
                    <a:pt x="21" y="127"/>
                  </a:lnTo>
                  <a:lnTo>
                    <a:pt x="14" y="133"/>
                  </a:lnTo>
                  <a:lnTo>
                    <a:pt x="4" y="122"/>
                  </a:lnTo>
                  <a:lnTo>
                    <a:pt x="46" y="97"/>
                  </a:lnTo>
                  <a:lnTo>
                    <a:pt x="61" y="101"/>
                  </a:lnTo>
                  <a:lnTo>
                    <a:pt x="55" y="91"/>
                  </a:lnTo>
                  <a:lnTo>
                    <a:pt x="71" y="78"/>
                  </a:lnTo>
                  <a:lnTo>
                    <a:pt x="55" y="70"/>
                  </a:lnTo>
                  <a:lnTo>
                    <a:pt x="23" y="82"/>
                  </a:lnTo>
                  <a:lnTo>
                    <a:pt x="0" y="76"/>
                  </a:lnTo>
                  <a:lnTo>
                    <a:pt x="2" y="67"/>
                  </a:lnTo>
                  <a:lnTo>
                    <a:pt x="19" y="69"/>
                  </a:lnTo>
                  <a:lnTo>
                    <a:pt x="14" y="53"/>
                  </a:lnTo>
                  <a:lnTo>
                    <a:pt x="29" y="55"/>
                  </a:lnTo>
                  <a:lnTo>
                    <a:pt x="19" y="40"/>
                  </a:lnTo>
                  <a:lnTo>
                    <a:pt x="17" y="32"/>
                  </a:lnTo>
                  <a:lnTo>
                    <a:pt x="27" y="17"/>
                  </a:lnTo>
                  <a:lnTo>
                    <a:pt x="40" y="32"/>
                  </a:lnTo>
                  <a:lnTo>
                    <a:pt x="55" y="36"/>
                  </a:lnTo>
                  <a:lnTo>
                    <a:pt x="40" y="19"/>
                  </a:lnTo>
                  <a:lnTo>
                    <a:pt x="34" y="10"/>
                  </a:lnTo>
                  <a:lnTo>
                    <a:pt x="36" y="0"/>
                  </a:lnTo>
                  <a:lnTo>
                    <a:pt x="55" y="4"/>
                  </a:lnTo>
                  <a:lnTo>
                    <a:pt x="84" y="32"/>
                  </a:lnTo>
                  <a:lnTo>
                    <a:pt x="88" y="50"/>
                  </a:lnTo>
                  <a:lnTo>
                    <a:pt x="78" y="57"/>
                  </a:lnTo>
                  <a:lnTo>
                    <a:pt x="90" y="82"/>
                  </a:lnTo>
                  <a:lnTo>
                    <a:pt x="101" y="65"/>
                  </a:lnTo>
                  <a:lnTo>
                    <a:pt x="109" y="63"/>
                  </a:lnTo>
                  <a:lnTo>
                    <a:pt x="109" y="31"/>
                  </a:lnTo>
                  <a:lnTo>
                    <a:pt x="118" y="29"/>
                  </a:lnTo>
                  <a:lnTo>
                    <a:pt x="135" y="55"/>
                  </a:lnTo>
                  <a:lnTo>
                    <a:pt x="137" y="31"/>
                  </a:lnTo>
                  <a:lnTo>
                    <a:pt x="150" y="27"/>
                  </a:lnTo>
                  <a:lnTo>
                    <a:pt x="171" y="59"/>
                  </a:lnTo>
                  <a:lnTo>
                    <a:pt x="167" y="29"/>
                  </a:lnTo>
                  <a:lnTo>
                    <a:pt x="173" y="25"/>
                  </a:lnTo>
                  <a:lnTo>
                    <a:pt x="192" y="44"/>
                  </a:lnTo>
                  <a:lnTo>
                    <a:pt x="200" y="27"/>
                  </a:lnTo>
                  <a:lnTo>
                    <a:pt x="211" y="31"/>
                  </a:lnTo>
                  <a:lnTo>
                    <a:pt x="217" y="19"/>
                  </a:lnTo>
                  <a:lnTo>
                    <a:pt x="211" y="4"/>
                  </a:lnTo>
                  <a:lnTo>
                    <a:pt x="230" y="2"/>
                  </a:lnTo>
                  <a:lnTo>
                    <a:pt x="243" y="23"/>
                  </a:lnTo>
                  <a:lnTo>
                    <a:pt x="251" y="29"/>
                  </a:lnTo>
                  <a:lnTo>
                    <a:pt x="272" y="8"/>
                  </a:lnTo>
                  <a:lnTo>
                    <a:pt x="281" y="12"/>
                  </a:lnTo>
                  <a:lnTo>
                    <a:pt x="261" y="34"/>
                  </a:lnTo>
                  <a:lnTo>
                    <a:pt x="268" y="44"/>
                  </a:lnTo>
                  <a:lnTo>
                    <a:pt x="276" y="38"/>
                  </a:lnTo>
                  <a:lnTo>
                    <a:pt x="276" y="55"/>
                  </a:lnTo>
                  <a:lnTo>
                    <a:pt x="285" y="57"/>
                  </a:lnTo>
                  <a:lnTo>
                    <a:pt x="280" y="72"/>
                  </a:lnTo>
                  <a:lnTo>
                    <a:pt x="287" y="67"/>
                  </a:lnTo>
                  <a:lnTo>
                    <a:pt x="299" y="70"/>
                  </a:lnTo>
                  <a:lnTo>
                    <a:pt x="299" y="91"/>
                  </a:lnTo>
                  <a:lnTo>
                    <a:pt x="306" y="97"/>
                  </a:lnTo>
                  <a:lnTo>
                    <a:pt x="300" y="110"/>
                  </a:lnTo>
                  <a:lnTo>
                    <a:pt x="291" y="124"/>
                  </a:lnTo>
                  <a:lnTo>
                    <a:pt x="285" y="122"/>
                  </a:lnTo>
                  <a:lnTo>
                    <a:pt x="278" y="133"/>
                  </a:lnTo>
                  <a:lnTo>
                    <a:pt x="259" y="148"/>
                  </a:lnTo>
                  <a:lnTo>
                    <a:pt x="253" y="141"/>
                  </a:lnTo>
                  <a:lnTo>
                    <a:pt x="238" y="154"/>
                  </a:lnTo>
                  <a:lnTo>
                    <a:pt x="221" y="177"/>
                  </a:lnTo>
                  <a:lnTo>
                    <a:pt x="190" y="182"/>
                  </a:lnTo>
                  <a:lnTo>
                    <a:pt x="186" y="194"/>
                  </a:lnTo>
                  <a:lnTo>
                    <a:pt x="152" y="205"/>
                  </a:lnTo>
                  <a:lnTo>
                    <a:pt x="118" y="198"/>
                  </a:lnTo>
                  <a:lnTo>
                    <a:pt x="84" y="171"/>
                  </a:lnTo>
                  <a:lnTo>
                    <a:pt x="48" y="18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7" name="Freeform 43"/>
            <p:cNvSpPr>
              <a:spLocks/>
            </p:cNvSpPr>
            <p:nvPr/>
          </p:nvSpPr>
          <p:spPr bwMode="auto">
            <a:xfrm>
              <a:off x="3032296" y="3357506"/>
              <a:ext cx="185226" cy="223493"/>
            </a:xfrm>
            <a:custGeom>
              <a:avLst/>
              <a:gdLst>
                <a:gd name="T0" fmla="*/ 2147483647 w 338"/>
                <a:gd name="T1" fmla="*/ 2147483647 h 357"/>
                <a:gd name="T2" fmla="*/ 0 w 338"/>
                <a:gd name="T3" fmla="*/ 2147483647 h 357"/>
                <a:gd name="T4" fmla="*/ 2147483647 w 338"/>
                <a:gd name="T5" fmla="*/ 2147483647 h 357"/>
                <a:gd name="T6" fmla="*/ 2147483647 w 338"/>
                <a:gd name="T7" fmla="*/ 2147483647 h 357"/>
                <a:gd name="T8" fmla="*/ 2147483647 w 338"/>
                <a:gd name="T9" fmla="*/ 2147483647 h 357"/>
                <a:gd name="T10" fmla="*/ 2147483647 w 338"/>
                <a:gd name="T11" fmla="*/ 2147483647 h 357"/>
                <a:gd name="T12" fmla="*/ 2147483647 w 338"/>
                <a:gd name="T13" fmla="*/ 2147483647 h 357"/>
                <a:gd name="T14" fmla="*/ 2147483647 w 338"/>
                <a:gd name="T15" fmla="*/ 2147483647 h 357"/>
                <a:gd name="T16" fmla="*/ 2147483647 w 338"/>
                <a:gd name="T17" fmla="*/ 2147483647 h 357"/>
                <a:gd name="T18" fmla="*/ 2147483647 w 338"/>
                <a:gd name="T19" fmla="*/ 0 h 357"/>
                <a:gd name="T20" fmla="*/ 2147483647 w 338"/>
                <a:gd name="T21" fmla="*/ 2147483647 h 357"/>
                <a:gd name="T22" fmla="*/ 2147483647 w 338"/>
                <a:gd name="T23" fmla="*/ 2147483647 h 357"/>
                <a:gd name="T24" fmla="*/ 2147483647 w 338"/>
                <a:gd name="T25" fmla="*/ 2147483647 h 357"/>
                <a:gd name="T26" fmla="*/ 2147483647 w 338"/>
                <a:gd name="T27" fmla="*/ 2147483647 h 357"/>
                <a:gd name="T28" fmla="*/ 2147483647 w 338"/>
                <a:gd name="T29" fmla="*/ 2147483647 h 357"/>
                <a:gd name="T30" fmla="*/ 2147483647 w 338"/>
                <a:gd name="T31" fmla="*/ 2147483647 h 357"/>
                <a:gd name="T32" fmla="*/ 2147483647 w 338"/>
                <a:gd name="T33" fmla="*/ 2147483647 h 357"/>
                <a:gd name="T34" fmla="*/ 2147483647 w 338"/>
                <a:gd name="T35" fmla="*/ 2147483647 h 357"/>
                <a:gd name="T36" fmla="*/ 2147483647 w 338"/>
                <a:gd name="T37" fmla="*/ 2147483647 h 357"/>
                <a:gd name="T38" fmla="*/ 2147483647 w 338"/>
                <a:gd name="T39" fmla="*/ 2147483647 h 357"/>
                <a:gd name="T40" fmla="*/ 2147483647 w 338"/>
                <a:gd name="T41" fmla="*/ 2147483647 h 357"/>
                <a:gd name="T42" fmla="*/ 2147483647 w 338"/>
                <a:gd name="T43" fmla="*/ 2147483647 h 357"/>
                <a:gd name="T44" fmla="*/ 2147483647 w 338"/>
                <a:gd name="T45" fmla="*/ 2147483647 h 357"/>
                <a:gd name="T46" fmla="*/ 2147483647 w 338"/>
                <a:gd name="T47" fmla="*/ 2147483647 h 357"/>
                <a:gd name="T48" fmla="*/ 2147483647 w 338"/>
                <a:gd name="T49" fmla="*/ 2147483647 h 357"/>
                <a:gd name="T50" fmla="*/ 2147483647 w 338"/>
                <a:gd name="T51" fmla="*/ 2147483647 h 357"/>
                <a:gd name="T52" fmla="*/ 2147483647 w 338"/>
                <a:gd name="T53" fmla="*/ 2147483647 h 357"/>
                <a:gd name="T54" fmla="*/ 2147483647 w 338"/>
                <a:gd name="T55" fmla="*/ 2147483647 h 357"/>
                <a:gd name="T56" fmla="*/ 2147483647 w 338"/>
                <a:gd name="T57" fmla="*/ 2147483647 h 357"/>
                <a:gd name="T58" fmla="*/ 2147483647 w 338"/>
                <a:gd name="T59" fmla="*/ 2147483647 h 357"/>
                <a:gd name="T60" fmla="*/ 2147483647 w 338"/>
                <a:gd name="T61" fmla="*/ 2147483647 h 357"/>
                <a:gd name="T62" fmla="*/ 2147483647 w 338"/>
                <a:gd name="T63" fmla="*/ 2147483647 h 357"/>
                <a:gd name="T64" fmla="*/ 2147483647 w 338"/>
                <a:gd name="T65" fmla="*/ 2147483647 h 357"/>
                <a:gd name="T66" fmla="*/ 2147483647 w 338"/>
                <a:gd name="T67" fmla="*/ 2147483647 h 357"/>
                <a:gd name="T68" fmla="*/ 2147483647 w 338"/>
                <a:gd name="T69" fmla="*/ 2147483647 h 357"/>
                <a:gd name="T70" fmla="*/ 2147483647 w 338"/>
                <a:gd name="T71" fmla="*/ 2147483647 h 357"/>
                <a:gd name="T72" fmla="*/ 2147483647 w 338"/>
                <a:gd name="T73" fmla="*/ 2147483647 h 357"/>
                <a:gd name="T74" fmla="*/ 2147483647 w 338"/>
                <a:gd name="T75" fmla="*/ 2147483647 h 35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38"/>
                <a:gd name="T115" fmla="*/ 0 h 357"/>
                <a:gd name="T116" fmla="*/ 338 w 338"/>
                <a:gd name="T117" fmla="*/ 357 h 35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38" h="357">
                  <a:moveTo>
                    <a:pt x="40" y="127"/>
                  </a:moveTo>
                  <a:lnTo>
                    <a:pt x="32" y="117"/>
                  </a:lnTo>
                  <a:lnTo>
                    <a:pt x="13" y="117"/>
                  </a:lnTo>
                  <a:lnTo>
                    <a:pt x="0" y="93"/>
                  </a:lnTo>
                  <a:lnTo>
                    <a:pt x="8" y="72"/>
                  </a:lnTo>
                  <a:lnTo>
                    <a:pt x="13" y="70"/>
                  </a:lnTo>
                  <a:lnTo>
                    <a:pt x="19" y="41"/>
                  </a:lnTo>
                  <a:lnTo>
                    <a:pt x="28" y="41"/>
                  </a:lnTo>
                  <a:lnTo>
                    <a:pt x="47" y="37"/>
                  </a:lnTo>
                  <a:lnTo>
                    <a:pt x="53" y="24"/>
                  </a:lnTo>
                  <a:lnTo>
                    <a:pt x="59" y="24"/>
                  </a:lnTo>
                  <a:lnTo>
                    <a:pt x="70" y="43"/>
                  </a:lnTo>
                  <a:lnTo>
                    <a:pt x="80" y="30"/>
                  </a:lnTo>
                  <a:lnTo>
                    <a:pt x="78" y="19"/>
                  </a:lnTo>
                  <a:lnTo>
                    <a:pt x="89" y="22"/>
                  </a:lnTo>
                  <a:lnTo>
                    <a:pt x="106" y="26"/>
                  </a:lnTo>
                  <a:lnTo>
                    <a:pt x="114" y="7"/>
                  </a:lnTo>
                  <a:lnTo>
                    <a:pt x="129" y="7"/>
                  </a:lnTo>
                  <a:lnTo>
                    <a:pt x="137" y="0"/>
                  </a:lnTo>
                  <a:lnTo>
                    <a:pt x="167" y="0"/>
                  </a:lnTo>
                  <a:lnTo>
                    <a:pt x="171" y="15"/>
                  </a:lnTo>
                  <a:lnTo>
                    <a:pt x="199" y="20"/>
                  </a:lnTo>
                  <a:lnTo>
                    <a:pt x="192" y="30"/>
                  </a:lnTo>
                  <a:lnTo>
                    <a:pt x="199" y="32"/>
                  </a:lnTo>
                  <a:lnTo>
                    <a:pt x="198" y="45"/>
                  </a:lnTo>
                  <a:lnTo>
                    <a:pt x="203" y="58"/>
                  </a:lnTo>
                  <a:lnTo>
                    <a:pt x="198" y="58"/>
                  </a:lnTo>
                  <a:lnTo>
                    <a:pt x="198" y="55"/>
                  </a:lnTo>
                  <a:lnTo>
                    <a:pt x="194" y="47"/>
                  </a:lnTo>
                  <a:lnTo>
                    <a:pt x="184" y="47"/>
                  </a:lnTo>
                  <a:lnTo>
                    <a:pt x="167" y="55"/>
                  </a:lnTo>
                  <a:lnTo>
                    <a:pt x="160" y="62"/>
                  </a:lnTo>
                  <a:lnTo>
                    <a:pt x="160" y="72"/>
                  </a:lnTo>
                  <a:lnTo>
                    <a:pt x="165" y="85"/>
                  </a:lnTo>
                  <a:lnTo>
                    <a:pt x="156" y="91"/>
                  </a:lnTo>
                  <a:lnTo>
                    <a:pt x="163" y="115"/>
                  </a:lnTo>
                  <a:lnTo>
                    <a:pt x="194" y="136"/>
                  </a:lnTo>
                  <a:lnTo>
                    <a:pt x="201" y="161"/>
                  </a:lnTo>
                  <a:lnTo>
                    <a:pt x="215" y="178"/>
                  </a:lnTo>
                  <a:lnTo>
                    <a:pt x="237" y="197"/>
                  </a:lnTo>
                  <a:lnTo>
                    <a:pt x="270" y="195"/>
                  </a:lnTo>
                  <a:lnTo>
                    <a:pt x="274" y="203"/>
                  </a:lnTo>
                  <a:lnTo>
                    <a:pt x="268" y="216"/>
                  </a:lnTo>
                  <a:lnTo>
                    <a:pt x="285" y="220"/>
                  </a:lnTo>
                  <a:lnTo>
                    <a:pt x="325" y="245"/>
                  </a:lnTo>
                  <a:lnTo>
                    <a:pt x="338" y="269"/>
                  </a:lnTo>
                  <a:lnTo>
                    <a:pt x="334" y="284"/>
                  </a:lnTo>
                  <a:lnTo>
                    <a:pt x="325" y="279"/>
                  </a:lnTo>
                  <a:lnTo>
                    <a:pt x="317" y="264"/>
                  </a:lnTo>
                  <a:lnTo>
                    <a:pt x="304" y="265"/>
                  </a:lnTo>
                  <a:lnTo>
                    <a:pt x="296" y="260"/>
                  </a:lnTo>
                  <a:lnTo>
                    <a:pt x="281" y="283"/>
                  </a:lnTo>
                  <a:lnTo>
                    <a:pt x="300" y="300"/>
                  </a:lnTo>
                  <a:lnTo>
                    <a:pt x="298" y="319"/>
                  </a:lnTo>
                  <a:lnTo>
                    <a:pt x="289" y="321"/>
                  </a:lnTo>
                  <a:lnTo>
                    <a:pt x="285" y="330"/>
                  </a:lnTo>
                  <a:lnTo>
                    <a:pt x="272" y="355"/>
                  </a:lnTo>
                  <a:lnTo>
                    <a:pt x="260" y="357"/>
                  </a:lnTo>
                  <a:lnTo>
                    <a:pt x="255" y="343"/>
                  </a:lnTo>
                  <a:lnTo>
                    <a:pt x="262" y="336"/>
                  </a:lnTo>
                  <a:lnTo>
                    <a:pt x="260" y="322"/>
                  </a:lnTo>
                  <a:lnTo>
                    <a:pt x="272" y="317"/>
                  </a:lnTo>
                  <a:lnTo>
                    <a:pt x="256" y="279"/>
                  </a:lnTo>
                  <a:lnTo>
                    <a:pt x="239" y="269"/>
                  </a:lnTo>
                  <a:lnTo>
                    <a:pt x="236" y="254"/>
                  </a:lnTo>
                  <a:lnTo>
                    <a:pt x="213" y="250"/>
                  </a:lnTo>
                  <a:lnTo>
                    <a:pt x="196" y="229"/>
                  </a:lnTo>
                  <a:lnTo>
                    <a:pt x="182" y="233"/>
                  </a:lnTo>
                  <a:lnTo>
                    <a:pt x="169" y="218"/>
                  </a:lnTo>
                  <a:lnTo>
                    <a:pt x="122" y="182"/>
                  </a:lnTo>
                  <a:lnTo>
                    <a:pt x="110" y="157"/>
                  </a:lnTo>
                  <a:lnTo>
                    <a:pt x="106" y="123"/>
                  </a:lnTo>
                  <a:lnTo>
                    <a:pt x="93" y="110"/>
                  </a:lnTo>
                  <a:lnTo>
                    <a:pt x="70" y="96"/>
                  </a:lnTo>
                  <a:lnTo>
                    <a:pt x="57" y="112"/>
                  </a:lnTo>
                  <a:lnTo>
                    <a:pt x="51" y="125"/>
                  </a:lnTo>
                  <a:lnTo>
                    <a:pt x="40" y="12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8" name="Freeform 44"/>
            <p:cNvSpPr>
              <a:spLocks/>
            </p:cNvSpPr>
            <p:nvPr/>
          </p:nvSpPr>
          <p:spPr bwMode="auto">
            <a:xfrm>
              <a:off x="3062065" y="3499517"/>
              <a:ext cx="22051" cy="57037"/>
            </a:xfrm>
            <a:custGeom>
              <a:avLst/>
              <a:gdLst>
                <a:gd name="T0" fmla="*/ 2147483647 w 40"/>
                <a:gd name="T1" fmla="*/ 0 h 92"/>
                <a:gd name="T2" fmla="*/ 2147483647 w 40"/>
                <a:gd name="T3" fmla="*/ 2147483647 h 92"/>
                <a:gd name="T4" fmla="*/ 2147483647 w 40"/>
                <a:gd name="T5" fmla="*/ 2147483647 h 92"/>
                <a:gd name="T6" fmla="*/ 2147483647 w 40"/>
                <a:gd name="T7" fmla="*/ 2147483647 h 92"/>
                <a:gd name="T8" fmla="*/ 2147483647 w 40"/>
                <a:gd name="T9" fmla="*/ 2147483647 h 92"/>
                <a:gd name="T10" fmla="*/ 2147483647 w 40"/>
                <a:gd name="T11" fmla="*/ 2147483647 h 92"/>
                <a:gd name="T12" fmla="*/ 2147483647 w 40"/>
                <a:gd name="T13" fmla="*/ 2147483647 h 92"/>
                <a:gd name="T14" fmla="*/ 2147483647 w 40"/>
                <a:gd name="T15" fmla="*/ 2147483647 h 92"/>
                <a:gd name="T16" fmla="*/ 2147483647 w 40"/>
                <a:gd name="T17" fmla="*/ 2147483647 h 92"/>
                <a:gd name="T18" fmla="*/ 2147483647 w 40"/>
                <a:gd name="T19" fmla="*/ 2147483647 h 92"/>
                <a:gd name="T20" fmla="*/ 2147483647 w 40"/>
                <a:gd name="T21" fmla="*/ 2147483647 h 92"/>
                <a:gd name="T22" fmla="*/ 2147483647 w 40"/>
                <a:gd name="T23" fmla="*/ 2147483647 h 92"/>
                <a:gd name="T24" fmla="*/ 2147483647 w 40"/>
                <a:gd name="T25" fmla="*/ 2147483647 h 92"/>
                <a:gd name="T26" fmla="*/ 2147483647 w 40"/>
                <a:gd name="T27" fmla="*/ 2147483647 h 92"/>
                <a:gd name="T28" fmla="*/ 2147483647 w 40"/>
                <a:gd name="T29" fmla="*/ 2147483647 h 92"/>
                <a:gd name="T30" fmla="*/ 0 w 40"/>
                <a:gd name="T31" fmla="*/ 2147483647 h 92"/>
                <a:gd name="T32" fmla="*/ 2147483647 w 40"/>
                <a:gd name="T33" fmla="*/ 2147483647 h 92"/>
                <a:gd name="T34" fmla="*/ 2147483647 w 40"/>
                <a:gd name="T35" fmla="*/ 2147483647 h 92"/>
                <a:gd name="T36" fmla="*/ 2147483647 w 40"/>
                <a:gd name="T37" fmla="*/ 0 h 9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92"/>
                <a:gd name="T59" fmla="*/ 40 w 40"/>
                <a:gd name="T60" fmla="*/ 92 h 9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92">
                  <a:moveTo>
                    <a:pt x="27" y="0"/>
                  </a:moveTo>
                  <a:lnTo>
                    <a:pt x="38" y="8"/>
                  </a:lnTo>
                  <a:lnTo>
                    <a:pt x="40" y="29"/>
                  </a:lnTo>
                  <a:lnTo>
                    <a:pt x="36" y="40"/>
                  </a:lnTo>
                  <a:lnTo>
                    <a:pt x="40" y="52"/>
                  </a:lnTo>
                  <a:lnTo>
                    <a:pt x="36" y="78"/>
                  </a:lnTo>
                  <a:lnTo>
                    <a:pt x="27" y="76"/>
                  </a:lnTo>
                  <a:lnTo>
                    <a:pt x="27" y="84"/>
                  </a:lnTo>
                  <a:lnTo>
                    <a:pt x="17" y="92"/>
                  </a:lnTo>
                  <a:lnTo>
                    <a:pt x="10" y="82"/>
                  </a:lnTo>
                  <a:lnTo>
                    <a:pt x="8" y="65"/>
                  </a:lnTo>
                  <a:lnTo>
                    <a:pt x="12" y="63"/>
                  </a:lnTo>
                  <a:lnTo>
                    <a:pt x="12" y="52"/>
                  </a:lnTo>
                  <a:lnTo>
                    <a:pt x="6" y="52"/>
                  </a:lnTo>
                  <a:lnTo>
                    <a:pt x="8" y="33"/>
                  </a:lnTo>
                  <a:lnTo>
                    <a:pt x="0" y="33"/>
                  </a:lnTo>
                  <a:lnTo>
                    <a:pt x="2" y="18"/>
                  </a:lnTo>
                  <a:lnTo>
                    <a:pt x="13" y="16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69" name="Freeform 45"/>
            <p:cNvSpPr>
              <a:spLocks/>
            </p:cNvSpPr>
            <p:nvPr/>
          </p:nvSpPr>
          <p:spPr bwMode="auto">
            <a:xfrm>
              <a:off x="3122704" y="3568194"/>
              <a:ext cx="48512" cy="38413"/>
            </a:xfrm>
            <a:custGeom>
              <a:avLst/>
              <a:gdLst>
                <a:gd name="T0" fmla="*/ 2147483647 w 88"/>
                <a:gd name="T1" fmla="*/ 2147483647 h 60"/>
                <a:gd name="T2" fmla="*/ 2147483647 w 88"/>
                <a:gd name="T3" fmla="*/ 2147483647 h 60"/>
                <a:gd name="T4" fmla="*/ 2147483647 w 88"/>
                <a:gd name="T5" fmla="*/ 2147483647 h 60"/>
                <a:gd name="T6" fmla="*/ 2147483647 w 88"/>
                <a:gd name="T7" fmla="*/ 2147483647 h 60"/>
                <a:gd name="T8" fmla="*/ 2147483647 w 88"/>
                <a:gd name="T9" fmla="*/ 2147483647 h 60"/>
                <a:gd name="T10" fmla="*/ 2147483647 w 88"/>
                <a:gd name="T11" fmla="*/ 2147483647 h 60"/>
                <a:gd name="T12" fmla="*/ 2147483647 w 88"/>
                <a:gd name="T13" fmla="*/ 2147483647 h 60"/>
                <a:gd name="T14" fmla="*/ 2147483647 w 88"/>
                <a:gd name="T15" fmla="*/ 2147483647 h 60"/>
                <a:gd name="T16" fmla="*/ 2147483647 w 88"/>
                <a:gd name="T17" fmla="*/ 2147483647 h 60"/>
                <a:gd name="T18" fmla="*/ 2147483647 w 88"/>
                <a:gd name="T19" fmla="*/ 2147483647 h 60"/>
                <a:gd name="T20" fmla="*/ 2147483647 w 88"/>
                <a:gd name="T21" fmla="*/ 2147483647 h 60"/>
                <a:gd name="T22" fmla="*/ 0 w 88"/>
                <a:gd name="T23" fmla="*/ 2147483647 h 60"/>
                <a:gd name="T24" fmla="*/ 0 w 88"/>
                <a:gd name="T25" fmla="*/ 2147483647 h 60"/>
                <a:gd name="T26" fmla="*/ 2147483647 w 88"/>
                <a:gd name="T27" fmla="*/ 2147483647 h 60"/>
                <a:gd name="T28" fmla="*/ 2147483647 w 88"/>
                <a:gd name="T29" fmla="*/ 0 h 60"/>
                <a:gd name="T30" fmla="*/ 2147483647 w 88"/>
                <a:gd name="T31" fmla="*/ 2147483647 h 60"/>
                <a:gd name="T32" fmla="*/ 2147483647 w 88"/>
                <a:gd name="T33" fmla="*/ 2147483647 h 60"/>
                <a:gd name="T34" fmla="*/ 2147483647 w 8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8"/>
                <a:gd name="T55" fmla="*/ 0 h 60"/>
                <a:gd name="T56" fmla="*/ 88 w 8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8" h="60">
                  <a:moveTo>
                    <a:pt x="76" y="3"/>
                  </a:moveTo>
                  <a:lnTo>
                    <a:pt x="86" y="1"/>
                  </a:lnTo>
                  <a:lnTo>
                    <a:pt x="88" y="11"/>
                  </a:lnTo>
                  <a:lnTo>
                    <a:pt x="78" y="28"/>
                  </a:lnTo>
                  <a:lnTo>
                    <a:pt x="82" y="53"/>
                  </a:lnTo>
                  <a:lnTo>
                    <a:pt x="76" y="60"/>
                  </a:lnTo>
                  <a:lnTo>
                    <a:pt x="59" y="58"/>
                  </a:lnTo>
                  <a:lnTo>
                    <a:pt x="55" y="49"/>
                  </a:lnTo>
                  <a:lnTo>
                    <a:pt x="34" y="47"/>
                  </a:lnTo>
                  <a:lnTo>
                    <a:pt x="19" y="32"/>
                  </a:lnTo>
                  <a:lnTo>
                    <a:pt x="8" y="34"/>
                  </a:lnTo>
                  <a:lnTo>
                    <a:pt x="0" y="28"/>
                  </a:lnTo>
                  <a:lnTo>
                    <a:pt x="0" y="17"/>
                  </a:lnTo>
                  <a:lnTo>
                    <a:pt x="12" y="3"/>
                  </a:lnTo>
                  <a:lnTo>
                    <a:pt x="27" y="0"/>
                  </a:lnTo>
                  <a:lnTo>
                    <a:pt x="40" y="7"/>
                  </a:lnTo>
                  <a:lnTo>
                    <a:pt x="71" y="7"/>
                  </a:lnTo>
                  <a:lnTo>
                    <a:pt x="76" y="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0" name="Freeform 46"/>
            <p:cNvSpPr>
              <a:spLocks/>
            </p:cNvSpPr>
            <p:nvPr/>
          </p:nvSpPr>
          <p:spPr bwMode="auto">
            <a:xfrm>
              <a:off x="3218625" y="3379622"/>
              <a:ext cx="73870" cy="104762"/>
            </a:xfrm>
            <a:custGeom>
              <a:avLst/>
              <a:gdLst>
                <a:gd name="T0" fmla="*/ 2147483647 w 135"/>
                <a:gd name="T1" fmla="*/ 2147483647 h 167"/>
                <a:gd name="T2" fmla="*/ 2147483647 w 135"/>
                <a:gd name="T3" fmla="*/ 2147483647 h 167"/>
                <a:gd name="T4" fmla="*/ 2147483647 w 135"/>
                <a:gd name="T5" fmla="*/ 2147483647 h 167"/>
                <a:gd name="T6" fmla="*/ 2147483647 w 135"/>
                <a:gd name="T7" fmla="*/ 2147483647 h 167"/>
                <a:gd name="T8" fmla="*/ 2147483647 w 135"/>
                <a:gd name="T9" fmla="*/ 2147483647 h 167"/>
                <a:gd name="T10" fmla="*/ 2147483647 w 135"/>
                <a:gd name="T11" fmla="*/ 2147483647 h 167"/>
                <a:gd name="T12" fmla="*/ 2147483647 w 135"/>
                <a:gd name="T13" fmla="*/ 2147483647 h 167"/>
                <a:gd name="T14" fmla="*/ 0 w 135"/>
                <a:gd name="T15" fmla="*/ 2147483647 h 167"/>
                <a:gd name="T16" fmla="*/ 0 w 135"/>
                <a:gd name="T17" fmla="*/ 2147483647 h 167"/>
                <a:gd name="T18" fmla="*/ 2147483647 w 135"/>
                <a:gd name="T19" fmla="*/ 2147483647 h 167"/>
                <a:gd name="T20" fmla="*/ 0 w 135"/>
                <a:gd name="T21" fmla="*/ 2147483647 h 167"/>
                <a:gd name="T22" fmla="*/ 2147483647 w 135"/>
                <a:gd name="T23" fmla="*/ 2147483647 h 167"/>
                <a:gd name="T24" fmla="*/ 2147483647 w 135"/>
                <a:gd name="T25" fmla="*/ 2147483647 h 167"/>
                <a:gd name="T26" fmla="*/ 2147483647 w 135"/>
                <a:gd name="T27" fmla="*/ 2147483647 h 167"/>
                <a:gd name="T28" fmla="*/ 2147483647 w 135"/>
                <a:gd name="T29" fmla="*/ 2147483647 h 167"/>
                <a:gd name="T30" fmla="*/ 2147483647 w 135"/>
                <a:gd name="T31" fmla="*/ 2147483647 h 167"/>
                <a:gd name="T32" fmla="*/ 2147483647 w 135"/>
                <a:gd name="T33" fmla="*/ 2147483647 h 167"/>
                <a:gd name="T34" fmla="*/ 2147483647 w 135"/>
                <a:gd name="T35" fmla="*/ 2147483647 h 167"/>
                <a:gd name="T36" fmla="*/ 2147483647 w 135"/>
                <a:gd name="T37" fmla="*/ 2147483647 h 167"/>
                <a:gd name="T38" fmla="*/ 2147483647 w 135"/>
                <a:gd name="T39" fmla="*/ 2147483647 h 167"/>
                <a:gd name="T40" fmla="*/ 2147483647 w 135"/>
                <a:gd name="T41" fmla="*/ 2147483647 h 167"/>
                <a:gd name="T42" fmla="*/ 2147483647 w 135"/>
                <a:gd name="T43" fmla="*/ 2147483647 h 167"/>
                <a:gd name="T44" fmla="*/ 2147483647 w 135"/>
                <a:gd name="T45" fmla="*/ 2147483647 h 167"/>
                <a:gd name="T46" fmla="*/ 2147483647 w 135"/>
                <a:gd name="T47" fmla="*/ 2147483647 h 167"/>
                <a:gd name="T48" fmla="*/ 2147483647 w 135"/>
                <a:gd name="T49" fmla="*/ 2147483647 h 167"/>
                <a:gd name="T50" fmla="*/ 2147483647 w 135"/>
                <a:gd name="T51" fmla="*/ 2147483647 h 167"/>
                <a:gd name="T52" fmla="*/ 2147483647 w 135"/>
                <a:gd name="T53" fmla="*/ 2147483647 h 167"/>
                <a:gd name="T54" fmla="*/ 2147483647 w 135"/>
                <a:gd name="T55" fmla="*/ 2147483647 h 167"/>
                <a:gd name="T56" fmla="*/ 2147483647 w 135"/>
                <a:gd name="T57" fmla="*/ 2147483647 h 167"/>
                <a:gd name="T58" fmla="*/ 2147483647 w 135"/>
                <a:gd name="T59" fmla="*/ 2147483647 h 167"/>
                <a:gd name="T60" fmla="*/ 2147483647 w 135"/>
                <a:gd name="T61" fmla="*/ 2147483647 h 167"/>
                <a:gd name="T62" fmla="*/ 2147483647 w 135"/>
                <a:gd name="T63" fmla="*/ 2147483647 h 167"/>
                <a:gd name="T64" fmla="*/ 2147483647 w 135"/>
                <a:gd name="T65" fmla="*/ 2147483647 h 167"/>
                <a:gd name="T66" fmla="*/ 2147483647 w 135"/>
                <a:gd name="T67" fmla="*/ 2147483647 h 167"/>
                <a:gd name="T68" fmla="*/ 2147483647 w 135"/>
                <a:gd name="T69" fmla="*/ 2147483647 h 167"/>
                <a:gd name="T70" fmla="*/ 2147483647 w 135"/>
                <a:gd name="T71" fmla="*/ 2147483647 h 167"/>
                <a:gd name="T72" fmla="*/ 2147483647 w 135"/>
                <a:gd name="T73" fmla="*/ 2147483647 h 167"/>
                <a:gd name="T74" fmla="*/ 2147483647 w 135"/>
                <a:gd name="T75" fmla="*/ 0 h 167"/>
                <a:gd name="T76" fmla="*/ 2147483647 w 135"/>
                <a:gd name="T77" fmla="*/ 2147483647 h 167"/>
                <a:gd name="T78" fmla="*/ 2147483647 w 135"/>
                <a:gd name="T79" fmla="*/ 2147483647 h 167"/>
                <a:gd name="T80" fmla="*/ 2147483647 w 135"/>
                <a:gd name="T81" fmla="*/ 2147483647 h 167"/>
                <a:gd name="T82" fmla="*/ 2147483647 w 135"/>
                <a:gd name="T83" fmla="*/ 2147483647 h 167"/>
                <a:gd name="T84" fmla="*/ 2147483647 w 135"/>
                <a:gd name="T85" fmla="*/ 2147483647 h 167"/>
                <a:gd name="T86" fmla="*/ 2147483647 w 135"/>
                <a:gd name="T87" fmla="*/ 2147483647 h 167"/>
                <a:gd name="T88" fmla="*/ 2147483647 w 135"/>
                <a:gd name="T89" fmla="*/ 2147483647 h 167"/>
                <a:gd name="T90" fmla="*/ 2147483647 w 135"/>
                <a:gd name="T91" fmla="*/ 2147483647 h 167"/>
                <a:gd name="T92" fmla="*/ 2147483647 w 135"/>
                <a:gd name="T93" fmla="*/ 2147483647 h 167"/>
                <a:gd name="T94" fmla="*/ 2147483647 w 135"/>
                <a:gd name="T95" fmla="*/ 2147483647 h 167"/>
                <a:gd name="T96" fmla="*/ 2147483647 w 135"/>
                <a:gd name="T97" fmla="*/ 2147483647 h 167"/>
                <a:gd name="T98" fmla="*/ 2147483647 w 135"/>
                <a:gd name="T99" fmla="*/ 2147483647 h 167"/>
                <a:gd name="T100" fmla="*/ 2147483647 w 135"/>
                <a:gd name="T101" fmla="*/ 2147483647 h 167"/>
                <a:gd name="T102" fmla="*/ 2147483647 w 135"/>
                <a:gd name="T103" fmla="*/ 2147483647 h 167"/>
                <a:gd name="T104" fmla="*/ 2147483647 w 135"/>
                <a:gd name="T105" fmla="*/ 2147483647 h 167"/>
                <a:gd name="T106" fmla="*/ 2147483647 w 135"/>
                <a:gd name="T107" fmla="*/ 2147483647 h 167"/>
                <a:gd name="T108" fmla="*/ 2147483647 w 135"/>
                <a:gd name="T109" fmla="*/ 2147483647 h 16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5"/>
                <a:gd name="T166" fmla="*/ 0 h 167"/>
                <a:gd name="T167" fmla="*/ 135 w 135"/>
                <a:gd name="T168" fmla="*/ 167 h 16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5" h="167">
                  <a:moveTo>
                    <a:pt x="63" y="167"/>
                  </a:moveTo>
                  <a:lnTo>
                    <a:pt x="59" y="163"/>
                  </a:lnTo>
                  <a:lnTo>
                    <a:pt x="51" y="150"/>
                  </a:lnTo>
                  <a:lnTo>
                    <a:pt x="32" y="142"/>
                  </a:lnTo>
                  <a:lnTo>
                    <a:pt x="29" y="161"/>
                  </a:lnTo>
                  <a:lnTo>
                    <a:pt x="19" y="161"/>
                  </a:lnTo>
                  <a:lnTo>
                    <a:pt x="4" y="144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1"/>
                  </a:lnTo>
                  <a:lnTo>
                    <a:pt x="0" y="125"/>
                  </a:lnTo>
                  <a:lnTo>
                    <a:pt x="2" y="117"/>
                  </a:lnTo>
                  <a:lnTo>
                    <a:pt x="4" y="117"/>
                  </a:lnTo>
                  <a:lnTo>
                    <a:pt x="4" y="110"/>
                  </a:lnTo>
                  <a:lnTo>
                    <a:pt x="8" y="104"/>
                  </a:lnTo>
                  <a:lnTo>
                    <a:pt x="11" y="104"/>
                  </a:lnTo>
                  <a:lnTo>
                    <a:pt x="15" y="100"/>
                  </a:lnTo>
                  <a:lnTo>
                    <a:pt x="11" y="95"/>
                  </a:lnTo>
                  <a:lnTo>
                    <a:pt x="19" y="95"/>
                  </a:lnTo>
                  <a:lnTo>
                    <a:pt x="29" y="91"/>
                  </a:lnTo>
                  <a:lnTo>
                    <a:pt x="17" y="76"/>
                  </a:lnTo>
                  <a:lnTo>
                    <a:pt x="27" y="77"/>
                  </a:lnTo>
                  <a:lnTo>
                    <a:pt x="29" y="74"/>
                  </a:lnTo>
                  <a:lnTo>
                    <a:pt x="15" y="64"/>
                  </a:lnTo>
                  <a:lnTo>
                    <a:pt x="13" y="60"/>
                  </a:lnTo>
                  <a:lnTo>
                    <a:pt x="19" y="49"/>
                  </a:lnTo>
                  <a:lnTo>
                    <a:pt x="19" y="41"/>
                  </a:lnTo>
                  <a:lnTo>
                    <a:pt x="11" y="43"/>
                  </a:lnTo>
                  <a:lnTo>
                    <a:pt x="11" y="32"/>
                  </a:lnTo>
                  <a:lnTo>
                    <a:pt x="19" y="32"/>
                  </a:lnTo>
                  <a:lnTo>
                    <a:pt x="19" y="28"/>
                  </a:lnTo>
                  <a:lnTo>
                    <a:pt x="13" y="28"/>
                  </a:lnTo>
                  <a:lnTo>
                    <a:pt x="10" y="24"/>
                  </a:lnTo>
                  <a:lnTo>
                    <a:pt x="10" y="19"/>
                  </a:lnTo>
                  <a:lnTo>
                    <a:pt x="6" y="17"/>
                  </a:lnTo>
                  <a:lnTo>
                    <a:pt x="6" y="11"/>
                  </a:lnTo>
                  <a:lnTo>
                    <a:pt x="2" y="3"/>
                  </a:lnTo>
                  <a:lnTo>
                    <a:pt x="30" y="0"/>
                  </a:lnTo>
                  <a:lnTo>
                    <a:pt x="55" y="1"/>
                  </a:lnTo>
                  <a:lnTo>
                    <a:pt x="67" y="15"/>
                  </a:lnTo>
                  <a:lnTo>
                    <a:pt x="67" y="30"/>
                  </a:lnTo>
                  <a:lnTo>
                    <a:pt x="84" y="51"/>
                  </a:lnTo>
                  <a:lnTo>
                    <a:pt x="101" y="62"/>
                  </a:lnTo>
                  <a:lnTo>
                    <a:pt x="110" y="57"/>
                  </a:lnTo>
                  <a:lnTo>
                    <a:pt x="103" y="70"/>
                  </a:lnTo>
                  <a:lnTo>
                    <a:pt x="114" y="72"/>
                  </a:lnTo>
                  <a:lnTo>
                    <a:pt x="110" y="106"/>
                  </a:lnTo>
                  <a:lnTo>
                    <a:pt x="135" y="121"/>
                  </a:lnTo>
                  <a:lnTo>
                    <a:pt x="131" y="131"/>
                  </a:lnTo>
                  <a:lnTo>
                    <a:pt x="112" y="134"/>
                  </a:lnTo>
                  <a:lnTo>
                    <a:pt x="116" y="155"/>
                  </a:lnTo>
                  <a:lnTo>
                    <a:pt x="105" y="152"/>
                  </a:lnTo>
                  <a:lnTo>
                    <a:pt x="82" y="159"/>
                  </a:lnTo>
                  <a:lnTo>
                    <a:pt x="80" y="155"/>
                  </a:lnTo>
                  <a:lnTo>
                    <a:pt x="63" y="16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1" name="Freeform 47"/>
            <p:cNvSpPr>
              <a:spLocks/>
            </p:cNvSpPr>
            <p:nvPr/>
          </p:nvSpPr>
          <p:spPr bwMode="auto">
            <a:xfrm>
              <a:off x="3138139" y="3371474"/>
              <a:ext cx="90408" cy="84974"/>
            </a:xfrm>
            <a:custGeom>
              <a:avLst/>
              <a:gdLst>
                <a:gd name="T0" fmla="*/ 2147483647 w 165"/>
                <a:gd name="T1" fmla="*/ 2147483647 h 139"/>
                <a:gd name="T2" fmla="*/ 2147483647 w 165"/>
                <a:gd name="T3" fmla="*/ 2147483647 h 139"/>
                <a:gd name="T4" fmla="*/ 2147483647 w 165"/>
                <a:gd name="T5" fmla="*/ 2147483647 h 139"/>
                <a:gd name="T6" fmla="*/ 2147483647 w 165"/>
                <a:gd name="T7" fmla="*/ 2147483647 h 139"/>
                <a:gd name="T8" fmla="*/ 2147483647 w 165"/>
                <a:gd name="T9" fmla="*/ 2147483647 h 139"/>
                <a:gd name="T10" fmla="*/ 2147483647 w 165"/>
                <a:gd name="T11" fmla="*/ 2147483647 h 139"/>
                <a:gd name="T12" fmla="*/ 2147483647 w 165"/>
                <a:gd name="T13" fmla="*/ 2147483647 h 139"/>
                <a:gd name="T14" fmla="*/ 2147483647 w 165"/>
                <a:gd name="T15" fmla="*/ 2147483647 h 139"/>
                <a:gd name="T16" fmla="*/ 2147483647 w 165"/>
                <a:gd name="T17" fmla="*/ 2147483647 h 139"/>
                <a:gd name="T18" fmla="*/ 2147483647 w 165"/>
                <a:gd name="T19" fmla="*/ 2147483647 h 139"/>
                <a:gd name="T20" fmla="*/ 2147483647 w 165"/>
                <a:gd name="T21" fmla="*/ 2147483647 h 139"/>
                <a:gd name="T22" fmla="*/ 2147483647 w 165"/>
                <a:gd name="T23" fmla="*/ 2147483647 h 139"/>
                <a:gd name="T24" fmla="*/ 2147483647 w 165"/>
                <a:gd name="T25" fmla="*/ 2147483647 h 139"/>
                <a:gd name="T26" fmla="*/ 2147483647 w 165"/>
                <a:gd name="T27" fmla="*/ 2147483647 h 139"/>
                <a:gd name="T28" fmla="*/ 2147483647 w 165"/>
                <a:gd name="T29" fmla="*/ 2147483647 h 139"/>
                <a:gd name="T30" fmla="*/ 2147483647 w 165"/>
                <a:gd name="T31" fmla="*/ 2147483647 h 139"/>
                <a:gd name="T32" fmla="*/ 2147483647 w 165"/>
                <a:gd name="T33" fmla="*/ 2147483647 h 139"/>
                <a:gd name="T34" fmla="*/ 2147483647 w 165"/>
                <a:gd name="T35" fmla="*/ 2147483647 h 139"/>
                <a:gd name="T36" fmla="*/ 2147483647 w 165"/>
                <a:gd name="T37" fmla="*/ 2147483647 h 139"/>
                <a:gd name="T38" fmla="*/ 0 w 165"/>
                <a:gd name="T39" fmla="*/ 2147483647 h 139"/>
                <a:gd name="T40" fmla="*/ 2147483647 w 165"/>
                <a:gd name="T41" fmla="*/ 2147483647 h 139"/>
                <a:gd name="T42" fmla="*/ 2147483647 w 165"/>
                <a:gd name="T43" fmla="*/ 2147483647 h 139"/>
                <a:gd name="T44" fmla="*/ 2147483647 w 165"/>
                <a:gd name="T45" fmla="*/ 2147483647 h 139"/>
                <a:gd name="T46" fmla="*/ 2147483647 w 165"/>
                <a:gd name="T47" fmla="*/ 2147483647 h 139"/>
                <a:gd name="T48" fmla="*/ 2147483647 w 165"/>
                <a:gd name="T49" fmla="*/ 2147483647 h 139"/>
                <a:gd name="T50" fmla="*/ 2147483647 w 165"/>
                <a:gd name="T51" fmla="*/ 2147483647 h 139"/>
                <a:gd name="T52" fmla="*/ 2147483647 w 165"/>
                <a:gd name="T53" fmla="*/ 2147483647 h 139"/>
                <a:gd name="T54" fmla="*/ 2147483647 w 165"/>
                <a:gd name="T55" fmla="*/ 2147483647 h 139"/>
                <a:gd name="T56" fmla="*/ 2147483647 w 165"/>
                <a:gd name="T57" fmla="*/ 0 h 139"/>
                <a:gd name="T58" fmla="*/ 2147483647 w 165"/>
                <a:gd name="T59" fmla="*/ 0 h 139"/>
                <a:gd name="T60" fmla="*/ 2147483647 w 165"/>
                <a:gd name="T61" fmla="*/ 2147483647 h 139"/>
                <a:gd name="T62" fmla="*/ 2147483647 w 165"/>
                <a:gd name="T63" fmla="*/ 2147483647 h 139"/>
                <a:gd name="T64" fmla="*/ 2147483647 w 165"/>
                <a:gd name="T65" fmla="*/ 2147483647 h 139"/>
                <a:gd name="T66" fmla="*/ 2147483647 w 165"/>
                <a:gd name="T67" fmla="*/ 2147483647 h 139"/>
                <a:gd name="T68" fmla="*/ 2147483647 w 165"/>
                <a:gd name="T69" fmla="*/ 2147483647 h 139"/>
                <a:gd name="T70" fmla="*/ 2147483647 w 165"/>
                <a:gd name="T71" fmla="*/ 2147483647 h 13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5"/>
                <a:gd name="T109" fmla="*/ 0 h 139"/>
                <a:gd name="T110" fmla="*/ 165 w 165"/>
                <a:gd name="T111" fmla="*/ 139 h 13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5" h="139">
                  <a:moveTo>
                    <a:pt x="156" y="61"/>
                  </a:moveTo>
                  <a:lnTo>
                    <a:pt x="148" y="59"/>
                  </a:lnTo>
                  <a:lnTo>
                    <a:pt x="146" y="54"/>
                  </a:lnTo>
                  <a:lnTo>
                    <a:pt x="137" y="52"/>
                  </a:lnTo>
                  <a:lnTo>
                    <a:pt x="125" y="52"/>
                  </a:lnTo>
                  <a:lnTo>
                    <a:pt x="123" y="55"/>
                  </a:lnTo>
                  <a:lnTo>
                    <a:pt x="104" y="52"/>
                  </a:lnTo>
                  <a:lnTo>
                    <a:pt x="95" y="48"/>
                  </a:lnTo>
                  <a:lnTo>
                    <a:pt x="93" y="5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68" y="50"/>
                  </a:lnTo>
                  <a:lnTo>
                    <a:pt x="64" y="52"/>
                  </a:lnTo>
                  <a:lnTo>
                    <a:pt x="62" y="69"/>
                  </a:lnTo>
                  <a:lnTo>
                    <a:pt x="70" y="71"/>
                  </a:lnTo>
                  <a:lnTo>
                    <a:pt x="76" y="84"/>
                  </a:lnTo>
                  <a:lnTo>
                    <a:pt x="78" y="90"/>
                  </a:lnTo>
                  <a:lnTo>
                    <a:pt x="106" y="116"/>
                  </a:lnTo>
                  <a:lnTo>
                    <a:pt x="110" y="116"/>
                  </a:lnTo>
                  <a:lnTo>
                    <a:pt x="110" y="124"/>
                  </a:lnTo>
                  <a:lnTo>
                    <a:pt x="123" y="135"/>
                  </a:lnTo>
                  <a:lnTo>
                    <a:pt x="119" y="139"/>
                  </a:lnTo>
                  <a:lnTo>
                    <a:pt x="106" y="135"/>
                  </a:lnTo>
                  <a:lnTo>
                    <a:pt x="104" y="128"/>
                  </a:lnTo>
                  <a:lnTo>
                    <a:pt x="95" y="116"/>
                  </a:lnTo>
                  <a:lnTo>
                    <a:pt x="91" y="122"/>
                  </a:lnTo>
                  <a:lnTo>
                    <a:pt x="99" y="131"/>
                  </a:lnTo>
                  <a:lnTo>
                    <a:pt x="81" y="128"/>
                  </a:lnTo>
                  <a:lnTo>
                    <a:pt x="83" y="116"/>
                  </a:lnTo>
                  <a:lnTo>
                    <a:pt x="68" y="118"/>
                  </a:lnTo>
                  <a:lnTo>
                    <a:pt x="57" y="97"/>
                  </a:lnTo>
                  <a:lnTo>
                    <a:pt x="43" y="99"/>
                  </a:lnTo>
                  <a:lnTo>
                    <a:pt x="42" y="86"/>
                  </a:lnTo>
                  <a:lnTo>
                    <a:pt x="51" y="84"/>
                  </a:lnTo>
                  <a:lnTo>
                    <a:pt x="34" y="71"/>
                  </a:lnTo>
                  <a:lnTo>
                    <a:pt x="40" y="57"/>
                  </a:lnTo>
                  <a:lnTo>
                    <a:pt x="26" y="52"/>
                  </a:lnTo>
                  <a:lnTo>
                    <a:pt x="19" y="69"/>
                  </a:lnTo>
                  <a:lnTo>
                    <a:pt x="9" y="67"/>
                  </a:lnTo>
                  <a:lnTo>
                    <a:pt x="0" y="42"/>
                  </a:lnTo>
                  <a:lnTo>
                    <a:pt x="4" y="42"/>
                  </a:lnTo>
                  <a:lnTo>
                    <a:pt x="19" y="42"/>
                  </a:lnTo>
                  <a:lnTo>
                    <a:pt x="28" y="42"/>
                  </a:lnTo>
                  <a:lnTo>
                    <a:pt x="30" y="35"/>
                  </a:lnTo>
                  <a:lnTo>
                    <a:pt x="38" y="40"/>
                  </a:lnTo>
                  <a:lnTo>
                    <a:pt x="47" y="44"/>
                  </a:lnTo>
                  <a:lnTo>
                    <a:pt x="53" y="40"/>
                  </a:lnTo>
                  <a:lnTo>
                    <a:pt x="53" y="31"/>
                  </a:lnTo>
                  <a:lnTo>
                    <a:pt x="61" y="25"/>
                  </a:lnTo>
                  <a:lnTo>
                    <a:pt x="62" y="19"/>
                  </a:lnTo>
                  <a:lnTo>
                    <a:pt x="59" y="16"/>
                  </a:lnTo>
                  <a:lnTo>
                    <a:pt x="61" y="12"/>
                  </a:lnTo>
                  <a:lnTo>
                    <a:pt x="64" y="12"/>
                  </a:lnTo>
                  <a:lnTo>
                    <a:pt x="70" y="6"/>
                  </a:lnTo>
                  <a:lnTo>
                    <a:pt x="74" y="6"/>
                  </a:lnTo>
                  <a:lnTo>
                    <a:pt x="74" y="2"/>
                  </a:lnTo>
                  <a:lnTo>
                    <a:pt x="78" y="0"/>
                  </a:lnTo>
                  <a:lnTo>
                    <a:pt x="81" y="2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7" y="23"/>
                  </a:lnTo>
                  <a:lnTo>
                    <a:pt x="131" y="35"/>
                  </a:lnTo>
                  <a:lnTo>
                    <a:pt x="148" y="21"/>
                  </a:lnTo>
                  <a:lnTo>
                    <a:pt x="152" y="27"/>
                  </a:lnTo>
                  <a:lnTo>
                    <a:pt x="152" y="33"/>
                  </a:lnTo>
                  <a:lnTo>
                    <a:pt x="156" y="35"/>
                  </a:lnTo>
                  <a:lnTo>
                    <a:pt x="154" y="40"/>
                  </a:lnTo>
                  <a:lnTo>
                    <a:pt x="159" y="44"/>
                  </a:lnTo>
                  <a:lnTo>
                    <a:pt x="165" y="44"/>
                  </a:lnTo>
                  <a:lnTo>
                    <a:pt x="165" y="48"/>
                  </a:lnTo>
                  <a:lnTo>
                    <a:pt x="157" y="50"/>
                  </a:lnTo>
                  <a:lnTo>
                    <a:pt x="156" y="6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2" name="Freeform 48"/>
            <p:cNvSpPr>
              <a:spLocks/>
            </p:cNvSpPr>
            <p:nvPr/>
          </p:nvSpPr>
          <p:spPr bwMode="auto">
            <a:xfrm>
              <a:off x="3204292" y="3456448"/>
              <a:ext cx="14333" cy="10476"/>
            </a:xfrm>
            <a:custGeom>
              <a:avLst/>
              <a:gdLst>
                <a:gd name="T0" fmla="*/ 0 w 25"/>
                <a:gd name="T1" fmla="*/ 2147483647 h 15"/>
                <a:gd name="T2" fmla="*/ 2147483647 w 25"/>
                <a:gd name="T3" fmla="*/ 0 h 15"/>
                <a:gd name="T4" fmla="*/ 2147483647 w 25"/>
                <a:gd name="T5" fmla="*/ 2147483647 h 15"/>
                <a:gd name="T6" fmla="*/ 2147483647 w 25"/>
                <a:gd name="T7" fmla="*/ 2147483647 h 15"/>
                <a:gd name="T8" fmla="*/ 2147483647 w 25"/>
                <a:gd name="T9" fmla="*/ 2147483647 h 15"/>
                <a:gd name="T10" fmla="*/ 2147483647 w 25"/>
                <a:gd name="T11" fmla="*/ 2147483647 h 15"/>
                <a:gd name="T12" fmla="*/ 0 w 25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15"/>
                <a:gd name="T23" fmla="*/ 25 w 25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15">
                  <a:moveTo>
                    <a:pt x="0" y="2"/>
                  </a:moveTo>
                  <a:lnTo>
                    <a:pt x="6" y="0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19" y="15"/>
                  </a:lnTo>
                  <a:lnTo>
                    <a:pt x="17" y="1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3" name="Freeform 49"/>
            <p:cNvSpPr>
              <a:spLocks/>
            </p:cNvSpPr>
            <p:nvPr/>
          </p:nvSpPr>
          <p:spPr bwMode="auto">
            <a:xfrm>
              <a:off x="3253906" y="3031578"/>
              <a:ext cx="112459" cy="84974"/>
            </a:xfrm>
            <a:custGeom>
              <a:avLst/>
              <a:gdLst>
                <a:gd name="T0" fmla="*/ 2147483647 w 207"/>
                <a:gd name="T1" fmla="*/ 2147483647 h 135"/>
                <a:gd name="T2" fmla="*/ 2147483647 w 207"/>
                <a:gd name="T3" fmla="*/ 0 h 135"/>
                <a:gd name="T4" fmla="*/ 2147483647 w 207"/>
                <a:gd name="T5" fmla="*/ 2147483647 h 135"/>
                <a:gd name="T6" fmla="*/ 2147483647 w 207"/>
                <a:gd name="T7" fmla="*/ 2147483647 h 135"/>
                <a:gd name="T8" fmla="*/ 2147483647 w 207"/>
                <a:gd name="T9" fmla="*/ 2147483647 h 135"/>
                <a:gd name="T10" fmla="*/ 2147483647 w 207"/>
                <a:gd name="T11" fmla="*/ 2147483647 h 135"/>
                <a:gd name="T12" fmla="*/ 2147483647 w 207"/>
                <a:gd name="T13" fmla="*/ 2147483647 h 135"/>
                <a:gd name="T14" fmla="*/ 2147483647 w 207"/>
                <a:gd name="T15" fmla="*/ 2147483647 h 135"/>
                <a:gd name="T16" fmla="*/ 2147483647 w 207"/>
                <a:gd name="T17" fmla="*/ 2147483647 h 135"/>
                <a:gd name="T18" fmla="*/ 2147483647 w 207"/>
                <a:gd name="T19" fmla="*/ 2147483647 h 135"/>
                <a:gd name="T20" fmla="*/ 2147483647 w 207"/>
                <a:gd name="T21" fmla="*/ 2147483647 h 135"/>
                <a:gd name="T22" fmla="*/ 2147483647 w 207"/>
                <a:gd name="T23" fmla="*/ 2147483647 h 135"/>
                <a:gd name="T24" fmla="*/ 2147483647 w 207"/>
                <a:gd name="T25" fmla="*/ 2147483647 h 135"/>
                <a:gd name="T26" fmla="*/ 2147483647 w 207"/>
                <a:gd name="T27" fmla="*/ 2147483647 h 135"/>
                <a:gd name="T28" fmla="*/ 2147483647 w 207"/>
                <a:gd name="T29" fmla="*/ 2147483647 h 135"/>
                <a:gd name="T30" fmla="*/ 2147483647 w 207"/>
                <a:gd name="T31" fmla="*/ 2147483647 h 135"/>
                <a:gd name="T32" fmla="*/ 2147483647 w 207"/>
                <a:gd name="T33" fmla="*/ 2147483647 h 135"/>
                <a:gd name="T34" fmla="*/ 2147483647 w 207"/>
                <a:gd name="T35" fmla="*/ 2147483647 h 135"/>
                <a:gd name="T36" fmla="*/ 2147483647 w 207"/>
                <a:gd name="T37" fmla="*/ 2147483647 h 135"/>
                <a:gd name="T38" fmla="*/ 2147483647 w 207"/>
                <a:gd name="T39" fmla="*/ 2147483647 h 135"/>
                <a:gd name="T40" fmla="*/ 2147483647 w 207"/>
                <a:gd name="T41" fmla="*/ 2147483647 h 135"/>
                <a:gd name="T42" fmla="*/ 2147483647 w 207"/>
                <a:gd name="T43" fmla="*/ 2147483647 h 135"/>
                <a:gd name="T44" fmla="*/ 2147483647 w 207"/>
                <a:gd name="T45" fmla="*/ 2147483647 h 135"/>
                <a:gd name="T46" fmla="*/ 2147483647 w 207"/>
                <a:gd name="T47" fmla="*/ 2147483647 h 135"/>
                <a:gd name="T48" fmla="*/ 0 w 207"/>
                <a:gd name="T49" fmla="*/ 2147483647 h 135"/>
                <a:gd name="T50" fmla="*/ 2147483647 w 207"/>
                <a:gd name="T51" fmla="*/ 2147483647 h 135"/>
                <a:gd name="T52" fmla="*/ 2147483647 w 207"/>
                <a:gd name="T53" fmla="*/ 2147483647 h 135"/>
                <a:gd name="T54" fmla="*/ 2147483647 w 207"/>
                <a:gd name="T55" fmla="*/ 2147483647 h 135"/>
                <a:gd name="T56" fmla="*/ 2147483647 w 207"/>
                <a:gd name="T57" fmla="*/ 2147483647 h 135"/>
                <a:gd name="T58" fmla="*/ 2147483647 w 207"/>
                <a:gd name="T59" fmla="*/ 2147483647 h 135"/>
                <a:gd name="T60" fmla="*/ 2147483647 w 207"/>
                <a:gd name="T61" fmla="*/ 2147483647 h 135"/>
                <a:gd name="T62" fmla="*/ 2147483647 w 207"/>
                <a:gd name="T63" fmla="*/ 2147483647 h 135"/>
                <a:gd name="T64" fmla="*/ 2147483647 w 207"/>
                <a:gd name="T65" fmla="*/ 2147483647 h 135"/>
                <a:gd name="T66" fmla="*/ 2147483647 w 207"/>
                <a:gd name="T67" fmla="*/ 2147483647 h 135"/>
                <a:gd name="T68" fmla="*/ 2147483647 w 207"/>
                <a:gd name="T69" fmla="*/ 2147483647 h 135"/>
                <a:gd name="T70" fmla="*/ 2147483647 w 207"/>
                <a:gd name="T71" fmla="*/ 214748364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07"/>
                <a:gd name="T109" fmla="*/ 0 h 135"/>
                <a:gd name="T110" fmla="*/ 207 w 207"/>
                <a:gd name="T111" fmla="*/ 135 h 1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07" h="135">
                  <a:moveTo>
                    <a:pt x="102" y="12"/>
                  </a:moveTo>
                  <a:lnTo>
                    <a:pt x="127" y="0"/>
                  </a:lnTo>
                  <a:lnTo>
                    <a:pt x="150" y="10"/>
                  </a:lnTo>
                  <a:lnTo>
                    <a:pt x="167" y="25"/>
                  </a:lnTo>
                  <a:lnTo>
                    <a:pt x="175" y="17"/>
                  </a:lnTo>
                  <a:lnTo>
                    <a:pt x="195" y="27"/>
                  </a:lnTo>
                  <a:lnTo>
                    <a:pt x="205" y="31"/>
                  </a:lnTo>
                  <a:lnTo>
                    <a:pt x="207" y="42"/>
                  </a:lnTo>
                  <a:lnTo>
                    <a:pt x="203" y="48"/>
                  </a:lnTo>
                  <a:lnTo>
                    <a:pt x="197" y="78"/>
                  </a:lnTo>
                  <a:lnTo>
                    <a:pt x="201" y="95"/>
                  </a:lnTo>
                  <a:lnTo>
                    <a:pt x="197" y="97"/>
                  </a:lnTo>
                  <a:lnTo>
                    <a:pt x="190" y="116"/>
                  </a:lnTo>
                  <a:lnTo>
                    <a:pt x="180" y="124"/>
                  </a:lnTo>
                  <a:lnTo>
                    <a:pt x="154" y="135"/>
                  </a:lnTo>
                  <a:lnTo>
                    <a:pt x="133" y="107"/>
                  </a:lnTo>
                  <a:lnTo>
                    <a:pt x="119" y="103"/>
                  </a:lnTo>
                  <a:lnTo>
                    <a:pt x="112" y="91"/>
                  </a:lnTo>
                  <a:lnTo>
                    <a:pt x="97" y="97"/>
                  </a:lnTo>
                  <a:lnTo>
                    <a:pt x="59" y="91"/>
                  </a:lnTo>
                  <a:lnTo>
                    <a:pt x="43" y="95"/>
                  </a:lnTo>
                  <a:lnTo>
                    <a:pt x="30" y="88"/>
                  </a:lnTo>
                  <a:lnTo>
                    <a:pt x="11" y="101"/>
                  </a:lnTo>
                  <a:lnTo>
                    <a:pt x="3" y="97"/>
                  </a:lnTo>
                  <a:lnTo>
                    <a:pt x="0" y="63"/>
                  </a:lnTo>
                  <a:lnTo>
                    <a:pt x="13" y="48"/>
                  </a:lnTo>
                  <a:lnTo>
                    <a:pt x="11" y="34"/>
                  </a:lnTo>
                  <a:lnTo>
                    <a:pt x="22" y="19"/>
                  </a:lnTo>
                  <a:lnTo>
                    <a:pt x="45" y="10"/>
                  </a:lnTo>
                  <a:lnTo>
                    <a:pt x="47" y="23"/>
                  </a:lnTo>
                  <a:lnTo>
                    <a:pt x="61" y="34"/>
                  </a:lnTo>
                  <a:lnTo>
                    <a:pt x="62" y="46"/>
                  </a:lnTo>
                  <a:lnTo>
                    <a:pt x="78" y="53"/>
                  </a:lnTo>
                  <a:lnTo>
                    <a:pt x="91" y="50"/>
                  </a:lnTo>
                  <a:lnTo>
                    <a:pt x="99" y="40"/>
                  </a:lnTo>
                  <a:lnTo>
                    <a:pt x="102" y="1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4" name="Freeform 50"/>
            <p:cNvSpPr>
              <a:spLocks/>
            </p:cNvSpPr>
            <p:nvPr/>
          </p:nvSpPr>
          <p:spPr bwMode="auto">
            <a:xfrm>
              <a:off x="3253906" y="3087451"/>
              <a:ext cx="88203" cy="79154"/>
            </a:xfrm>
            <a:custGeom>
              <a:avLst/>
              <a:gdLst>
                <a:gd name="T0" fmla="*/ 2147483647 w 161"/>
                <a:gd name="T1" fmla="*/ 2147483647 h 128"/>
                <a:gd name="T2" fmla="*/ 2147483647 w 161"/>
                <a:gd name="T3" fmla="*/ 2147483647 h 128"/>
                <a:gd name="T4" fmla="*/ 2147483647 w 161"/>
                <a:gd name="T5" fmla="*/ 0 h 128"/>
                <a:gd name="T6" fmla="*/ 2147483647 w 161"/>
                <a:gd name="T7" fmla="*/ 2147483647 h 128"/>
                <a:gd name="T8" fmla="*/ 2147483647 w 161"/>
                <a:gd name="T9" fmla="*/ 2147483647 h 128"/>
                <a:gd name="T10" fmla="*/ 2147483647 w 161"/>
                <a:gd name="T11" fmla="*/ 2147483647 h 128"/>
                <a:gd name="T12" fmla="*/ 2147483647 w 161"/>
                <a:gd name="T13" fmla="*/ 2147483647 h 128"/>
                <a:gd name="T14" fmla="*/ 2147483647 w 161"/>
                <a:gd name="T15" fmla="*/ 2147483647 h 128"/>
                <a:gd name="T16" fmla="*/ 2147483647 w 161"/>
                <a:gd name="T17" fmla="*/ 2147483647 h 128"/>
                <a:gd name="T18" fmla="*/ 2147483647 w 161"/>
                <a:gd name="T19" fmla="*/ 2147483647 h 128"/>
                <a:gd name="T20" fmla="*/ 2147483647 w 161"/>
                <a:gd name="T21" fmla="*/ 2147483647 h 128"/>
                <a:gd name="T22" fmla="*/ 2147483647 w 161"/>
                <a:gd name="T23" fmla="*/ 2147483647 h 128"/>
                <a:gd name="T24" fmla="*/ 2147483647 w 161"/>
                <a:gd name="T25" fmla="*/ 2147483647 h 128"/>
                <a:gd name="T26" fmla="*/ 2147483647 w 161"/>
                <a:gd name="T27" fmla="*/ 2147483647 h 128"/>
                <a:gd name="T28" fmla="*/ 2147483647 w 161"/>
                <a:gd name="T29" fmla="*/ 2147483647 h 128"/>
                <a:gd name="T30" fmla="*/ 2147483647 w 161"/>
                <a:gd name="T31" fmla="*/ 2147483647 h 128"/>
                <a:gd name="T32" fmla="*/ 2147483647 w 161"/>
                <a:gd name="T33" fmla="*/ 2147483647 h 128"/>
                <a:gd name="T34" fmla="*/ 2147483647 w 161"/>
                <a:gd name="T35" fmla="*/ 2147483647 h 128"/>
                <a:gd name="T36" fmla="*/ 2147483647 w 161"/>
                <a:gd name="T37" fmla="*/ 2147483647 h 128"/>
                <a:gd name="T38" fmla="*/ 2147483647 w 161"/>
                <a:gd name="T39" fmla="*/ 2147483647 h 128"/>
                <a:gd name="T40" fmla="*/ 2147483647 w 161"/>
                <a:gd name="T41" fmla="*/ 2147483647 h 128"/>
                <a:gd name="T42" fmla="*/ 2147483647 w 161"/>
                <a:gd name="T43" fmla="*/ 2147483647 h 128"/>
                <a:gd name="T44" fmla="*/ 2147483647 w 161"/>
                <a:gd name="T45" fmla="*/ 2147483647 h 128"/>
                <a:gd name="T46" fmla="*/ 2147483647 w 161"/>
                <a:gd name="T47" fmla="*/ 2147483647 h 128"/>
                <a:gd name="T48" fmla="*/ 2147483647 w 161"/>
                <a:gd name="T49" fmla="*/ 2147483647 h 128"/>
                <a:gd name="T50" fmla="*/ 2147483647 w 161"/>
                <a:gd name="T51" fmla="*/ 2147483647 h 128"/>
                <a:gd name="T52" fmla="*/ 2147483647 w 161"/>
                <a:gd name="T53" fmla="*/ 2147483647 h 128"/>
                <a:gd name="T54" fmla="*/ 2147483647 w 161"/>
                <a:gd name="T55" fmla="*/ 2147483647 h 128"/>
                <a:gd name="T56" fmla="*/ 2147483647 w 161"/>
                <a:gd name="T57" fmla="*/ 2147483647 h 128"/>
                <a:gd name="T58" fmla="*/ 2147483647 w 161"/>
                <a:gd name="T59" fmla="*/ 2147483647 h 128"/>
                <a:gd name="T60" fmla="*/ 2147483647 w 161"/>
                <a:gd name="T61" fmla="*/ 2147483647 h 128"/>
                <a:gd name="T62" fmla="*/ 2147483647 w 161"/>
                <a:gd name="T63" fmla="*/ 2147483647 h 128"/>
                <a:gd name="T64" fmla="*/ 0 w 161"/>
                <a:gd name="T65" fmla="*/ 2147483647 h 128"/>
                <a:gd name="T66" fmla="*/ 2147483647 w 161"/>
                <a:gd name="T67" fmla="*/ 2147483647 h 1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1"/>
                <a:gd name="T103" fmla="*/ 0 h 128"/>
                <a:gd name="T104" fmla="*/ 161 w 161"/>
                <a:gd name="T105" fmla="*/ 128 h 1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1" h="128">
                  <a:moveTo>
                    <a:pt x="3" y="10"/>
                  </a:moveTo>
                  <a:lnTo>
                    <a:pt x="11" y="12"/>
                  </a:lnTo>
                  <a:lnTo>
                    <a:pt x="30" y="0"/>
                  </a:lnTo>
                  <a:lnTo>
                    <a:pt x="43" y="8"/>
                  </a:lnTo>
                  <a:lnTo>
                    <a:pt x="59" y="4"/>
                  </a:lnTo>
                  <a:lnTo>
                    <a:pt x="97" y="10"/>
                  </a:lnTo>
                  <a:lnTo>
                    <a:pt x="112" y="2"/>
                  </a:lnTo>
                  <a:lnTo>
                    <a:pt x="119" y="16"/>
                  </a:lnTo>
                  <a:lnTo>
                    <a:pt x="133" y="19"/>
                  </a:lnTo>
                  <a:lnTo>
                    <a:pt x="154" y="48"/>
                  </a:lnTo>
                  <a:lnTo>
                    <a:pt x="152" y="56"/>
                  </a:lnTo>
                  <a:lnTo>
                    <a:pt x="159" y="56"/>
                  </a:lnTo>
                  <a:lnTo>
                    <a:pt x="161" y="61"/>
                  </a:lnTo>
                  <a:lnTo>
                    <a:pt x="157" y="63"/>
                  </a:lnTo>
                  <a:lnTo>
                    <a:pt x="152" y="61"/>
                  </a:lnTo>
                  <a:lnTo>
                    <a:pt x="148" y="75"/>
                  </a:lnTo>
                  <a:lnTo>
                    <a:pt x="137" y="88"/>
                  </a:lnTo>
                  <a:lnTo>
                    <a:pt x="133" y="103"/>
                  </a:lnTo>
                  <a:lnTo>
                    <a:pt x="133" y="113"/>
                  </a:lnTo>
                  <a:lnTo>
                    <a:pt x="123" y="109"/>
                  </a:lnTo>
                  <a:lnTo>
                    <a:pt x="112" y="113"/>
                  </a:lnTo>
                  <a:lnTo>
                    <a:pt x="95" y="111"/>
                  </a:lnTo>
                  <a:lnTo>
                    <a:pt x="80" y="128"/>
                  </a:lnTo>
                  <a:lnTo>
                    <a:pt x="80" y="118"/>
                  </a:lnTo>
                  <a:lnTo>
                    <a:pt x="61" y="101"/>
                  </a:lnTo>
                  <a:lnTo>
                    <a:pt x="62" y="76"/>
                  </a:lnTo>
                  <a:lnTo>
                    <a:pt x="57" y="65"/>
                  </a:lnTo>
                  <a:lnTo>
                    <a:pt x="38" y="65"/>
                  </a:lnTo>
                  <a:lnTo>
                    <a:pt x="19" y="56"/>
                  </a:lnTo>
                  <a:lnTo>
                    <a:pt x="17" y="46"/>
                  </a:lnTo>
                  <a:lnTo>
                    <a:pt x="9" y="44"/>
                  </a:lnTo>
                  <a:lnTo>
                    <a:pt x="9" y="37"/>
                  </a:lnTo>
                  <a:lnTo>
                    <a:pt x="0" y="14"/>
                  </a:lnTo>
                  <a:lnTo>
                    <a:pt x="3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5" name="Freeform 51"/>
            <p:cNvSpPr>
              <a:spLocks/>
            </p:cNvSpPr>
            <p:nvPr/>
          </p:nvSpPr>
          <p:spPr bwMode="auto">
            <a:xfrm>
              <a:off x="3024579" y="3274859"/>
              <a:ext cx="12128" cy="18624"/>
            </a:xfrm>
            <a:custGeom>
              <a:avLst/>
              <a:gdLst>
                <a:gd name="T0" fmla="*/ 2147483647 w 23"/>
                <a:gd name="T1" fmla="*/ 2147483647 h 30"/>
                <a:gd name="T2" fmla="*/ 0 w 23"/>
                <a:gd name="T3" fmla="*/ 2147483647 h 30"/>
                <a:gd name="T4" fmla="*/ 2147483647 w 23"/>
                <a:gd name="T5" fmla="*/ 2147483647 h 30"/>
                <a:gd name="T6" fmla="*/ 2147483647 w 23"/>
                <a:gd name="T7" fmla="*/ 0 h 30"/>
                <a:gd name="T8" fmla="*/ 2147483647 w 23"/>
                <a:gd name="T9" fmla="*/ 2147483647 h 30"/>
                <a:gd name="T10" fmla="*/ 2147483647 w 23"/>
                <a:gd name="T11" fmla="*/ 2147483647 h 30"/>
                <a:gd name="T12" fmla="*/ 2147483647 w 23"/>
                <a:gd name="T13" fmla="*/ 2147483647 h 30"/>
                <a:gd name="T14" fmla="*/ 2147483647 w 23"/>
                <a:gd name="T15" fmla="*/ 2147483647 h 30"/>
                <a:gd name="T16" fmla="*/ 2147483647 w 23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30"/>
                <a:gd name="T29" fmla="*/ 23 w 23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30">
                  <a:moveTo>
                    <a:pt x="2" y="30"/>
                  </a:moveTo>
                  <a:lnTo>
                    <a:pt x="0" y="17"/>
                  </a:lnTo>
                  <a:lnTo>
                    <a:pt x="4" y="3"/>
                  </a:lnTo>
                  <a:lnTo>
                    <a:pt x="11" y="0"/>
                  </a:lnTo>
                  <a:lnTo>
                    <a:pt x="13" y="11"/>
                  </a:lnTo>
                  <a:lnTo>
                    <a:pt x="23" y="17"/>
                  </a:lnTo>
                  <a:lnTo>
                    <a:pt x="19" y="30"/>
                  </a:lnTo>
                  <a:lnTo>
                    <a:pt x="13" y="28"/>
                  </a:lnTo>
                  <a:lnTo>
                    <a:pt x="2" y="3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6" name="Freeform 52"/>
            <p:cNvSpPr>
              <a:spLocks/>
            </p:cNvSpPr>
            <p:nvPr/>
          </p:nvSpPr>
          <p:spPr bwMode="auto">
            <a:xfrm>
              <a:off x="3252803" y="3473908"/>
              <a:ext cx="36384" cy="40741"/>
            </a:xfrm>
            <a:custGeom>
              <a:avLst/>
              <a:gdLst>
                <a:gd name="T0" fmla="*/ 2147483647 w 66"/>
                <a:gd name="T1" fmla="*/ 2147483647 h 62"/>
                <a:gd name="T2" fmla="*/ 2147483647 w 66"/>
                <a:gd name="T3" fmla="*/ 2147483647 h 62"/>
                <a:gd name="T4" fmla="*/ 0 w 66"/>
                <a:gd name="T5" fmla="*/ 2147483647 h 62"/>
                <a:gd name="T6" fmla="*/ 2147483647 w 66"/>
                <a:gd name="T7" fmla="*/ 2147483647 h 62"/>
                <a:gd name="T8" fmla="*/ 2147483647 w 66"/>
                <a:gd name="T9" fmla="*/ 2147483647 h 62"/>
                <a:gd name="T10" fmla="*/ 2147483647 w 66"/>
                <a:gd name="T11" fmla="*/ 0 h 62"/>
                <a:gd name="T12" fmla="*/ 2147483647 w 66"/>
                <a:gd name="T13" fmla="*/ 2147483647 h 62"/>
                <a:gd name="T14" fmla="*/ 2147483647 w 66"/>
                <a:gd name="T15" fmla="*/ 2147483647 h 62"/>
                <a:gd name="T16" fmla="*/ 2147483647 w 66"/>
                <a:gd name="T17" fmla="*/ 2147483647 h 62"/>
                <a:gd name="T18" fmla="*/ 2147483647 w 66"/>
                <a:gd name="T19" fmla="*/ 2147483647 h 62"/>
                <a:gd name="T20" fmla="*/ 2147483647 w 66"/>
                <a:gd name="T21" fmla="*/ 2147483647 h 62"/>
                <a:gd name="T22" fmla="*/ 2147483647 w 66"/>
                <a:gd name="T23" fmla="*/ 2147483647 h 62"/>
                <a:gd name="T24" fmla="*/ 2147483647 w 66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6"/>
                <a:gd name="T40" fmla="*/ 0 h 62"/>
                <a:gd name="T41" fmla="*/ 66 w 66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6" h="62">
                  <a:moveTo>
                    <a:pt x="17" y="62"/>
                  </a:moveTo>
                  <a:lnTo>
                    <a:pt x="4" y="53"/>
                  </a:lnTo>
                  <a:lnTo>
                    <a:pt x="0" y="15"/>
                  </a:lnTo>
                  <a:lnTo>
                    <a:pt x="17" y="3"/>
                  </a:lnTo>
                  <a:lnTo>
                    <a:pt x="19" y="7"/>
                  </a:lnTo>
                  <a:lnTo>
                    <a:pt x="40" y="0"/>
                  </a:lnTo>
                  <a:lnTo>
                    <a:pt x="53" y="3"/>
                  </a:lnTo>
                  <a:lnTo>
                    <a:pt x="66" y="15"/>
                  </a:lnTo>
                  <a:lnTo>
                    <a:pt x="66" y="39"/>
                  </a:lnTo>
                  <a:lnTo>
                    <a:pt x="55" y="49"/>
                  </a:lnTo>
                  <a:lnTo>
                    <a:pt x="45" y="45"/>
                  </a:lnTo>
                  <a:lnTo>
                    <a:pt x="30" y="57"/>
                  </a:lnTo>
                  <a:lnTo>
                    <a:pt x="17" y="6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7" name="Freeform 53"/>
            <p:cNvSpPr>
              <a:spLocks/>
            </p:cNvSpPr>
            <p:nvPr/>
          </p:nvSpPr>
          <p:spPr bwMode="auto">
            <a:xfrm>
              <a:off x="3149165" y="3624068"/>
              <a:ext cx="6615" cy="9312"/>
            </a:xfrm>
            <a:custGeom>
              <a:avLst/>
              <a:gdLst>
                <a:gd name="T0" fmla="*/ 2147483647 w 11"/>
                <a:gd name="T1" fmla="*/ 0 h 13"/>
                <a:gd name="T2" fmla="*/ 2147483647 w 11"/>
                <a:gd name="T3" fmla="*/ 2147483647 h 13"/>
                <a:gd name="T4" fmla="*/ 2147483647 w 11"/>
                <a:gd name="T5" fmla="*/ 2147483647 h 13"/>
                <a:gd name="T6" fmla="*/ 0 w 11"/>
                <a:gd name="T7" fmla="*/ 2147483647 h 13"/>
                <a:gd name="T8" fmla="*/ 2147483647 w 11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3"/>
                <a:gd name="T17" fmla="*/ 11 w 11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3">
                  <a:moveTo>
                    <a:pt x="5" y="0"/>
                  </a:moveTo>
                  <a:lnTo>
                    <a:pt x="11" y="13"/>
                  </a:lnTo>
                  <a:lnTo>
                    <a:pt x="5" y="13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8" name="Freeform 54"/>
            <p:cNvSpPr>
              <a:spLocks/>
            </p:cNvSpPr>
            <p:nvPr/>
          </p:nvSpPr>
          <p:spPr bwMode="auto">
            <a:xfrm>
              <a:off x="2981579" y="3175917"/>
              <a:ext cx="62845" cy="76826"/>
            </a:xfrm>
            <a:custGeom>
              <a:avLst/>
              <a:gdLst>
                <a:gd name="T0" fmla="*/ 2147483647 w 116"/>
                <a:gd name="T1" fmla="*/ 2147483647 h 121"/>
                <a:gd name="T2" fmla="*/ 2147483647 w 116"/>
                <a:gd name="T3" fmla="*/ 2147483647 h 121"/>
                <a:gd name="T4" fmla="*/ 2147483647 w 116"/>
                <a:gd name="T5" fmla="*/ 2147483647 h 121"/>
                <a:gd name="T6" fmla="*/ 2147483647 w 116"/>
                <a:gd name="T7" fmla="*/ 2147483647 h 121"/>
                <a:gd name="T8" fmla="*/ 2147483647 w 116"/>
                <a:gd name="T9" fmla="*/ 2147483647 h 121"/>
                <a:gd name="T10" fmla="*/ 2147483647 w 116"/>
                <a:gd name="T11" fmla="*/ 2147483647 h 121"/>
                <a:gd name="T12" fmla="*/ 2147483647 w 116"/>
                <a:gd name="T13" fmla="*/ 2147483647 h 121"/>
                <a:gd name="T14" fmla="*/ 2147483647 w 116"/>
                <a:gd name="T15" fmla="*/ 2147483647 h 121"/>
                <a:gd name="T16" fmla="*/ 2147483647 w 116"/>
                <a:gd name="T17" fmla="*/ 2147483647 h 121"/>
                <a:gd name="T18" fmla="*/ 0 w 116"/>
                <a:gd name="T19" fmla="*/ 2147483647 h 121"/>
                <a:gd name="T20" fmla="*/ 2147483647 w 116"/>
                <a:gd name="T21" fmla="*/ 2147483647 h 121"/>
                <a:gd name="T22" fmla="*/ 2147483647 w 116"/>
                <a:gd name="T23" fmla="*/ 2147483647 h 121"/>
                <a:gd name="T24" fmla="*/ 2147483647 w 116"/>
                <a:gd name="T25" fmla="*/ 2147483647 h 121"/>
                <a:gd name="T26" fmla="*/ 2147483647 w 116"/>
                <a:gd name="T27" fmla="*/ 2147483647 h 121"/>
                <a:gd name="T28" fmla="*/ 2147483647 w 116"/>
                <a:gd name="T29" fmla="*/ 2147483647 h 121"/>
                <a:gd name="T30" fmla="*/ 2147483647 w 116"/>
                <a:gd name="T31" fmla="*/ 2147483647 h 121"/>
                <a:gd name="T32" fmla="*/ 2147483647 w 116"/>
                <a:gd name="T33" fmla="*/ 2147483647 h 121"/>
                <a:gd name="T34" fmla="*/ 2147483647 w 116"/>
                <a:gd name="T35" fmla="*/ 2147483647 h 121"/>
                <a:gd name="T36" fmla="*/ 2147483647 w 116"/>
                <a:gd name="T37" fmla="*/ 2147483647 h 121"/>
                <a:gd name="T38" fmla="*/ 2147483647 w 116"/>
                <a:gd name="T39" fmla="*/ 2147483647 h 121"/>
                <a:gd name="T40" fmla="*/ 2147483647 w 116"/>
                <a:gd name="T41" fmla="*/ 2147483647 h 121"/>
                <a:gd name="T42" fmla="*/ 2147483647 w 116"/>
                <a:gd name="T43" fmla="*/ 2147483647 h 121"/>
                <a:gd name="T44" fmla="*/ 2147483647 w 116"/>
                <a:gd name="T45" fmla="*/ 2147483647 h 121"/>
                <a:gd name="T46" fmla="*/ 2147483647 w 116"/>
                <a:gd name="T47" fmla="*/ 2147483647 h 121"/>
                <a:gd name="T48" fmla="*/ 2147483647 w 116"/>
                <a:gd name="T49" fmla="*/ 2147483647 h 121"/>
                <a:gd name="T50" fmla="*/ 2147483647 w 116"/>
                <a:gd name="T51" fmla="*/ 2147483647 h 121"/>
                <a:gd name="T52" fmla="*/ 2147483647 w 116"/>
                <a:gd name="T53" fmla="*/ 0 h 121"/>
                <a:gd name="T54" fmla="*/ 2147483647 w 116"/>
                <a:gd name="T55" fmla="*/ 2147483647 h 121"/>
                <a:gd name="T56" fmla="*/ 2147483647 w 116"/>
                <a:gd name="T57" fmla="*/ 2147483647 h 121"/>
                <a:gd name="T58" fmla="*/ 2147483647 w 116"/>
                <a:gd name="T59" fmla="*/ 2147483647 h 121"/>
                <a:gd name="T60" fmla="*/ 2147483647 w 116"/>
                <a:gd name="T61" fmla="*/ 2147483647 h 121"/>
                <a:gd name="T62" fmla="*/ 2147483647 w 116"/>
                <a:gd name="T63" fmla="*/ 2147483647 h 121"/>
                <a:gd name="T64" fmla="*/ 2147483647 w 116"/>
                <a:gd name="T65" fmla="*/ 2147483647 h 121"/>
                <a:gd name="T66" fmla="*/ 2147483647 w 116"/>
                <a:gd name="T67" fmla="*/ 2147483647 h 121"/>
                <a:gd name="T68" fmla="*/ 2147483647 w 116"/>
                <a:gd name="T69" fmla="*/ 2147483647 h 121"/>
                <a:gd name="T70" fmla="*/ 2147483647 w 116"/>
                <a:gd name="T71" fmla="*/ 2147483647 h 121"/>
                <a:gd name="T72" fmla="*/ 2147483647 w 116"/>
                <a:gd name="T73" fmla="*/ 2147483647 h 121"/>
                <a:gd name="T74" fmla="*/ 2147483647 w 116"/>
                <a:gd name="T75" fmla="*/ 2147483647 h 121"/>
                <a:gd name="T76" fmla="*/ 2147483647 w 116"/>
                <a:gd name="T77" fmla="*/ 2147483647 h 12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6"/>
                <a:gd name="T118" fmla="*/ 0 h 121"/>
                <a:gd name="T119" fmla="*/ 116 w 116"/>
                <a:gd name="T120" fmla="*/ 121 h 12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6" h="121">
                  <a:moveTo>
                    <a:pt x="89" y="118"/>
                  </a:moveTo>
                  <a:lnTo>
                    <a:pt x="82" y="121"/>
                  </a:lnTo>
                  <a:lnTo>
                    <a:pt x="82" y="110"/>
                  </a:lnTo>
                  <a:lnTo>
                    <a:pt x="72" y="106"/>
                  </a:lnTo>
                  <a:lnTo>
                    <a:pt x="61" y="104"/>
                  </a:lnTo>
                  <a:lnTo>
                    <a:pt x="40" y="91"/>
                  </a:lnTo>
                  <a:lnTo>
                    <a:pt x="32" y="104"/>
                  </a:lnTo>
                  <a:lnTo>
                    <a:pt x="25" y="106"/>
                  </a:lnTo>
                  <a:lnTo>
                    <a:pt x="8" y="104"/>
                  </a:lnTo>
                  <a:lnTo>
                    <a:pt x="0" y="97"/>
                  </a:lnTo>
                  <a:lnTo>
                    <a:pt x="9" y="95"/>
                  </a:lnTo>
                  <a:lnTo>
                    <a:pt x="15" y="101"/>
                  </a:lnTo>
                  <a:lnTo>
                    <a:pt x="15" y="93"/>
                  </a:lnTo>
                  <a:lnTo>
                    <a:pt x="6" y="89"/>
                  </a:lnTo>
                  <a:lnTo>
                    <a:pt x="11" y="82"/>
                  </a:lnTo>
                  <a:lnTo>
                    <a:pt x="32" y="91"/>
                  </a:lnTo>
                  <a:lnTo>
                    <a:pt x="28" y="78"/>
                  </a:lnTo>
                  <a:lnTo>
                    <a:pt x="23" y="82"/>
                  </a:lnTo>
                  <a:lnTo>
                    <a:pt x="15" y="80"/>
                  </a:lnTo>
                  <a:lnTo>
                    <a:pt x="32" y="66"/>
                  </a:lnTo>
                  <a:lnTo>
                    <a:pt x="42" y="53"/>
                  </a:lnTo>
                  <a:lnTo>
                    <a:pt x="53" y="17"/>
                  </a:lnTo>
                  <a:lnTo>
                    <a:pt x="57" y="13"/>
                  </a:lnTo>
                  <a:lnTo>
                    <a:pt x="68" y="17"/>
                  </a:lnTo>
                  <a:lnTo>
                    <a:pt x="78" y="11"/>
                  </a:lnTo>
                  <a:lnTo>
                    <a:pt x="82" y="2"/>
                  </a:lnTo>
                  <a:lnTo>
                    <a:pt x="110" y="0"/>
                  </a:lnTo>
                  <a:lnTo>
                    <a:pt x="110" y="4"/>
                  </a:lnTo>
                  <a:lnTo>
                    <a:pt x="110" y="13"/>
                  </a:lnTo>
                  <a:lnTo>
                    <a:pt x="116" y="19"/>
                  </a:lnTo>
                  <a:lnTo>
                    <a:pt x="110" y="36"/>
                  </a:lnTo>
                  <a:lnTo>
                    <a:pt x="106" y="40"/>
                  </a:lnTo>
                  <a:lnTo>
                    <a:pt x="110" y="66"/>
                  </a:lnTo>
                  <a:lnTo>
                    <a:pt x="101" y="72"/>
                  </a:lnTo>
                  <a:lnTo>
                    <a:pt x="80" y="74"/>
                  </a:lnTo>
                  <a:lnTo>
                    <a:pt x="87" y="85"/>
                  </a:lnTo>
                  <a:lnTo>
                    <a:pt x="89" y="101"/>
                  </a:lnTo>
                  <a:lnTo>
                    <a:pt x="85" y="112"/>
                  </a:lnTo>
                  <a:lnTo>
                    <a:pt x="89" y="11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79" name="Freeform 55"/>
            <p:cNvSpPr>
              <a:spLocks/>
            </p:cNvSpPr>
            <p:nvPr/>
          </p:nvSpPr>
          <p:spPr bwMode="auto">
            <a:xfrm>
              <a:off x="3011348" y="2461205"/>
              <a:ext cx="401323" cy="570373"/>
            </a:xfrm>
            <a:custGeom>
              <a:avLst/>
              <a:gdLst>
                <a:gd name="T0" fmla="*/ 2147483647 w 737"/>
                <a:gd name="T1" fmla="*/ 2147483647 h 913"/>
                <a:gd name="T2" fmla="*/ 2147483647 w 737"/>
                <a:gd name="T3" fmla="*/ 2147483647 h 913"/>
                <a:gd name="T4" fmla="*/ 2147483647 w 737"/>
                <a:gd name="T5" fmla="*/ 2147483647 h 913"/>
                <a:gd name="T6" fmla="*/ 2147483647 w 737"/>
                <a:gd name="T7" fmla="*/ 2147483647 h 913"/>
                <a:gd name="T8" fmla="*/ 2147483647 w 737"/>
                <a:gd name="T9" fmla="*/ 2147483647 h 913"/>
                <a:gd name="T10" fmla="*/ 2147483647 w 737"/>
                <a:gd name="T11" fmla="*/ 2147483647 h 913"/>
                <a:gd name="T12" fmla="*/ 2147483647 w 737"/>
                <a:gd name="T13" fmla="*/ 2147483647 h 913"/>
                <a:gd name="T14" fmla="*/ 2147483647 w 737"/>
                <a:gd name="T15" fmla="*/ 2147483647 h 913"/>
                <a:gd name="T16" fmla="*/ 2147483647 w 737"/>
                <a:gd name="T17" fmla="*/ 2147483647 h 913"/>
                <a:gd name="T18" fmla="*/ 2147483647 w 737"/>
                <a:gd name="T19" fmla="*/ 2147483647 h 913"/>
                <a:gd name="T20" fmla="*/ 2147483647 w 737"/>
                <a:gd name="T21" fmla="*/ 2147483647 h 913"/>
                <a:gd name="T22" fmla="*/ 2147483647 w 737"/>
                <a:gd name="T23" fmla="*/ 2147483647 h 913"/>
                <a:gd name="T24" fmla="*/ 2147483647 w 737"/>
                <a:gd name="T25" fmla="*/ 2147483647 h 913"/>
                <a:gd name="T26" fmla="*/ 2147483647 w 737"/>
                <a:gd name="T27" fmla="*/ 2147483647 h 913"/>
                <a:gd name="T28" fmla="*/ 2147483647 w 737"/>
                <a:gd name="T29" fmla="*/ 2147483647 h 913"/>
                <a:gd name="T30" fmla="*/ 2147483647 w 737"/>
                <a:gd name="T31" fmla="*/ 2147483647 h 913"/>
                <a:gd name="T32" fmla="*/ 2147483647 w 737"/>
                <a:gd name="T33" fmla="*/ 2147483647 h 913"/>
                <a:gd name="T34" fmla="*/ 2147483647 w 737"/>
                <a:gd name="T35" fmla="*/ 2147483647 h 913"/>
                <a:gd name="T36" fmla="*/ 2147483647 w 737"/>
                <a:gd name="T37" fmla="*/ 2147483647 h 913"/>
                <a:gd name="T38" fmla="*/ 2147483647 w 737"/>
                <a:gd name="T39" fmla="*/ 2147483647 h 913"/>
                <a:gd name="T40" fmla="*/ 2147483647 w 737"/>
                <a:gd name="T41" fmla="*/ 2147483647 h 913"/>
                <a:gd name="T42" fmla="*/ 2147483647 w 737"/>
                <a:gd name="T43" fmla="*/ 2147483647 h 913"/>
                <a:gd name="T44" fmla="*/ 2147483647 w 737"/>
                <a:gd name="T45" fmla="*/ 2147483647 h 913"/>
                <a:gd name="T46" fmla="*/ 2147483647 w 737"/>
                <a:gd name="T47" fmla="*/ 2147483647 h 913"/>
                <a:gd name="T48" fmla="*/ 2147483647 w 737"/>
                <a:gd name="T49" fmla="*/ 2147483647 h 913"/>
                <a:gd name="T50" fmla="*/ 2147483647 w 737"/>
                <a:gd name="T51" fmla="*/ 2147483647 h 913"/>
                <a:gd name="T52" fmla="*/ 2147483647 w 737"/>
                <a:gd name="T53" fmla="*/ 2147483647 h 913"/>
                <a:gd name="T54" fmla="*/ 2147483647 w 737"/>
                <a:gd name="T55" fmla="*/ 2147483647 h 913"/>
                <a:gd name="T56" fmla="*/ 2147483647 w 737"/>
                <a:gd name="T57" fmla="*/ 2147483647 h 913"/>
                <a:gd name="T58" fmla="*/ 2147483647 w 737"/>
                <a:gd name="T59" fmla="*/ 2147483647 h 913"/>
                <a:gd name="T60" fmla="*/ 2147483647 w 737"/>
                <a:gd name="T61" fmla="*/ 2147483647 h 913"/>
                <a:gd name="T62" fmla="*/ 2147483647 w 737"/>
                <a:gd name="T63" fmla="*/ 2147483647 h 913"/>
                <a:gd name="T64" fmla="*/ 2147483647 w 737"/>
                <a:gd name="T65" fmla="*/ 2147483647 h 913"/>
                <a:gd name="T66" fmla="*/ 2147483647 w 737"/>
                <a:gd name="T67" fmla="*/ 2147483647 h 913"/>
                <a:gd name="T68" fmla="*/ 2147483647 w 737"/>
                <a:gd name="T69" fmla="*/ 2147483647 h 913"/>
                <a:gd name="T70" fmla="*/ 2147483647 w 737"/>
                <a:gd name="T71" fmla="*/ 2147483647 h 913"/>
                <a:gd name="T72" fmla="*/ 2147483647 w 737"/>
                <a:gd name="T73" fmla="*/ 2147483647 h 913"/>
                <a:gd name="T74" fmla="*/ 2147483647 w 737"/>
                <a:gd name="T75" fmla="*/ 2147483647 h 913"/>
                <a:gd name="T76" fmla="*/ 2147483647 w 737"/>
                <a:gd name="T77" fmla="*/ 2147483647 h 913"/>
                <a:gd name="T78" fmla="*/ 2147483647 w 737"/>
                <a:gd name="T79" fmla="*/ 2147483647 h 913"/>
                <a:gd name="T80" fmla="*/ 2147483647 w 737"/>
                <a:gd name="T81" fmla="*/ 2147483647 h 913"/>
                <a:gd name="T82" fmla="*/ 2147483647 w 737"/>
                <a:gd name="T83" fmla="*/ 2147483647 h 913"/>
                <a:gd name="T84" fmla="*/ 2147483647 w 737"/>
                <a:gd name="T85" fmla="*/ 2147483647 h 913"/>
                <a:gd name="T86" fmla="*/ 2147483647 w 737"/>
                <a:gd name="T87" fmla="*/ 2147483647 h 913"/>
                <a:gd name="T88" fmla="*/ 2147483647 w 737"/>
                <a:gd name="T89" fmla="*/ 2147483647 h 913"/>
                <a:gd name="T90" fmla="*/ 2147483647 w 737"/>
                <a:gd name="T91" fmla="*/ 2147483647 h 913"/>
                <a:gd name="T92" fmla="*/ 2147483647 w 737"/>
                <a:gd name="T93" fmla="*/ 2147483647 h 913"/>
                <a:gd name="T94" fmla="*/ 2147483647 w 737"/>
                <a:gd name="T95" fmla="*/ 2147483647 h 913"/>
                <a:gd name="T96" fmla="*/ 2147483647 w 737"/>
                <a:gd name="T97" fmla="*/ 2147483647 h 913"/>
                <a:gd name="T98" fmla="*/ 2147483647 w 737"/>
                <a:gd name="T99" fmla="*/ 2147483647 h 913"/>
                <a:gd name="T100" fmla="*/ 2147483647 w 737"/>
                <a:gd name="T101" fmla="*/ 2147483647 h 913"/>
                <a:gd name="T102" fmla="*/ 2147483647 w 737"/>
                <a:gd name="T103" fmla="*/ 2147483647 h 913"/>
                <a:gd name="T104" fmla="*/ 2147483647 w 737"/>
                <a:gd name="T105" fmla="*/ 2147483647 h 913"/>
                <a:gd name="T106" fmla="*/ 2147483647 w 737"/>
                <a:gd name="T107" fmla="*/ 2147483647 h 913"/>
                <a:gd name="T108" fmla="*/ 2147483647 w 737"/>
                <a:gd name="T109" fmla="*/ 2147483647 h 913"/>
                <a:gd name="T110" fmla="*/ 2147483647 w 737"/>
                <a:gd name="T111" fmla="*/ 2147483647 h 913"/>
                <a:gd name="T112" fmla="*/ 2147483647 w 737"/>
                <a:gd name="T113" fmla="*/ 2147483647 h 91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37"/>
                <a:gd name="T172" fmla="*/ 0 h 913"/>
                <a:gd name="T173" fmla="*/ 737 w 737"/>
                <a:gd name="T174" fmla="*/ 913 h 91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37" h="913">
                  <a:moveTo>
                    <a:pt x="677" y="180"/>
                  </a:moveTo>
                  <a:lnTo>
                    <a:pt x="658" y="186"/>
                  </a:lnTo>
                  <a:lnTo>
                    <a:pt x="656" y="178"/>
                  </a:lnTo>
                  <a:lnTo>
                    <a:pt x="667" y="167"/>
                  </a:lnTo>
                  <a:lnTo>
                    <a:pt x="677" y="136"/>
                  </a:lnTo>
                  <a:lnTo>
                    <a:pt x="669" y="121"/>
                  </a:lnTo>
                  <a:lnTo>
                    <a:pt x="656" y="127"/>
                  </a:lnTo>
                  <a:lnTo>
                    <a:pt x="642" y="104"/>
                  </a:lnTo>
                  <a:lnTo>
                    <a:pt x="610" y="115"/>
                  </a:lnTo>
                  <a:lnTo>
                    <a:pt x="587" y="152"/>
                  </a:lnTo>
                  <a:lnTo>
                    <a:pt x="582" y="197"/>
                  </a:lnTo>
                  <a:lnTo>
                    <a:pt x="559" y="224"/>
                  </a:lnTo>
                  <a:lnTo>
                    <a:pt x="538" y="210"/>
                  </a:lnTo>
                  <a:lnTo>
                    <a:pt x="496" y="212"/>
                  </a:lnTo>
                  <a:lnTo>
                    <a:pt x="469" y="169"/>
                  </a:lnTo>
                  <a:lnTo>
                    <a:pt x="452" y="172"/>
                  </a:lnTo>
                  <a:lnTo>
                    <a:pt x="452" y="180"/>
                  </a:lnTo>
                  <a:lnTo>
                    <a:pt x="437" y="180"/>
                  </a:lnTo>
                  <a:lnTo>
                    <a:pt x="441" y="184"/>
                  </a:lnTo>
                  <a:lnTo>
                    <a:pt x="428" y="184"/>
                  </a:lnTo>
                  <a:lnTo>
                    <a:pt x="418" y="208"/>
                  </a:lnTo>
                  <a:lnTo>
                    <a:pt x="420" y="233"/>
                  </a:lnTo>
                  <a:lnTo>
                    <a:pt x="376" y="220"/>
                  </a:lnTo>
                  <a:lnTo>
                    <a:pt x="363" y="233"/>
                  </a:lnTo>
                  <a:lnTo>
                    <a:pt x="372" y="256"/>
                  </a:lnTo>
                  <a:lnTo>
                    <a:pt x="361" y="264"/>
                  </a:lnTo>
                  <a:lnTo>
                    <a:pt x="350" y="258"/>
                  </a:lnTo>
                  <a:lnTo>
                    <a:pt x="325" y="286"/>
                  </a:lnTo>
                  <a:lnTo>
                    <a:pt x="317" y="307"/>
                  </a:lnTo>
                  <a:lnTo>
                    <a:pt x="327" y="341"/>
                  </a:lnTo>
                  <a:lnTo>
                    <a:pt x="285" y="387"/>
                  </a:lnTo>
                  <a:lnTo>
                    <a:pt x="295" y="402"/>
                  </a:lnTo>
                  <a:lnTo>
                    <a:pt x="287" y="421"/>
                  </a:lnTo>
                  <a:lnTo>
                    <a:pt x="274" y="416"/>
                  </a:lnTo>
                  <a:lnTo>
                    <a:pt x="270" y="419"/>
                  </a:lnTo>
                  <a:lnTo>
                    <a:pt x="270" y="463"/>
                  </a:lnTo>
                  <a:lnTo>
                    <a:pt x="247" y="514"/>
                  </a:lnTo>
                  <a:lnTo>
                    <a:pt x="258" y="539"/>
                  </a:lnTo>
                  <a:lnTo>
                    <a:pt x="239" y="543"/>
                  </a:lnTo>
                  <a:lnTo>
                    <a:pt x="222" y="539"/>
                  </a:lnTo>
                  <a:lnTo>
                    <a:pt x="205" y="552"/>
                  </a:lnTo>
                  <a:lnTo>
                    <a:pt x="196" y="579"/>
                  </a:lnTo>
                  <a:lnTo>
                    <a:pt x="205" y="592"/>
                  </a:lnTo>
                  <a:lnTo>
                    <a:pt x="198" y="604"/>
                  </a:lnTo>
                  <a:lnTo>
                    <a:pt x="200" y="687"/>
                  </a:lnTo>
                  <a:lnTo>
                    <a:pt x="219" y="723"/>
                  </a:lnTo>
                  <a:lnTo>
                    <a:pt x="201" y="754"/>
                  </a:lnTo>
                  <a:lnTo>
                    <a:pt x="217" y="803"/>
                  </a:lnTo>
                  <a:lnTo>
                    <a:pt x="200" y="816"/>
                  </a:lnTo>
                  <a:lnTo>
                    <a:pt x="196" y="835"/>
                  </a:lnTo>
                  <a:lnTo>
                    <a:pt x="192" y="868"/>
                  </a:lnTo>
                  <a:lnTo>
                    <a:pt x="179" y="852"/>
                  </a:lnTo>
                  <a:lnTo>
                    <a:pt x="179" y="847"/>
                  </a:lnTo>
                  <a:lnTo>
                    <a:pt x="162" y="843"/>
                  </a:lnTo>
                  <a:lnTo>
                    <a:pt x="158" y="830"/>
                  </a:lnTo>
                  <a:lnTo>
                    <a:pt x="152" y="830"/>
                  </a:lnTo>
                  <a:lnTo>
                    <a:pt x="144" y="841"/>
                  </a:lnTo>
                  <a:lnTo>
                    <a:pt x="133" y="843"/>
                  </a:lnTo>
                  <a:lnTo>
                    <a:pt x="127" y="866"/>
                  </a:lnTo>
                  <a:lnTo>
                    <a:pt x="105" y="902"/>
                  </a:lnTo>
                  <a:lnTo>
                    <a:pt x="97" y="900"/>
                  </a:lnTo>
                  <a:lnTo>
                    <a:pt x="89" y="907"/>
                  </a:lnTo>
                  <a:lnTo>
                    <a:pt x="72" y="913"/>
                  </a:lnTo>
                  <a:lnTo>
                    <a:pt x="53" y="906"/>
                  </a:lnTo>
                  <a:lnTo>
                    <a:pt x="59" y="894"/>
                  </a:lnTo>
                  <a:lnTo>
                    <a:pt x="34" y="892"/>
                  </a:lnTo>
                  <a:lnTo>
                    <a:pt x="32" y="881"/>
                  </a:lnTo>
                  <a:lnTo>
                    <a:pt x="19" y="858"/>
                  </a:lnTo>
                  <a:lnTo>
                    <a:pt x="6" y="841"/>
                  </a:lnTo>
                  <a:lnTo>
                    <a:pt x="10" y="795"/>
                  </a:lnTo>
                  <a:lnTo>
                    <a:pt x="0" y="784"/>
                  </a:lnTo>
                  <a:lnTo>
                    <a:pt x="11" y="740"/>
                  </a:lnTo>
                  <a:lnTo>
                    <a:pt x="27" y="738"/>
                  </a:lnTo>
                  <a:lnTo>
                    <a:pt x="17" y="731"/>
                  </a:lnTo>
                  <a:lnTo>
                    <a:pt x="11" y="716"/>
                  </a:lnTo>
                  <a:lnTo>
                    <a:pt x="27" y="710"/>
                  </a:lnTo>
                  <a:lnTo>
                    <a:pt x="10" y="704"/>
                  </a:lnTo>
                  <a:lnTo>
                    <a:pt x="4" y="685"/>
                  </a:lnTo>
                  <a:lnTo>
                    <a:pt x="11" y="664"/>
                  </a:lnTo>
                  <a:lnTo>
                    <a:pt x="34" y="642"/>
                  </a:lnTo>
                  <a:lnTo>
                    <a:pt x="78" y="611"/>
                  </a:lnTo>
                  <a:lnTo>
                    <a:pt x="103" y="619"/>
                  </a:lnTo>
                  <a:lnTo>
                    <a:pt x="97" y="585"/>
                  </a:lnTo>
                  <a:lnTo>
                    <a:pt x="120" y="560"/>
                  </a:lnTo>
                  <a:lnTo>
                    <a:pt x="137" y="585"/>
                  </a:lnTo>
                  <a:lnTo>
                    <a:pt x="148" y="592"/>
                  </a:lnTo>
                  <a:lnTo>
                    <a:pt x="162" y="583"/>
                  </a:lnTo>
                  <a:lnTo>
                    <a:pt x="144" y="562"/>
                  </a:lnTo>
                  <a:lnTo>
                    <a:pt x="150" y="545"/>
                  </a:lnTo>
                  <a:lnTo>
                    <a:pt x="162" y="518"/>
                  </a:lnTo>
                  <a:lnTo>
                    <a:pt x="188" y="524"/>
                  </a:lnTo>
                  <a:lnTo>
                    <a:pt x="190" y="507"/>
                  </a:lnTo>
                  <a:lnTo>
                    <a:pt x="175" y="505"/>
                  </a:lnTo>
                  <a:lnTo>
                    <a:pt x="192" y="474"/>
                  </a:lnTo>
                  <a:lnTo>
                    <a:pt x="205" y="482"/>
                  </a:lnTo>
                  <a:lnTo>
                    <a:pt x="200" y="463"/>
                  </a:lnTo>
                  <a:lnTo>
                    <a:pt x="198" y="461"/>
                  </a:lnTo>
                  <a:lnTo>
                    <a:pt x="211" y="427"/>
                  </a:lnTo>
                  <a:lnTo>
                    <a:pt x="234" y="406"/>
                  </a:lnTo>
                  <a:lnTo>
                    <a:pt x="222" y="389"/>
                  </a:lnTo>
                  <a:lnTo>
                    <a:pt x="241" y="383"/>
                  </a:lnTo>
                  <a:lnTo>
                    <a:pt x="228" y="364"/>
                  </a:lnTo>
                  <a:lnTo>
                    <a:pt x="247" y="338"/>
                  </a:lnTo>
                  <a:lnTo>
                    <a:pt x="266" y="334"/>
                  </a:lnTo>
                  <a:lnTo>
                    <a:pt x="270" y="328"/>
                  </a:lnTo>
                  <a:lnTo>
                    <a:pt x="281" y="321"/>
                  </a:lnTo>
                  <a:lnTo>
                    <a:pt x="298" y="326"/>
                  </a:lnTo>
                  <a:lnTo>
                    <a:pt x="302" y="317"/>
                  </a:lnTo>
                  <a:lnTo>
                    <a:pt x="293" y="307"/>
                  </a:lnTo>
                  <a:lnTo>
                    <a:pt x="262" y="315"/>
                  </a:lnTo>
                  <a:lnTo>
                    <a:pt x="279" y="296"/>
                  </a:lnTo>
                  <a:lnTo>
                    <a:pt x="298" y="300"/>
                  </a:lnTo>
                  <a:lnTo>
                    <a:pt x="296" y="286"/>
                  </a:lnTo>
                  <a:lnTo>
                    <a:pt x="277" y="288"/>
                  </a:lnTo>
                  <a:lnTo>
                    <a:pt x="277" y="267"/>
                  </a:lnTo>
                  <a:lnTo>
                    <a:pt x="306" y="241"/>
                  </a:lnTo>
                  <a:lnTo>
                    <a:pt x="315" y="252"/>
                  </a:lnTo>
                  <a:lnTo>
                    <a:pt x="319" y="231"/>
                  </a:lnTo>
                  <a:lnTo>
                    <a:pt x="327" y="212"/>
                  </a:lnTo>
                  <a:lnTo>
                    <a:pt x="353" y="193"/>
                  </a:lnTo>
                  <a:lnTo>
                    <a:pt x="357" y="165"/>
                  </a:lnTo>
                  <a:lnTo>
                    <a:pt x="340" y="176"/>
                  </a:lnTo>
                  <a:lnTo>
                    <a:pt x="331" y="171"/>
                  </a:lnTo>
                  <a:lnTo>
                    <a:pt x="334" y="148"/>
                  </a:lnTo>
                  <a:lnTo>
                    <a:pt x="353" y="134"/>
                  </a:lnTo>
                  <a:lnTo>
                    <a:pt x="380" y="153"/>
                  </a:lnTo>
                  <a:lnTo>
                    <a:pt x="393" y="131"/>
                  </a:lnTo>
                  <a:lnTo>
                    <a:pt x="424" y="112"/>
                  </a:lnTo>
                  <a:lnTo>
                    <a:pt x="424" y="148"/>
                  </a:lnTo>
                  <a:lnTo>
                    <a:pt x="443" y="102"/>
                  </a:lnTo>
                  <a:lnTo>
                    <a:pt x="450" y="114"/>
                  </a:lnTo>
                  <a:lnTo>
                    <a:pt x="471" y="108"/>
                  </a:lnTo>
                  <a:lnTo>
                    <a:pt x="456" y="93"/>
                  </a:lnTo>
                  <a:lnTo>
                    <a:pt x="466" y="81"/>
                  </a:lnTo>
                  <a:lnTo>
                    <a:pt x="500" y="85"/>
                  </a:lnTo>
                  <a:lnTo>
                    <a:pt x="496" y="104"/>
                  </a:lnTo>
                  <a:lnTo>
                    <a:pt x="513" y="108"/>
                  </a:lnTo>
                  <a:lnTo>
                    <a:pt x="513" y="85"/>
                  </a:lnTo>
                  <a:lnTo>
                    <a:pt x="530" y="58"/>
                  </a:lnTo>
                  <a:lnTo>
                    <a:pt x="545" y="47"/>
                  </a:lnTo>
                  <a:lnTo>
                    <a:pt x="538" y="36"/>
                  </a:lnTo>
                  <a:lnTo>
                    <a:pt x="553" y="13"/>
                  </a:lnTo>
                  <a:lnTo>
                    <a:pt x="582" y="22"/>
                  </a:lnTo>
                  <a:lnTo>
                    <a:pt x="566" y="62"/>
                  </a:lnTo>
                  <a:lnTo>
                    <a:pt x="557" y="102"/>
                  </a:lnTo>
                  <a:lnTo>
                    <a:pt x="568" y="100"/>
                  </a:lnTo>
                  <a:lnTo>
                    <a:pt x="580" y="58"/>
                  </a:lnTo>
                  <a:lnTo>
                    <a:pt x="602" y="20"/>
                  </a:lnTo>
                  <a:lnTo>
                    <a:pt x="608" y="60"/>
                  </a:lnTo>
                  <a:lnTo>
                    <a:pt x="629" y="9"/>
                  </a:lnTo>
                  <a:lnTo>
                    <a:pt x="642" y="0"/>
                  </a:lnTo>
                  <a:lnTo>
                    <a:pt x="663" y="9"/>
                  </a:lnTo>
                  <a:lnTo>
                    <a:pt x="663" y="11"/>
                  </a:lnTo>
                  <a:lnTo>
                    <a:pt x="652" y="36"/>
                  </a:lnTo>
                  <a:lnTo>
                    <a:pt x="648" y="58"/>
                  </a:lnTo>
                  <a:lnTo>
                    <a:pt x="658" y="62"/>
                  </a:lnTo>
                  <a:lnTo>
                    <a:pt x="667" y="28"/>
                  </a:lnTo>
                  <a:lnTo>
                    <a:pt x="678" y="15"/>
                  </a:lnTo>
                  <a:lnTo>
                    <a:pt x="688" y="19"/>
                  </a:lnTo>
                  <a:lnTo>
                    <a:pt x="684" y="38"/>
                  </a:lnTo>
                  <a:lnTo>
                    <a:pt x="694" y="32"/>
                  </a:lnTo>
                  <a:lnTo>
                    <a:pt x="735" y="58"/>
                  </a:lnTo>
                  <a:lnTo>
                    <a:pt x="737" y="72"/>
                  </a:lnTo>
                  <a:lnTo>
                    <a:pt x="724" y="76"/>
                  </a:lnTo>
                  <a:lnTo>
                    <a:pt x="711" y="96"/>
                  </a:lnTo>
                  <a:lnTo>
                    <a:pt x="667" y="89"/>
                  </a:lnTo>
                  <a:lnTo>
                    <a:pt x="671" y="102"/>
                  </a:lnTo>
                  <a:lnTo>
                    <a:pt x="724" y="125"/>
                  </a:lnTo>
                  <a:lnTo>
                    <a:pt x="715" y="148"/>
                  </a:lnTo>
                  <a:lnTo>
                    <a:pt x="701" y="133"/>
                  </a:lnTo>
                  <a:lnTo>
                    <a:pt x="694" y="134"/>
                  </a:lnTo>
                  <a:lnTo>
                    <a:pt x="697" y="152"/>
                  </a:lnTo>
                  <a:lnTo>
                    <a:pt x="677" y="18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0" name="Freeform 56"/>
            <p:cNvSpPr>
              <a:spLocks/>
            </p:cNvSpPr>
            <p:nvPr/>
          </p:nvSpPr>
          <p:spPr bwMode="auto">
            <a:xfrm>
              <a:off x="3210907" y="2525226"/>
              <a:ext cx="28666" cy="22116"/>
            </a:xfrm>
            <a:custGeom>
              <a:avLst/>
              <a:gdLst>
                <a:gd name="T0" fmla="*/ 2147483647 w 51"/>
                <a:gd name="T1" fmla="*/ 2147483647 h 36"/>
                <a:gd name="T2" fmla="*/ 0 w 51"/>
                <a:gd name="T3" fmla="*/ 2147483647 h 36"/>
                <a:gd name="T4" fmla="*/ 2147483647 w 51"/>
                <a:gd name="T5" fmla="*/ 2147483647 h 36"/>
                <a:gd name="T6" fmla="*/ 2147483647 w 51"/>
                <a:gd name="T7" fmla="*/ 2147483647 h 36"/>
                <a:gd name="T8" fmla="*/ 2147483647 w 51"/>
                <a:gd name="T9" fmla="*/ 2147483647 h 36"/>
                <a:gd name="T10" fmla="*/ 2147483647 w 51"/>
                <a:gd name="T11" fmla="*/ 0 h 36"/>
                <a:gd name="T12" fmla="*/ 2147483647 w 51"/>
                <a:gd name="T13" fmla="*/ 2147483647 h 36"/>
                <a:gd name="T14" fmla="*/ 2147483647 w 51"/>
                <a:gd name="T15" fmla="*/ 0 h 36"/>
                <a:gd name="T16" fmla="*/ 2147483647 w 51"/>
                <a:gd name="T17" fmla="*/ 2147483647 h 36"/>
                <a:gd name="T18" fmla="*/ 2147483647 w 51"/>
                <a:gd name="T19" fmla="*/ 2147483647 h 36"/>
                <a:gd name="T20" fmla="*/ 2147483647 w 51"/>
                <a:gd name="T21" fmla="*/ 2147483647 h 36"/>
                <a:gd name="T22" fmla="*/ 2147483647 w 51"/>
                <a:gd name="T23" fmla="*/ 2147483647 h 36"/>
                <a:gd name="T24" fmla="*/ 2147483647 w 51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36"/>
                <a:gd name="T41" fmla="*/ 51 w 51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36">
                  <a:moveTo>
                    <a:pt x="13" y="36"/>
                  </a:moveTo>
                  <a:lnTo>
                    <a:pt x="0" y="33"/>
                  </a:lnTo>
                  <a:lnTo>
                    <a:pt x="7" y="19"/>
                  </a:lnTo>
                  <a:lnTo>
                    <a:pt x="17" y="21"/>
                  </a:lnTo>
                  <a:lnTo>
                    <a:pt x="15" y="10"/>
                  </a:lnTo>
                  <a:lnTo>
                    <a:pt x="30" y="0"/>
                  </a:lnTo>
                  <a:lnTo>
                    <a:pt x="38" y="6"/>
                  </a:lnTo>
                  <a:lnTo>
                    <a:pt x="51" y="0"/>
                  </a:lnTo>
                  <a:lnTo>
                    <a:pt x="43" y="14"/>
                  </a:lnTo>
                  <a:lnTo>
                    <a:pt x="36" y="14"/>
                  </a:lnTo>
                  <a:lnTo>
                    <a:pt x="30" y="19"/>
                  </a:lnTo>
                  <a:lnTo>
                    <a:pt x="21" y="21"/>
                  </a:lnTo>
                  <a:lnTo>
                    <a:pt x="13" y="3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1" name="Freeform 57"/>
            <p:cNvSpPr>
              <a:spLocks/>
            </p:cNvSpPr>
            <p:nvPr/>
          </p:nvSpPr>
          <p:spPr bwMode="auto">
            <a:xfrm>
              <a:off x="3271547" y="2478665"/>
              <a:ext cx="24256" cy="31428"/>
            </a:xfrm>
            <a:custGeom>
              <a:avLst/>
              <a:gdLst>
                <a:gd name="T0" fmla="*/ 0 w 46"/>
                <a:gd name="T1" fmla="*/ 2147483647 h 51"/>
                <a:gd name="T2" fmla="*/ 2147483647 w 46"/>
                <a:gd name="T3" fmla="*/ 2147483647 h 51"/>
                <a:gd name="T4" fmla="*/ 2147483647 w 46"/>
                <a:gd name="T5" fmla="*/ 2147483647 h 51"/>
                <a:gd name="T6" fmla="*/ 2147483647 w 46"/>
                <a:gd name="T7" fmla="*/ 0 h 51"/>
                <a:gd name="T8" fmla="*/ 2147483647 w 46"/>
                <a:gd name="T9" fmla="*/ 2147483647 h 51"/>
                <a:gd name="T10" fmla="*/ 2147483647 w 46"/>
                <a:gd name="T11" fmla="*/ 2147483647 h 51"/>
                <a:gd name="T12" fmla="*/ 2147483647 w 46"/>
                <a:gd name="T13" fmla="*/ 2147483647 h 51"/>
                <a:gd name="T14" fmla="*/ 2147483647 w 46"/>
                <a:gd name="T15" fmla="*/ 2147483647 h 51"/>
                <a:gd name="T16" fmla="*/ 2147483647 w 46"/>
                <a:gd name="T17" fmla="*/ 2147483647 h 51"/>
                <a:gd name="T18" fmla="*/ 2147483647 w 46"/>
                <a:gd name="T19" fmla="*/ 2147483647 h 51"/>
                <a:gd name="T20" fmla="*/ 2147483647 w 46"/>
                <a:gd name="T21" fmla="*/ 2147483647 h 51"/>
                <a:gd name="T22" fmla="*/ 0 w 46"/>
                <a:gd name="T23" fmla="*/ 2147483647 h 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1"/>
                <a:gd name="T38" fmla="*/ 46 w 46"/>
                <a:gd name="T39" fmla="*/ 51 h 5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1">
                  <a:moveTo>
                    <a:pt x="0" y="29"/>
                  </a:moveTo>
                  <a:lnTo>
                    <a:pt x="23" y="13"/>
                  </a:lnTo>
                  <a:lnTo>
                    <a:pt x="32" y="15"/>
                  </a:lnTo>
                  <a:lnTo>
                    <a:pt x="36" y="0"/>
                  </a:lnTo>
                  <a:lnTo>
                    <a:pt x="44" y="6"/>
                  </a:lnTo>
                  <a:lnTo>
                    <a:pt x="32" y="31"/>
                  </a:lnTo>
                  <a:lnTo>
                    <a:pt x="46" y="29"/>
                  </a:lnTo>
                  <a:lnTo>
                    <a:pt x="38" y="51"/>
                  </a:lnTo>
                  <a:lnTo>
                    <a:pt x="29" y="46"/>
                  </a:lnTo>
                  <a:lnTo>
                    <a:pt x="34" y="32"/>
                  </a:lnTo>
                  <a:lnTo>
                    <a:pt x="9" y="38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2" name="Freeform 58"/>
            <p:cNvSpPr>
              <a:spLocks/>
            </p:cNvSpPr>
            <p:nvPr/>
          </p:nvSpPr>
          <p:spPr bwMode="auto">
            <a:xfrm>
              <a:off x="3130422" y="2603216"/>
              <a:ext cx="33076" cy="30265"/>
            </a:xfrm>
            <a:custGeom>
              <a:avLst/>
              <a:gdLst>
                <a:gd name="T0" fmla="*/ 0 w 60"/>
                <a:gd name="T1" fmla="*/ 2147483647 h 49"/>
                <a:gd name="T2" fmla="*/ 2147483647 w 60"/>
                <a:gd name="T3" fmla="*/ 2147483647 h 49"/>
                <a:gd name="T4" fmla="*/ 2147483647 w 60"/>
                <a:gd name="T5" fmla="*/ 2147483647 h 49"/>
                <a:gd name="T6" fmla="*/ 2147483647 w 60"/>
                <a:gd name="T7" fmla="*/ 2147483647 h 49"/>
                <a:gd name="T8" fmla="*/ 2147483647 w 60"/>
                <a:gd name="T9" fmla="*/ 2147483647 h 49"/>
                <a:gd name="T10" fmla="*/ 2147483647 w 60"/>
                <a:gd name="T11" fmla="*/ 0 h 49"/>
                <a:gd name="T12" fmla="*/ 2147483647 w 60"/>
                <a:gd name="T13" fmla="*/ 2147483647 h 49"/>
                <a:gd name="T14" fmla="*/ 2147483647 w 60"/>
                <a:gd name="T15" fmla="*/ 2147483647 h 49"/>
                <a:gd name="T16" fmla="*/ 2147483647 w 60"/>
                <a:gd name="T17" fmla="*/ 2147483647 h 49"/>
                <a:gd name="T18" fmla="*/ 2147483647 w 60"/>
                <a:gd name="T19" fmla="*/ 2147483647 h 49"/>
                <a:gd name="T20" fmla="*/ 0 w 60"/>
                <a:gd name="T21" fmla="*/ 2147483647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"/>
                <a:gd name="T34" fmla="*/ 0 h 49"/>
                <a:gd name="T35" fmla="*/ 60 w 60"/>
                <a:gd name="T36" fmla="*/ 49 h 4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" h="49">
                  <a:moveTo>
                    <a:pt x="0" y="49"/>
                  </a:moveTo>
                  <a:lnTo>
                    <a:pt x="3" y="28"/>
                  </a:lnTo>
                  <a:lnTo>
                    <a:pt x="28" y="11"/>
                  </a:lnTo>
                  <a:lnTo>
                    <a:pt x="36" y="17"/>
                  </a:lnTo>
                  <a:lnTo>
                    <a:pt x="45" y="1"/>
                  </a:lnTo>
                  <a:lnTo>
                    <a:pt x="60" y="0"/>
                  </a:lnTo>
                  <a:lnTo>
                    <a:pt x="57" y="11"/>
                  </a:lnTo>
                  <a:lnTo>
                    <a:pt x="43" y="19"/>
                  </a:lnTo>
                  <a:lnTo>
                    <a:pt x="30" y="22"/>
                  </a:lnTo>
                  <a:lnTo>
                    <a:pt x="20" y="32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3" name="Freeform 59"/>
            <p:cNvSpPr>
              <a:spLocks/>
            </p:cNvSpPr>
            <p:nvPr/>
          </p:nvSpPr>
          <p:spPr bwMode="auto">
            <a:xfrm>
              <a:off x="3153575" y="2558983"/>
              <a:ext cx="35281" cy="47725"/>
            </a:xfrm>
            <a:custGeom>
              <a:avLst/>
              <a:gdLst>
                <a:gd name="T0" fmla="*/ 2147483647 w 65"/>
                <a:gd name="T1" fmla="*/ 2147483647 h 76"/>
                <a:gd name="T2" fmla="*/ 2147483647 w 65"/>
                <a:gd name="T3" fmla="*/ 2147483647 h 76"/>
                <a:gd name="T4" fmla="*/ 2147483647 w 65"/>
                <a:gd name="T5" fmla="*/ 2147483647 h 76"/>
                <a:gd name="T6" fmla="*/ 2147483647 w 65"/>
                <a:gd name="T7" fmla="*/ 2147483647 h 76"/>
                <a:gd name="T8" fmla="*/ 0 w 65"/>
                <a:gd name="T9" fmla="*/ 2147483647 h 76"/>
                <a:gd name="T10" fmla="*/ 2147483647 w 65"/>
                <a:gd name="T11" fmla="*/ 2147483647 h 76"/>
                <a:gd name="T12" fmla="*/ 2147483647 w 65"/>
                <a:gd name="T13" fmla="*/ 2147483647 h 76"/>
                <a:gd name="T14" fmla="*/ 2147483647 w 65"/>
                <a:gd name="T15" fmla="*/ 2147483647 h 76"/>
                <a:gd name="T16" fmla="*/ 2147483647 w 65"/>
                <a:gd name="T17" fmla="*/ 2147483647 h 76"/>
                <a:gd name="T18" fmla="*/ 2147483647 w 65"/>
                <a:gd name="T19" fmla="*/ 2147483647 h 76"/>
                <a:gd name="T20" fmla="*/ 2147483647 w 65"/>
                <a:gd name="T21" fmla="*/ 0 h 76"/>
                <a:gd name="T22" fmla="*/ 2147483647 w 65"/>
                <a:gd name="T23" fmla="*/ 2147483647 h 76"/>
                <a:gd name="T24" fmla="*/ 2147483647 w 65"/>
                <a:gd name="T25" fmla="*/ 2147483647 h 76"/>
                <a:gd name="T26" fmla="*/ 2147483647 w 65"/>
                <a:gd name="T27" fmla="*/ 2147483647 h 76"/>
                <a:gd name="T28" fmla="*/ 2147483647 w 65"/>
                <a:gd name="T29" fmla="*/ 2147483647 h 76"/>
                <a:gd name="T30" fmla="*/ 2147483647 w 65"/>
                <a:gd name="T31" fmla="*/ 2147483647 h 76"/>
                <a:gd name="T32" fmla="*/ 2147483647 w 65"/>
                <a:gd name="T33" fmla="*/ 2147483647 h 76"/>
                <a:gd name="T34" fmla="*/ 2147483647 w 65"/>
                <a:gd name="T35" fmla="*/ 2147483647 h 76"/>
                <a:gd name="T36" fmla="*/ 2147483647 w 65"/>
                <a:gd name="T37" fmla="*/ 2147483647 h 7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5"/>
                <a:gd name="T58" fmla="*/ 0 h 76"/>
                <a:gd name="T59" fmla="*/ 65 w 65"/>
                <a:gd name="T60" fmla="*/ 76 h 7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5" h="76">
                  <a:moveTo>
                    <a:pt x="40" y="76"/>
                  </a:moveTo>
                  <a:lnTo>
                    <a:pt x="25" y="72"/>
                  </a:lnTo>
                  <a:lnTo>
                    <a:pt x="31" y="53"/>
                  </a:lnTo>
                  <a:lnTo>
                    <a:pt x="16" y="59"/>
                  </a:lnTo>
                  <a:lnTo>
                    <a:pt x="0" y="55"/>
                  </a:lnTo>
                  <a:lnTo>
                    <a:pt x="2" y="44"/>
                  </a:lnTo>
                  <a:lnTo>
                    <a:pt x="12" y="40"/>
                  </a:lnTo>
                  <a:lnTo>
                    <a:pt x="17" y="23"/>
                  </a:lnTo>
                  <a:lnTo>
                    <a:pt x="27" y="46"/>
                  </a:lnTo>
                  <a:lnTo>
                    <a:pt x="36" y="21"/>
                  </a:lnTo>
                  <a:lnTo>
                    <a:pt x="48" y="0"/>
                  </a:lnTo>
                  <a:lnTo>
                    <a:pt x="50" y="19"/>
                  </a:lnTo>
                  <a:lnTo>
                    <a:pt x="44" y="31"/>
                  </a:lnTo>
                  <a:lnTo>
                    <a:pt x="42" y="50"/>
                  </a:lnTo>
                  <a:lnTo>
                    <a:pt x="54" y="31"/>
                  </a:lnTo>
                  <a:lnTo>
                    <a:pt x="61" y="33"/>
                  </a:lnTo>
                  <a:lnTo>
                    <a:pt x="65" y="42"/>
                  </a:lnTo>
                  <a:lnTo>
                    <a:pt x="59" y="55"/>
                  </a:lnTo>
                  <a:lnTo>
                    <a:pt x="40" y="7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4" name="Freeform 60"/>
            <p:cNvSpPr>
              <a:spLocks/>
            </p:cNvSpPr>
            <p:nvPr/>
          </p:nvSpPr>
          <p:spPr bwMode="auto">
            <a:xfrm>
              <a:off x="3083013" y="3303960"/>
              <a:ext cx="115767" cy="72170"/>
            </a:xfrm>
            <a:custGeom>
              <a:avLst/>
              <a:gdLst>
                <a:gd name="T0" fmla="*/ 2147483647 w 215"/>
                <a:gd name="T1" fmla="*/ 2147483647 h 118"/>
                <a:gd name="T2" fmla="*/ 2147483647 w 215"/>
                <a:gd name="T3" fmla="*/ 2147483647 h 118"/>
                <a:gd name="T4" fmla="*/ 2147483647 w 215"/>
                <a:gd name="T5" fmla="*/ 2147483647 h 118"/>
                <a:gd name="T6" fmla="*/ 2147483647 w 215"/>
                <a:gd name="T7" fmla="*/ 2147483647 h 118"/>
                <a:gd name="T8" fmla="*/ 2147483647 w 215"/>
                <a:gd name="T9" fmla="*/ 2147483647 h 118"/>
                <a:gd name="T10" fmla="*/ 2147483647 w 215"/>
                <a:gd name="T11" fmla="*/ 2147483647 h 118"/>
                <a:gd name="T12" fmla="*/ 2147483647 w 215"/>
                <a:gd name="T13" fmla="*/ 2147483647 h 118"/>
                <a:gd name="T14" fmla="*/ 2147483647 w 215"/>
                <a:gd name="T15" fmla="*/ 2147483647 h 118"/>
                <a:gd name="T16" fmla="*/ 2147483647 w 215"/>
                <a:gd name="T17" fmla="*/ 2147483647 h 118"/>
                <a:gd name="T18" fmla="*/ 2147483647 w 215"/>
                <a:gd name="T19" fmla="*/ 2147483647 h 118"/>
                <a:gd name="T20" fmla="*/ 2147483647 w 215"/>
                <a:gd name="T21" fmla="*/ 0 h 118"/>
                <a:gd name="T22" fmla="*/ 2147483647 w 215"/>
                <a:gd name="T23" fmla="*/ 2147483647 h 118"/>
                <a:gd name="T24" fmla="*/ 2147483647 w 215"/>
                <a:gd name="T25" fmla="*/ 2147483647 h 118"/>
                <a:gd name="T26" fmla="*/ 2147483647 w 215"/>
                <a:gd name="T27" fmla="*/ 2147483647 h 118"/>
                <a:gd name="T28" fmla="*/ 2147483647 w 215"/>
                <a:gd name="T29" fmla="*/ 2147483647 h 118"/>
                <a:gd name="T30" fmla="*/ 2147483647 w 215"/>
                <a:gd name="T31" fmla="*/ 2147483647 h 118"/>
                <a:gd name="T32" fmla="*/ 2147483647 w 215"/>
                <a:gd name="T33" fmla="*/ 2147483647 h 118"/>
                <a:gd name="T34" fmla="*/ 2147483647 w 215"/>
                <a:gd name="T35" fmla="*/ 2147483647 h 118"/>
                <a:gd name="T36" fmla="*/ 2147483647 w 215"/>
                <a:gd name="T37" fmla="*/ 2147483647 h 118"/>
                <a:gd name="T38" fmla="*/ 2147483647 w 215"/>
                <a:gd name="T39" fmla="*/ 2147483647 h 118"/>
                <a:gd name="T40" fmla="*/ 2147483647 w 215"/>
                <a:gd name="T41" fmla="*/ 2147483647 h 118"/>
                <a:gd name="T42" fmla="*/ 2147483647 w 215"/>
                <a:gd name="T43" fmla="*/ 2147483647 h 118"/>
                <a:gd name="T44" fmla="*/ 2147483647 w 215"/>
                <a:gd name="T45" fmla="*/ 2147483647 h 118"/>
                <a:gd name="T46" fmla="*/ 2147483647 w 215"/>
                <a:gd name="T47" fmla="*/ 2147483647 h 118"/>
                <a:gd name="T48" fmla="*/ 2147483647 w 215"/>
                <a:gd name="T49" fmla="*/ 2147483647 h 118"/>
                <a:gd name="T50" fmla="*/ 2147483647 w 215"/>
                <a:gd name="T51" fmla="*/ 2147483647 h 118"/>
                <a:gd name="T52" fmla="*/ 2147483647 w 215"/>
                <a:gd name="T53" fmla="*/ 2147483647 h 118"/>
                <a:gd name="T54" fmla="*/ 2147483647 w 215"/>
                <a:gd name="T55" fmla="*/ 2147483647 h 118"/>
                <a:gd name="T56" fmla="*/ 2147483647 w 215"/>
                <a:gd name="T57" fmla="*/ 2147483647 h 118"/>
                <a:gd name="T58" fmla="*/ 2147483647 w 215"/>
                <a:gd name="T59" fmla="*/ 2147483647 h 118"/>
                <a:gd name="T60" fmla="*/ 2147483647 w 215"/>
                <a:gd name="T61" fmla="*/ 2147483647 h 118"/>
                <a:gd name="T62" fmla="*/ 2147483647 w 215"/>
                <a:gd name="T63" fmla="*/ 2147483647 h 118"/>
                <a:gd name="T64" fmla="*/ 2147483647 w 215"/>
                <a:gd name="T65" fmla="*/ 2147483647 h 118"/>
                <a:gd name="T66" fmla="*/ 0 w 215"/>
                <a:gd name="T67" fmla="*/ 2147483647 h 118"/>
                <a:gd name="T68" fmla="*/ 2147483647 w 215"/>
                <a:gd name="T69" fmla="*/ 2147483647 h 1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5"/>
                <a:gd name="T106" fmla="*/ 0 h 118"/>
                <a:gd name="T107" fmla="*/ 215 w 215"/>
                <a:gd name="T108" fmla="*/ 118 h 1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5" h="118">
                  <a:moveTo>
                    <a:pt x="4" y="65"/>
                  </a:moveTo>
                  <a:lnTo>
                    <a:pt x="48" y="70"/>
                  </a:lnTo>
                  <a:lnTo>
                    <a:pt x="82" y="59"/>
                  </a:lnTo>
                  <a:lnTo>
                    <a:pt x="93" y="70"/>
                  </a:lnTo>
                  <a:lnTo>
                    <a:pt x="99" y="51"/>
                  </a:lnTo>
                  <a:lnTo>
                    <a:pt x="86" y="42"/>
                  </a:lnTo>
                  <a:lnTo>
                    <a:pt x="88" y="32"/>
                  </a:lnTo>
                  <a:lnTo>
                    <a:pt x="107" y="27"/>
                  </a:lnTo>
                  <a:lnTo>
                    <a:pt x="120" y="19"/>
                  </a:lnTo>
                  <a:lnTo>
                    <a:pt x="137" y="21"/>
                  </a:lnTo>
                  <a:lnTo>
                    <a:pt x="150" y="0"/>
                  </a:lnTo>
                  <a:lnTo>
                    <a:pt x="200" y="8"/>
                  </a:lnTo>
                  <a:lnTo>
                    <a:pt x="198" y="23"/>
                  </a:lnTo>
                  <a:lnTo>
                    <a:pt x="202" y="27"/>
                  </a:lnTo>
                  <a:lnTo>
                    <a:pt x="211" y="31"/>
                  </a:lnTo>
                  <a:lnTo>
                    <a:pt x="215" y="32"/>
                  </a:lnTo>
                  <a:lnTo>
                    <a:pt x="215" y="48"/>
                  </a:lnTo>
                  <a:lnTo>
                    <a:pt x="203" y="63"/>
                  </a:lnTo>
                  <a:lnTo>
                    <a:pt x="188" y="59"/>
                  </a:lnTo>
                  <a:lnTo>
                    <a:pt x="190" y="72"/>
                  </a:lnTo>
                  <a:lnTo>
                    <a:pt x="184" y="80"/>
                  </a:lnTo>
                  <a:lnTo>
                    <a:pt x="186" y="91"/>
                  </a:lnTo>
                  <a:lnTo>
                    <a:pt x="181" y="97"/>
                  </a:lnTo>
                  <a:lnTo>
                    <a:pt x="152" y="108"/>
                  </a:lnTo>
                  <a:lnTo>
                    <a:pt x="135" y="118"/>
                  </a:lnTo>
                  <a:lnTo>
                    <a:pt x="108" y="110"/>
                  </a:lnTo>
                  <a:lnTo>
                    <a:pt x="80" y="105"/>
                  </a:lnTo>
                  <a:lnTo>
                    <a:pt x="76" y="89"/>
                  </a:lnTo>
                  <a:lnTo>
                    <a:pt x="48" y="89"/>
                  </a:lnTo>
                  <a:lnTo>
                    <a:pt x="40" y="97"/>
                  </a:lnTo>
                  <a:lnTo>
                    <a:pt x="25" y="97"/>
                  </a:lnTo>
                  <a:lnTo>
                    <a:pt x="17" y="88"/>
                  </a:lnTo>
                  <a:lnTo>
                    <a:pt x="8" y="95"/>
                  </a:lnTo>
                  <a:lnTo>
                    <a:pt x="0" y="88"/>
                  </a:lnTo>
                  <a:lnTo>
                    <a:pt x="4" y="6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5" name="Freeform 61"/>
            <p:cNvSpPr>
              <a:spLocks/>
            </p:cNvSpPr>
            <p:nvPr/>
          </p:nvSpPr>
          <p:spPr bwMode="auto">
            <a:xfrm>
              <a:off x="3145858" y="3131684"/>
              <a:ext cx="157663" cy="172276"/>
            </a:xfrm>
            <a:custGeom>
              <a:avLst/>
              <a:gdLst>
                <a:gd name="T0" fmla="*/ 2147483647 w 291"/>
                <a:gd name="T1" fmla="*/ 2147483647 h 275"/>
                <a:gd name="T2" fmla="*/ 2147483647 w 291"/>
                <a:gd name="T3" fmla="*/ 2147483647 h 275"/>
                <a:gd name="T4" fmla="*/ 2147483647 w 291"/>
                <a:gd name="T5" fmla="*/ 2147483647 h 275"/>
                <a:gd name="T6" fmla="*/ 2147483647 w 291"/>
                <a:gd name="T7" fmla="*/ 2147483647 h 275"/>
                <a:gd name="T8" fmla="*/ 2147483647 w 291"/>
                <a:gd name="T9" fmla="*/ 2147483647 h 275"/>
                <a:gd name="T10" fmla="*/ 2147483647 w 291"/>
                <a:gd name="T11" fmla="*/ 2147483647 h 275"/>
                <a:gd name="T12" fmla="*/ 0 w 291"/>
                <a:gd name="T13" fmla="*/ 2147483647 h 275"/>
                <a:gd name="T14" fmla="*/ 2147483647 w 291"/>
                <a:gd name="T15" fmla="*/ 2147483647 h 275"/>
                <a:gd name="T16" fmla="*/ 2147483647 w 291"/>
                <a:gd name="T17" fmla="*/ 2147483647 h 275"/>
                <a:gd name="T18" fmla="*/ 2147483647 w 291"/>
                <a:gd name="T19" fmla="*/ 2147483647 h 275"/>
                <a:gd name="T20" fmla="*/ 2147483647 w 291"/>
                <a:gd name="T21" fmla="*/ 2147483647 h 275"/>
                <a:gd name="T22" fmla="*/ 2147483647 w 291"/>
                <a:gd name="T23" fmla="*/ 2147483647 h 275"/>
                <a:gd name="T24" fmla="*/ 2147483647 w 291"/>
                <a:gd name="T25" fmla="*/ 2147483647 h 275"/>
                <a:gd name="T26" fmla="*/ 2147483647 w 291"/>
                <a:gd name="T27" fmla="*/ 2147483647 h 275"/>
                <a:gd name="T28" fmla="*/ 2147483647 w 291"/>
                <a:gd name="T29" fmla="*/ 2147483647 h 275"/>
                <a:gd name="T30" fmla="*/ 2147483647 w 291"/>
                <a:gd name="T31" fmla="*/ 2147483647 h 275"/>
                <a:gd name="T32" fmla="*/ 2147483647 w 291"/>
                <a:gd name="T33" fmla="*/ 0 h 275"/>
                <a:gd name="T34" fmla="*/ 2147483647 w 291"/>
                <a:gd name="T35" fmla="*/ 2147483647 h 275"/>
                <a:gd name="T36" fmla="*/ 2147483647 w 291"/>
                <a:gd name="T37" fmla="*/ 2147483647 h 275"/>
                <a:gd name="T38" fmla="*/ 2147483647 w 291"/>
                <a:gd name="T39" fmla="*/ 2147483647 h 275"/>
                <a:gd name="T40" fmla="*/ 2147483647 w 291"/>
                <a:gd name="T41" fmla="*/ 2147483647 h 275"/>
                <a:gd name="T42" fmla="*/ 2147483647 w 291"/>
                <a:gd name="T43" fmla="*/ 2147483647 h 275"/>
                <a:gd name="T44" fmla="*/ 2147483647 w 291"/>
                <a:gd name="T45" fmla="*/ 2147483647 h 275"/>
                <a:gd name="T46" fmla="*/ 2147483647 w 291"/>
                <a:gd name="T47" fmla="*/ 2147483647 h 275"/>
                <a:gd name="T48" fmla="*/ 2147483647 w 291"/>
                <a:gd name="T49" fmla="*/ 2147483647 h 275"/>
                <a:gd name="T50" fmla="*/ 2147483647 w 291"/>
                <a:gd name="T51" fmla="*/ 2147483647 h 275"/>
                <a:gd name="T52" fmla="*/ 2147483647 w 291"/>
                <a:gd name="T53" fmla="*/ 2147483647 h 275"/>
                <a:gd name="T54" fmla="*/ 2147483647 w 291"/>
                <a:gd name="T55" fmla="*/ 2147483647 h 275"/>
                <a:gd name="T56" fmla="*/ 2147483647 w 291"/>
                <a:gd name="T57" fmla="*/ 2147483647 h 275"/>
                <a:gd name="T58" fmla="*/ 2147483647 w 291"/>
                <a:gd name="T59" fmla="*/ 2147483647 h 275"/>
                <a:gd name="T60" fmla="*/ 2147483647 w 291"/>
                <a:gd name="T61" fmla="*/ 2147483647 h 275"/>
                <a:gd name="T62" fmla="*/ 2147483647 w 291"/>
                <a:gd name="T63" fmla="*/ 2147483647 h 275"/>
                <a:gd name="T64" fmla="*/ 2147483647 w 291"/>
                <a:gd name="T65" fmla="*/ 2147483647 h 275"/>
                <a:gd name="T66" fmla="*/ 2147483647 w 291"/>
                <a:gd name="T67" fmla="*/ 2147483647 h 275"/>
                <a:gd name="T68" fmla="*/ 2147483647 w 291"/>
                <a:gd name="T69" fmla="*/ 2147483647 h 275"/>
                <a:gd name="T70" fmla="*/ 2147483647 w 291"/>
                <a:gd name="T71" fmla="*/ 2147483647 h 275"/>
                <a:gd name="T72" fmla="*/ 2147483647 w 291"/>
                <a:gd name="T73" fmla="*/ 2147483647 h 275"/>
                <a:gd name="T74" fmla="*/ 2147483647 w 291"/>
                <a:gd name="T75" fmla="*/ 2147483647 h 275"/>
                <a:gd name="T76" fmla="*/ 2147483647 w 291"/>
                <a:gd name="T77" fmla="*/ 2147483647 h 275"/>
                <a:gd name="T78" fmla="*/ 2147483647 w 291"/>
                <a:gd name="T79" fmla="*/ 2147483647 h 275"/>
                <a:gd name="T80" fmla="*/ 2147483647 w 291"/>
                <a:gd name="T81" fmla="*/ 2147483647 h 275"/>
                <a:gd name="T82" fmla="*/ 2147483647 w 291"/>
                <a:gd name="T83" fmla="*/ 2147483647 h 275"/>
                <a:gd name="T84" fmla="*/ 2147483647 w 291"/>
                <a:gd name="T85" fmla="*/ 2147483647 h 275"/>
                <a:gd name="T86" fmla="*/ 2147483647 w 291"/>
                <a:gd name="T87" fmla="*/ 2147483647 h 275"/>
                <a:gd name="T88" fmla="*/ 2147483647 w 291"/>
                <a:gd name="T89" fmla="*/ 2147483647 h 275"/>
                <a:gd name="T90" fmla="*/ 2147483647 w 291"/>
                <a:gd name="T91" fmla="*/ 2147483647 h 275"/>
                <a:gd name="T92" fmla="*/ 2147483647 w 291"/>
                <a:gd name="T93" fmla="*/ 2147483647 h 275"/>
                <a:gd name="T94" fmla="*/ 2147483647 w 291"/>
                <a:gd name="T95" fmla="*/ 2147483647 h 275"/>
                <a:gd name="T96" fmla="*/ 2147483647 w 291"/>
                <a:gd name="T97" fmla="*/ 2147483647 h 275"/>
                <a:gd name="T98" fmla="*/ 2147483647 w 291"/>
                <a:gd name="T99" fmla="*/ 2147483647 h 275"/>
                <a:gd name="T100" fmla="*/ 2147483647 w 291"/>
                <a:gd name="T101" fmla="*/ 2147483647 h 275"/>
                <a:gd name="T102" fmla="*/ 2147483647 w 291"/>
                <a:gd name="T103" fmla="*/ 2147483647 h 275"/>
                <a:gd name="T104" fmla="*/ 2147483647 w 291"/>
                <a:gd name="T105" fmla="*/ 2147483647 h 275"/>
                <a:gd name="T106" fmla="*/ 2147483647 w 291"/>
                <a:gd name="T107" fmla="*/ 2147483647 h 275"/>
                <a:gd name="T108" fmla="*/ 2147483647 w 291"/>
                <a:gd name="T109" fmla="*/ 2147483647 h 275"/>
                <a:gd name="T110" fmla="*/ 2147483647 w 291"/>
                <a:gd name="T111" fmla="*/ 2147483647 h 275"/>
                <a:gd name="T112" fmla="*/ 2147483647 w 291"/>
                <a:gd name="T113" fmla="*/ 2147483647 h 275"/>
                <a:gd name="T114" fmla="*/ 2147483647 w 291"/>
                <a:gd name="T115" fmla="*/ 2147483647 h 275"/>
                <a:gd name="T116" fmla="*/ 2147483647 w 291"/>
                <a:gd name="T117" fmla="*/ 2147483647 h 275"/>
                <a:gd name="T118" fmla="*/ 2147483647 w 291"/>
                <a:gd name="T119" fmla="*/ 2147483647 h 275"/>
                <a:gd name="T120" fmla="*/ 2147483647 w 291"/>
                <a:gd name="T121" fmla="*/ 2147483647 h 275"/>
                <a:gd name="T122" fmla="*/ 2147483647 w 291"/>
                <a:gd name="T123" fmla="*/ 2147483647 h 27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91"/>
                <a:gd name="T187" fmla="*/ 0 h 275"/>
                <a:gd name="T188" fmla="*/ 291 w 291"/>
                <a:gd name="T189" fmla="*/ 275 h 27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91" h="275">
                  <a:moveTo>
                    <a:pt x="29" y="193"/>
                  </a:moveTo>
                  <a:lnTo>
                    <a:pt x="30" y="178"/>
                  </a:lnTo>
                  <a:lnTo>
                    <a:pt x="17" y="165"/>
                  </a:lnTo>
                  <a:lnTo>
                    <a:pt x="21" y="138"/>
                  </a:lnTo>
                  <a:lnTo>
                    <a:pt x="17" y="119"/>
                  </a:lnTo>
                  <a:lnTo>
                    <a:pt x="4" y="102"/>
                  </a:lnTo>
                  <a:lnTo>
                    <a:pt x="0" y="68"/>
                  </a:lnTo>
                  <a:lnTo>
                    <a:pt x="2" y="57"/>
                  </a:lnTo>
                  <a:lnTo>
                    <a:pt x="10" y="57"/>
                  </a:lnTo>
                  <a:lnTo>
                    <a:pt x="15" y="70"/>
                  </a:lnTo>
                  <a:lnTo>
                    <a:pt x="19" y="57"/>
                  </a:lnTo>
                  <a:lnTo>
                    <a:pt x="29" y="42"/>
                  </a:lnTo>
                  <a:lnTo>
                    <a:pt x="44" y="30"/>
                  </a:lnTo>
                  <a:lnTo>
                    <a:pt x="70" y="26"/>
                  </a:lnTo>
                  <a:lnTo>
                    <a:pt x="80" y="13"/>
                  </a:lnTo>
                  <a:lnTo>
                    <a:pt x="103" y="2"/>
                  </a:lnTo>
                  <a:lnTo>
                    <a:pt x="120" y="0"/>
                  </a:lnTo>
                  <a:lnTo>
                    <a:pt x="141" y="4"/>
                  </a:lnTo>
                  <a:lnTo>
                    <a:pt x="141" y="5"/>
                  </a:lnTo>
                  <a:lnTo>
                    <a:pt x="127" y="9"/>
                  </a:lnTo>
                  <a:lnTo>
                    <a:pt x="131" y="19"/>
                  </a:lnTo>
                  <a:lnTo>
                    <a:pt x="154" y="13"/>
                  </a:lnTo>
                  <a:lnTo>
                    <a:pt x="154" y="23"/>
                  </a:lnTo>
                  <a:lnTo>
                    <a:pt x="163" y="17"/>
                  </a:lnTo>
                  <a:lnTo>
                    <a:pt x="173" y="21"/>
                  </a:lnTo>
                  <a:lnTo>
                    <a:pt x="211" y="28"/>
                  </a:lnTo>
                  <a:lnTo>
                    <a:pt x="259" y="30"/>
                  </a:lnTo>
                  <a:lnTo>
                    <a:pt x="278" y="47"/>
                  </a:lnTo>
                  <a:lnTo>
                    <a:pt x="278" y="57"/>
                  </a:lnTo>
                  <a:lnTo>
                    <a:pt x="279" y="79"/>
                  </a:lnTo>
                  <a:lnTo>
                    <a:pt x="289" y="98"/>
                  </a:lnTo>
                  <a:lnTo>
                    <a:pt x="287" y="114"/>
                  </a:lnTo>
                  <a:lnTo>
                    <a:pt x="266" y="121"/>
                  </a:lnTo>
                  <a:lnTo>
                    <a:pt x="278" y="140"/>
                  </a:lnTo>
                  <a:lnTo>
                    <a:pt x="274" y="159"/>
                  </a:lnTo>
                  <a:lnTo>
                    <a:pt x="274" y="169"/>
                  </a:lnTo>
                  <a:lnTo>
                    <a:pt x="283" y="197"/>
                  </a:lnTo>
                  <a:lnTo>
                    <a:pt x="279" y="209"/>
                  </a:lnTo>
                  <a:lnTo>
                    <a:pt x="291" y="218"/>
                  </a:lnTo>
                  <a:lnTo>
                    <a:pt x="283" y="228"/>
                  </a:lnTo>
                  <a:lnTo>
                    <a:pt x="262" y="241"/>
                  </a:lnTo>
                  <a:lnTo>
                    <a:pt x="247" y="262"/>
                  </a:lnTo>
                  <a:lnTo>
                    <a:pt x="257" y="273"/>
                  </a:lnTo>
                  <a:lnTo>
                    <a:pt x="243" y="275"/>
                  </a:lnTo>
                  <a:lnTo>
                    <a:pt x="219" y="260"/>
                  </a:lnTo>
                  <a:lnTo>
                    <a:pt x="198" y="268"/>
                  </a:lnTo>
                  <a:lnTo>
                    <a:pt x="186" y="260"/>
                  </a:lnTo>
                  <a:lnTo>
                    <a:pt x="173" y="271"/>
                  </a:lnTo>
                  <a:lnTo>
                    <a:pt x="160" y="256"/>
                  </a:lnTo>
                  <a:lnTo>
                    <a:pt x="137" y="264"/>
                  </a:lnTo>
                  <a:lnTo>
                    <a:pt x="137" y="258"/>
                  </a:lnTo>
                  <a:lnTo>
                    <a:pt x="133" y="235"/>
                  </a:lnTo>
                  <a:lnTo>
                    <a:pt x="114" y="239"/>
                  </a:lnTo>
                  <a:lnTo>
                    <a:pt x="112" y="218"/>
                  </a:lnTo>
                  <a:lnTo>
                    <a:pt x="91" y="216"/>
                  </a:lnTo>
                  <a:lnTo>
                    <a:pt x="82" y="230"/>
                  </a:lnTo>
                  <a:lnTo>
                    <a:pt x="63" y="224"/>
                  </a:lnTo>
                  <a:lnTo>
                    <a:pt x="70" y="212"/>
                  </a:lnTo>
                  <a:lnTo>
                    <a:pt x="59" y="209"/>
                  </a:lnTo>
                  <a:lnTo>
                    <a:pt x="44" y="192"/>
                  </a:lnTo>
                  <a:lnTo>
                    <a:pt x="36" y="199"/>
                  </a:lnTo>
                  <a:lnTo>
                    <a:pt x="29" y="19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6" name="Freeform 62"/>
            <p:cNvSpPr>
              <a:spLocks/>
            </p:cNvSpPr>
            <p:nvPr/>
          </p:nvSpPr>
          <p:spPr bwMode="auto">
            <a:xfrm>
              <a:off x="2790841" y="3478565"/>
              <a:ext cx="52922" cy="123387"/>
            </a:xfrm>
            <a:custGeom>
              <a:avLst/>
              <a:gdLst>
                <a:gd name="T0" fmla="*/ 2147483647 w 97"/>
                <a:gd name="T1" fmla="*/ 2147483647 h 198"/>
                <a:gd name="T2" fmla="*/ 2147483647 w 97"/>
                <a:gd name="T3" fmla="*/ 2147483647 h 198"/>
                <a:gd name="T4" fmla="*/ 2147483647 w 97"/>
                <a:gd name="T5" fmla="*/ 2147483647 h 198"/>
                <a:gd name="T6" fmla="*/ 2147483647 w 97"/>
                <a:gd name="T7" fmla="*/ 2147483647 h 198"/>
                <a:gd name="T8" fmla="*/ 2147483647 w 97"/>
                <a:gd name="T9" fmla="*/ 2147483647 h 198"/>
                <a:gd name="T10" fmla="*/ 2147483647 w 97"/>
                <a:gd name="T11" fmla="*/ 2147483647 h 198"/>
                <a:gd name="T12" fmla="*/ 2147483647 w 97"/>
                <a:gd name="T13" fmla="*/ 2147483647 h 198"/>
                <a:gd name="T14" fmla="*/ 2147483647 w 97"/>
                <a:gd name="T15" fmla="*/ 2147483647 h 198"/>
                <a:gd name="T16" fmla="*/ 2147483647 w 97"/>
                <a:gd name="T17" fmla="*/ 2147483647 h 198"/>
                <a:gd name="T18" fmla="*/ 2147483647 w 97"/>
                <a:gd name="T19" fmla="*/ 2147483647 h 198"/>
                <a:gd name="T20" fmla="*/ 2147483647 w 97"/>
                <a:gd name="T21" fmla="*/ 2147483647 h 198"/>
                <a:gd name="T22" fmla="*/ 0 w 97"/>
                <a:gd name="T23" fmla="*/ 2147483647 h 198"/>
                <a:gd name="T24" fmla="*/ 2147483647 w 97"/>
                <a:gd name="T25" fmla="*/ 2147483647 h 198"/>
                <a:gd name="T26" fmla="*/ 2147483647 w 97"/>
                <a:gd name="T27" fmla="*/ 2147483647 h 198"/>
                <a:gd name="T28" fmla="*/ 2147483647 w 97"/>
                <a:gd name="T29" fmla="*/ 2147483647 h 198"/>
                <a:gd name="T30" fmla="*/ 2147483647 w 97"/>
                <a:gd name="T31" fmla="*/ 2147483647 h 198"/>
                <a:gd name="T32" fmla="*/ 2147483647 w 97"/>
                <a:gd name="T33" fmla="*/ 2147483647 h 198"/>
                <a:gd name="T34" fmla="*/ 2147483647 w 97"/>
                <a:gd name="T35" fmla="*/ 2147483647 h 198"/>
                <a:gd name="T36" fmla="*/ 2147483647 w 97"/>
                <a:gd name="T37" fmla="*/ 2147483647 h 198"/>
                <a:gd name="T38" fmla="*/ 2147483647 w 97"/>
                <a:gd name="T39" fmla="*/ 2147483647 h 198"/>
                <a:gd name="T40" fmla="*/ 2147483647 w 97"/>
                <a:gd name="T41" fmla="*/ 0 h 198"/>
                <a:gd name="T42" fmla="*/ 2147483647 w 97"/>
                <a:gd name="T43" fmla="*/ 2147483647 h 198"/>
                <a:gd name="T44" fmla="*/ 2147483647 w 97"/>
                <a:gd name="T45" fmla="*/ 2147483647 h 198"/>
                <a:gd name="T46" fmla="*/ 2147483647 w 97"/>
                <a:gd name="T47" fmla="*/ 2147483647 h 198"/>
                <a:gd name="T48" fmla="*/ 2147483647 w 97"/>
                <a:gd name="T49" fmla="*/ 2147483647 h 198"/>
                <a:gd name="T50" fmla="*/ 2147483647 w 97"/>
                <a:gd name="T51" fmla="*/ 2147483647 h 198"/>
                <a:gd name="T52" fmla="*/ 2147483647 w 97"/>
                <a:gd name="T53" fmla="*/ 2147483647 h 198"/>
                <a:gd name="T54" fmla="*/ 2147483647 w 97"/>
                <a:gd name="T55" fmla="*/ 2147483647 h 198"/>
                <a:gd name="T56" fmla="*/ 2147483647 w 97"/>
                <a:gd name="T57" fmla="*/ 2147483647 h 198"/>
                <a:gd name="T58" fmla="*/ 2147483647 w 97"/>
                <a:gd name="T59" fmla="*/ 2147483647 h 198"/>
                <a:gd name="T60" fmla="*/ 2147483647 w 97"/>
                <a:gd name="T61" fmla="*/ 2147483647 h 198"/>
                <a:gd name="T62" fmla="*/ 2147483647 w 97"/>
                <a:gd name="T63" fmla="*/ 2147483647 h 198"/>
                <a:gd name="T64" fmla="*/ 2147483647 w 97"/>
                <a:gd name="T65" fmla="*/ 2147483647 h 198"/>
                <a:gd name="T66" fmla="*/ 2147483647 w 97"/>
                <a:gd name="T67" fmla="*/ 2147483647 h 1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7"/>
                <a:gd name="T103" fmla="*/ 0 h 198"/>
                <a:gd name="T104" fmla="*/ 97 w 97"/>
                <a:gd name="T105" fmla="*/ 198 h 1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7" h="198">
                  <a:moveTo>
                    <a:pt x="59" y="184"/>
                  </a:moveTo>
                  <a:lnTo>
                    <a:pt x="53" y="190"/>
                  </a:lnTo>
                  <a:lnTo>
                    <a:pt x="42" y="196"/>
                  </a:lnTo>
                  <a:lnTo>
                    <a:pt x="31" y="188"/>
                  </a:lnTo>
                  <a:lnTo>
                    <a:pt x="17" y="198"/>
                  </a:lnTo>
                  <a:lnTo>
                    <a:pt x="15" y="194"/>
                  </a:lnTo>
                  <a:lnTo>
                    <a:pt x="21" y="179"/>
                  </a:lnTo>
                  <a:lnTo>
                    <a:pt x="23" y="156"/>
                  </a:lnTo>
                  <a:lnTo>
                    <a:pt x="14" y="152"/>
                  </a:lnTo>
                  <a:lnTo>
                    <a:pt x="10" y="143"/>
                  </a:lnTo>
                  <a:lnTo>
                    <a:pt x="15" y="137"/>
                  </a:lnTo>
                  <a:lnTo>
                    <a:pt x="0" y="135"/>
                  </a:lnTo>
                  <a:lnTo>
                    <a:pt x="6" y="116"/>
                  </a:lnTo>
                  <a:lnTo>
                    <a:pt x="12" y="109"/>
                  </a:lnTo>
                  <a:lnTo>
                    <a:pt x="15" y="76"/>
                  </a:lnTo>
                  <a:lnTo>
                    <a:pt x="17" y="63"/>
                  </a:lnTo>
                  <a:lnTo>
                    <a:pt x="23" y="57"/>
                  </a:lnTo>
                  <a:lnTo>
                    <a:pt x="17" y="53"/>
                  </a:lnTo>
                  <a:lnTo>
                    <a:pt x="19" y="27"/>
                  </a:lnTo>
                  <a:lnTo>
                    <a:pt x="17" y="8"/>
                  </a:lnTo>
                  <a:lnTo>
                    <a:pt x="33" y="0"/>
                  </a:lnTo>
                  <a:lnTo>
                    <a:pt x="46" y="14"/>
                  </a:lnTo>
                  <a:lnTo>
                    <a:pt x="80" y="14"/>
                  </a:lnTo>
                  <a:lnTo>
                    <a:pt x="97" y="25"/>
                  </a:lnTo>
                  <a:lnTo>
                    <a:pt x="80" y="50"/>
                  </a:lnTo>
                  <a:lnTo>
                    <a:pt x="76" y="72"/>
                  </a:lnTo>
                  <a:lnTo>
                    <a:pt x="67" y="78"/>
                  </a:lnTo>
                  <a:lnTo>
                    <a:pt x="72" y="101"/>
                  </a:lnTo>
                  <a:lnTo>
                    <a:pt x="53" y="107"/>
                  </a:lnTo>
                  <a:lnTo>
                    <a:pt x="67" y="133"/>
                  </a:lnTo>
                  <a:lnTo>
                    <a:pt x="65" y="152"/>
                  </a:lnTo>
                  <a:lnTo>
                    <a:pt x="76" y="164"/>
                  </a:lnTo>
                  <a:lnTo>
                    <a:pt x="61" y="169"/>
                  </a:lnTo>
                  <a:lnTo>
                    <a:pt x="59" y="18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7" name="Freeform 63"/>
            <p:cNvSpPr>
              <a:spLocks/>
            </p:cNvSpPr>
            <p:nvPr/>
          </p:nvSpPr>
          <p:spPr bwMode="auto">
            <a:xfrm>
              <a:off x="2669562" y="3689253"/>
              <a:ext cx="13230" cy="9312"/>
            </a:xfrm>
            <a:custGeom>
              <a:avLst/>
              <a:gdLst>
                <a:gd name="T0" fmla="*/ 2147483647 w 25"/>
                <a:gd name="T1" fmla="*/ 0 h 16"/>
                <a:gd name="T2" fmla="*/ 2147483647 w 25"/>
                <a:gd name="T3" fmla="*/ 2147483647 h 16"/>
                <a:gd name="T4" fmla="*/ 2147483647 w 25"/>
                <a:gd name="T5" fmla="*/ 2147483647 h 16"/>
                <a:gd name="T6" fmla="*/ 0 w 25"/>
                <a:gd name="T7" fmla="*/ 2147483647 h 16"/>
                <a:gd name="T8" fmla="*/ 2147483647 w 25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16"/>
                <a:gd name="T17" fmla="*/ 25 w 25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16">
                  <a:moveTo>
                    <a:pt x="2" y="0"/>
                  </a:moveTo>
                  <a:lnTo>
                    <a:pt x="25" y="2"/>
                  </a:lnTo>
                  <a:lnTo>
                    <a:pt x="17" y="16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8" name="Freeform 64"/>
            <p:cNvSpPr>
              <a:spLocks/>
            </p:cNvSpPr>
            <p:nvPr/>
          </p:nvSpPr>
          <p:spPr bwMode="auto">
            <a:xfrm>
              <a:off x="3247291" y="3327241"/>
              <a:ext cx="140022" cy="116403"/>
            </a:xfrm>
            <a:custGeom>
              <a:avLst/>
              <a:gdLst>
                <a:gd name="T0" fmla="*/ 2147483647 w 257"/>
                <a:gd name="T1" fmla="*/ 2147483647 h 186"/>
                <a:gd name="T2" fmla="*/ 2147483647 w 257"/>
                <a:gd name="T3" fmla="*/ 2147483647 h 186"/>
                <a:gd name="T4" fmla="*/ 2147483647 w 257"/>
                <a:gd name="T5" fmla="*/ 2147483647 h 186"/>
                <a:gd name="T6" fmla="*/ 2147483647 w 257"/>
                <a:gd name="T7" fmla="*/ 2147483647 h 186"/>
                <a:gd name="T8" fmla="*/ 2147483647 w 257"/>
                <a:gd name="T9" fmla="*/ 2147483647 h 186"/>
                <a:gd name="T10" fmla="*/ 2147483647 w 257"/>
                <a:gd name="T11" fmla="*/ 2147483647 h 186"/>
                <a:gd name="T12" fmla="*/ 2147483647 w 257"/>
                <a:gd name="T13" fmla="*/ 2147483647 h 186"/>
                <a:gd name="T14" fmla="*/ 2147483647 w 257"/>
                <a:gd name="T15" fmla="*/ 2147483647 h 186"/>
                <a:gd name="T16" fmla="*/ 2147483647 w 257"/>
                <a:gd name="T17" fmla="*/ 2147483647 h 186"/>
                <a:gd name="T18" fmla="*/ 2147483647 w 257"/>
                <a:gd name="T19" fmla="*/ 2147483647 h 186"/>
                <a:gd name="T20" fmla="*/ 2147483647 w 257"/>
                <a:gd name="T21" fmla="*/ 2147483647 h 186"/>
                <a:gd name="T22" fmla="*/ 2147483647 w 257"/>
                <a:gd name="T23" fmla="*/ 2147483647 h 186"/>
                <a:gd name="T24" fmla="*/ 2147483647 w 257"/>
                <a:gd name="T25" fmla="*/ 2147483647 h 186"/>
                <a:gd name="T26" fmla="*/ 2147483647 w 257"/>
                <a:gd name="T27" fmla="*/ 2147483647 h 186"/>
                <a:gd name="T28" fmla="*/ 2147483647 w 257"/>
                <a:gd name="T29" fmla="*/ 2147483647 h 186"/>
                <a:gd name="T30" fmla="*/ 0 w 257"/>
                <a:gd name="T31" fmla="*/ 2147483647 h 186"/>
                <a:gd name="T32" fmla="*/ 2147483647 w 257"/>
                <a:gd name="T33" fmla="*/ 2147483647 h 186"/>
                <a:gd name="T34" fmla="*/ 2147483647 w 257"/>
                <a:gd name="T35" fmla="*/ 2147483647 h 186"/>
                <a:gd name="T36" fmla="*/ 2147483647 w 257"/>
                <a:gd name="T37" fmla="*/ 2147483647 h 186"/>
                <a:gd name="T38" fmla="*/ 2147483647 w 257"/>
                <a:gd name="T39" fmla="*/ 2147483647 h 186"/>
                <a:gd name="T40" fmla="*/ 2147483647 w 257"/>
                <a:gd name="T41" fmla="*/ 2147483647 h 186"/>
                <a:gd name="T42" fmla="*/ 2147483647 w 257"/>
                <a:gd name="T43" fmla="*/ 2147483647 h 186"/>
                <a:gd name="T44" fmla="*/ 2147483647 w 257"/>
                <a:gd name="T45" fmla="*/ 2147483647 h 186"/>
                <a:gd name="T46" fmla="*/ 2147483647 w 257"/>
                <a:gd name="T47" fmla="*/ 2147483647 h 186"/>
                <a:gd name="T48" fmla="*/ 2147483647 w 257"/>
                <a:gd name="T49" fmla="*/ 0 h 186"/>
                <a:gd name="T50" fmla="*/ 2147483647 w 257"/>
                <a:gd name="T51" fmla="*/ 2147483647 h 186"/>
                <a:gd name="T52" fmla="*/ 2147483647 w 257"/>
                <a:gd name="T53" fmla="*/ 2147483647 h 186"/>
                <a:gd name="T54" fmla="*/ 2147483647 w 257"/>
                <a:gd name="T55" fmla="*/ 2147483647 h 186"/>
                <a:gd name="T56" fmla="*/ 2147483647 w 257"/>
                <a:gd name="T57" fmla="*/ 2147483647 h 186"/>
                <a:gd name="T58" fmla="*/ 2147483647 w 257"/>
                <a:gd name="T59" fmla="*/ 2147483647 h 186"/>
                <a:gd name="T60" fmla="*/ 2147483647 w 257"/>
                <a:gd name="T61" fmla="*/ 2147483647 h 186"/>
                <a:gd name="T62" fmla="*/ 2147483647 w 257"/>
                <a:gd name="T63" fmla="*/ 2147483647 h 186"/>
                <a:gd name="T64" fmla="*/ 2147483647 w 257"/>
                <a:gd name="T65" fmla="*/ 2147483647 h 186"/>
                <a:gd name="T66" fmla="*/ 2147483647 w 257"/>
                <a:gd name="T67" fmla="*/ 2147483647 h 186"/>
                <a:gd name="T68" fmla="*/ 2147483647 w 257"/>
                <a:gd name="T69" fmla="*/ 2147483647 h 186"/>
                <a:gd name="T70" fmla="*/ 2147483647 w 257"/>
                <a:gd name="T71" fmla="*/ 2147483647 h 186"/>
                <a:gd name="T72" fmla="*/ 2147483647 w 257"/>
                <a:gd name="T73" fmla="*/ 2147483647 h 186"/>
                <a:gd name="T74" fmla="*/ 2147483647 w 257"/>
                <a:gd name="T75" fmla="*/ 2147483647 h 186"/>
                <a:gd name="T76" fmla="*/ 2147483647 w 257"/>
                <a:gd name="T77" fmla="*/ 2147483647 h 1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7"/>
                <a:gd name="T118" fmla="*/ 0 h 186"/>
                <a:gd name="T119" fmla="*/ 257 w 257"/>
                <a:gd name="T120" fmla="*/ 186 h 1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7" h="186">
                  <a:moveTo>
                    <a:pt x="228" y="181"/>
                  </a:moveTo>
                  <a:lnTo>
                    <a:pt x="196" y="165"/>
                  </a:lnTo>
                  <a:lnTo>
                    <a:pt x="168" y="173"/>
                  </a:lnTo>
                  <a:lnTo>
                    <a:pt x="149" y="186"/>
                  </a:lnTo>
                  <a:lnTo>
                    <a:pt x="124" y="184"/>
                  </a:lnTo>
                  <a:lnTo>
                    <a:pt x="101" y="181"/>
                  </a:lnTo>
                  <a:lnTo>
                    <a:pt x="67" y="171"/>
                  </a:lnTo>
                  <a:lnTo>
                    <a:pt x="69" y="158"/>
                  </a:lnTo>
                  <a:lnTo>
                    <a:pt x="61" y="158"/>
                  </a:lnTo>
                  <a:lnTo>
                    <a:pt x="50" y="154"/>
                  </a:lnTo>
                  <a:lnTo>
                    <a:pt x="57" y="143"/>
                  </a:lnTo>
                  <a:lnTo>
                    <a:pt x="48" y="146"/>
                  </a:lnTo>
                  <a:lnTo>
                    <a:pt x="31" y="137"/>
                  </a:lnTo>
                  <a:lnTo>
                    <a:pt x="14" y="116"/>
                  </a:lnTo>
                  <a:lnTo>
                    <a:pt x="14" y="101"/>
                  </a:lnTo>
                  <a:lnTo>
                    <a:pt x="0" y="87"/>
                  </a:lnTo>
                  <a:lnTo>
                    <a:pt x="10" y="82"/>
                  </a:lnTo>
                  <a:lnTo>
                    <a:pt x="25" y="78"/>
                  </a:lnTo>
                  <a:lnTo>
                    <a:pt x="27" y="67"/>
                  </a:lnTo>
                  <a:lnTo>
                    <a:pt x="48" y="29"/>
                  </a:lnTo>
                  <a:lnTo>
                    <a:pt x="67" y="19"/>
                  </a:lnTo>
                  <a:lnTo>
                    <a:pt x="71" y="12"/>
                  </a:lnTo>
                  <a:lnTo>
                    <a:pt x="82" y="6"/>
                  </a:lnTo>
                  <a:lnTo>
                    <a:pt x="135" y="17"/>
                  </a:lnTo>
                  <a:lnTo>
                    <a:pt x="181" y="0"/>
                  </a:lnTo>
                  <a:lnTo>
                    <a:pt x="202" y="34"/>
                  </a:lnTo>
                  <a:lnTo>
                    <a:pt x="213" y="46"/>
                  </a:lnTo>
                  <a:lnTo>
                    <a:pt x="217" y="72"/>
                  </a:lnTo>
                  <a:lnTo>
                    <a:pt x="215" y="112"/>
                  </a:lnTo>
                  <a:lnTo>
                    <a:pt x="221" y="120"/>
                  </a:lnTo>
                  <a:lnTo>
                    <a:pt x="232" y="124"/>
                  </a:lnTo>
                  <a:lnTo>
                    <a:pt x="245" y="114"/>
                  </a:lnTo>
                  <a:lnTo>
                    <a:pt x="257" y="124"/>
                  </a:lnTo>
                  <a:lnTo>
                    <a:pt x="257" y="135"/>
                  </a:lnTo>
                  <a:lnTo>
                    <a:pt x="240" y="137"/>
                  </a:lnTo>
                  <a:lnTo>
                    <a:pt x="236" y="129"/>
                  </a:lnTo>
                  <a:lnTo>
                    <a:pt x="234" y="154"/>
                  </a:lnTo>
                  <a:lnTo>
                    <a:pt x="230" y="162"/>
                  </a:lnTo>
                  <a:lnTo>
                    <a:pt x="228" y="18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89" name="Freeform 65"/>
            <p:cNvSpPr>
              <a:spLocks/>
            </p:cNvSpPr>
            <p:nvPr/>
          </p:nvSpPr>
          <p:spPr bwMode="auto">
            <a:xfrm>
              <a:off x="3103961" y="2576443"/>
              <a:ext cx="201764" cy="538944"/>
            </a:xfrm>
            <a:custGeom>
              <a:avLst/>
              <a:gdLst>
                <a:gd name="T0" fmla="*/ 2147483647 w 371"/>
                <a:gd name="T1" fmla="*/ 2147483647 h 862"/>
                <a:gd name="T2" fmla="*/ 2147483647 w 371"/>
                <a:gd name="T3" fmla="*/ 2147483647 h 862"/>
                <a:gd name="T4" fmla="*/ 2147483647 w 371"/>
                <a:gd name="T5" fmla="*/ 2147483647 h 862"/>
                <a:gd name="T6" fmla="*/ 2147483647 w 371"/>
                <a:gd name="T7" fmla="*/ 2147483647 h 862"/>
                <a:gd name="T8" fmla="*/ 2147483647 w 371"/>
                <a:gd name="T9" fmla="*/ 2147483647 h 862"/>
                <a:gd name="T10" fmla="*/ 2147483647 w 371"/>
                <a:gd name="T11" fmla="*/ 2147483647 h 862"/>
                <a:gd name="T12" fmla="*/ 2147483647 w 371"/>
                <a:gd name="T13" fmla="*/ 2147483647 h 862"/>
                <a:gd name="T14" fmla="*/ 2147483647 w 371"/>
                <a:gd name="T15" fmla="*/ 2147483647 h 862"/>
                <a:gd name="T16" fmla="*/ 2147483647 w 371"/>
                <a:gd name="T17" fmla="*/ 2147483647 h 862"/>
                <a:gd name="T18" fmla="*/ 2147483647 w 371"/>
                <a:gd name="T19" fmla="*/ 2147483647 h 862"/>
                <a:gd name="T20" fmla="*/ 2147483647 w 371"/>
                <a:gd name="T21" fmla="*/ 2147483647 h 862"/>
                <a:gd name="T22" fmla="*/ 2147483647 w 371"/>
                <a:gd name="T23" fmla="*/ 2147483647 h 862"/>
                <a:gd name="T24" fmla="*/ 2147483647 w 371"/>
                <a:gd name="T25" fmla="*/ 2147483647 h 862"/>
                <a:gd name="T26" fmla="*/ 2147483647 w 371"/>
                <a:gd name="T27" fmla="*/ 2147483647 h 862"/>
                <a:gd name="T28" fmla="*/ 2147483647 w 371"/>
                <a:gd name="T29" fmla="*/ 2147483647 h 862"/>
                <a:gd name="T30" fmla="*/ 2147483647 w 371"/>
                <a:gd name="T31" fmla="*/ 2147483647 h 862"/>
                <a:gd name="T32" fmla="*/ 2147483647 w 371"/>
                <a:gd name="T33" fmla="*/ 2147483647 h 862"/>
                <a:gd name="T34" fmla="*/ 2147483647 w 371"/>
                <a:gd name="T35" fmla="*/ 2147483647 h 862"/>
                <a:gd name="T36" fmla="*/ 2147483647 w 371"/>
                <a:gd name="T37" fmla="*/ 2147483647 h 862"/>
                <a:gd name="T38" fmla="*/ 2147483647 w 371"/>
                <a:gd name="T39" fmla="*/ 2147483647 h 862"/>
                <a:gd name="T40" fmla="*/ 2147483647 w 371"/>
                <a:gd name="T41" fmla="*/ 2147483647 h 862"/>
                <a:gd name="T42" fmla="*/ 2147483647 w 371"/>
                <a:gd name="T43" fmla="*/ 2147483647 h 862"/>
                <a:gd name="T44" fmla="*/ 2147483647 w 371"/>
                <a:gd name="T45" fmla="*/ 2147483647 h 862"/>
                <a:gd name="T46" fmla="*/ 2147483647 w 371"/>
                <a:gd name="T47" fmla="*/ 2147483647 h 862"/>
                <a:gd name="T48" fmla="*/ 2147483647 w 371"/>
                <a:gd name="T49" fmla="*/ 2147483647 h 862"/>
                <a:gd name="T50" fmla="*/ 2147483647 w 371"/>
                <a:gd name="T51" fmla="*/ 2147483647 h 862"/>
                <a:gd name="T52" fmla="*/ 2147483647 w 371"/>
                <a:gd name="T53" fmla="*/ 2147483647 h 862"/>
                <a:gd name="T54" fmla="*/ 2147483647 w 371"/>
                <a:gd name="T55" fmla="*/ 2147483647 h 862"/>
                <a:gd name="T56" fmla="*/ 2147483647 w 371"/>
                <a:gd name="T57" fmla="*/ 2147483647 h 862"/>
                <a:gd name="T58" fmla="*/ 2147483647 w 371"/>
                <a:gd name="T59" fmla="*/ 2147483647 h 862"/>
                <a:gd name="T60" fmla="*/ 2147483647 w 371"/>
                <a:gd name="T61" fmla="*/ 2147483647 h 862"/>
                <a:gd name="T62" fmla="*/ 2147483647 w 371"/>
                <a:gd name="T63" fmla="*/ 2147483647 h 862"/>
                <a:gd name="T64" fmla="*/ 2147483647 w 371"/>
                <a:gd name="T65" fmla="*/ 2147483647 h 862"/>
                <a:gd name="T66" fmla="*/ 0 w 371"/>
                <a:gd name="T67" fmla="*/ 2147483647 h 862"/>
                <a:gd name="T68" fmla="*/ 2147483647 w 371"/>
                <a:gd name="T69" fmla="*/ 2147483647 h 862"/>
                <a:gd name="T70" fmla="*/ 2147483647 w 371"/>
                <a:gd name="T71" fmla="*/ 2147483647 h 862"/>
                <a:gd name="T72" fmla="*/ 2147483647 w 371"/>
                <a:gd name="T73" fmla="*/ 2147483647 h 862"/>
                <a:gd name="T74" fmla="*/ 2147483647 w 371"/>
                <a:gd name="T75" fmla="*/ 2147483647 h 862"/>
                <a:gd name="T76" fmla="*/ 2147483647 w 371"/>
                <a:gd name="T77" fmla="*/ 2147483647 h 862"/>
                <a:gd name="T78" fmla="*/ 2147483647 w 371"/>
                <a:gd name="T79" fmla="*/ 2147483647 h 862"/>
                <a:gd name="T80" fmla="*/ 2147483647 w 371"/>
                <a:gd name="T81" fmla="*/ 2147483647 h 862"/>
                <a:gd name="T82" fmla="*/ 2147483647 w 371"/>
                <a:gd name="T83" fmla="*/ 2147483647 h 862"/>
                <a:gd name="T84" fmla="*/ 2147483647 w 371"/>
                <a:gd name="T85" fmla="*/ 2147483647 h 862"/>
                <a:gd name="T86" fmla="*/ 2147483647 w 371"/>
                <a:gd name="T87" fmla="*/ 2147483647 h 862"/>
                <a:gd name="T88" fmla="*/ 2147483647 w 371"/>
                <a:gd name="T89" fmla="*/ 2147483647 h 862"/>
                <a:gd name="T90" fmla="*/ 2147483647 w 371"/>
                <a:gd name="T91" fmla="*/ 2147483647 h 862"/>
                <a:gd name="T92" fmla="*/ 2147483647 w 371"/>
                <a:gd name="T93" fmla="*/ 2147483647 h 862"/>
                <a:gd name="T94" fmla="*/ 2147483647 w 371"/>
                <a:gd name="T95" fmla="*/ 2147483647 h 862"/>
                <a:gd name="T96" fmla="*/ 2147483647 w 371"/>
                <a:gd name="T97" fmla="*/ 2147483647 h 862"/>
                <a:gd name="T98" fmla="*/ 2147483647 w 371"/>
                <a:gd name="T99" fmla="*/ 2147483647 h 862"/>
                <a:gd name="T100" fmla="*/ 2147483647 w 371"/>
                <a:gd name="T101" fmla="*/ 0 h 8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71"/>
                <a:gd name="T154" fmla="*/ 0 h 862"/>
                <a:gd name="T155" fmla="*/ 371 w 371"/>
                <a:gd name="T156" fmla="*/ 862 h 8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71" h="862">
                  <a:moveTo>
                    <a:pt x="270" y="0"/>
                  </a:moveTo>
                  <a:lnTo>
                    <a:pt x="296" y="32"/>
                  </a:lnTo>
                  <a:lnTo>
                    <a:pt x="338" y="49"/>
                  </a:lnTo>
                  <a:lnTo>
                    <a:pt x="352" y="70"/>
                  </a:lnTo>
                  <a:lnTo>
                    <a:pt x="355" y="118"/>
                  </a:lnTo>
                  <a:lnTo>
                    <a:pt x="371" y="157"/>
                  </a:lnTo>
                  <a:lnTo>
                    <a:pt x="363" y="199"/>
                  </a:lnTo>
                  <a:lnTo>
                    <a:pt x="361" y="222"/>
                  </a:lnTo>
                  <a:lnTo>
                    <a:pt x="369" y="249"/>
                  </a:lnTo>
                  <a:lnTo>
                    <a:pt x="344" y="251"/>
                  </a:lnTo>
                  <a:lnTo>
                    <a:pt x="327" y="243"/>
                  </a:lnTo>
                  <a:lnTo>
                    <a:pt x="327" y="252"/>
                  </a:lnTo>
                  <a:lnTo>
                    <a:pt x="314" y="260"/>
                  </a:lnTo>
                  <a:lnTo>
                    <a:pt x="315" y="271"/>
                  </a:lnTo>
                  <a:lnTo>
                    <a:pt x="293" y="289"/>
                  </a:lnTo>
                  <a:lnTo>
                    <a:pt x="279" y="325"/>
                  </a:lnTo>
                  <a:lnTo>
                    <a:pt x="298" y="344"/>
                  </a:lnTo>
                  <a:lnTo>
                    <a:pt x="276" y="372"/>
                  </a:lnTo>
                  <a:lnTo>
                    <a:pt x="257" y="380"/>
                  </a:lnTo>
                  <a:lnTo>
                    <a:pt x="247" y="399"/>
                  </a:lnTo>
                  <a:lnTo>
                    <a:pt x="241" y="389"/>
                  </a:lnTo>
                  <a:lnTo>
                    <a:pt x="230" y="416"/>
                  </a:lnTo>
                  <a:lnTo>
                    <a:pt x="222" y="408"/>
                  </a:lnTo>
                  <a:lnTo>
                    <a:pt x="203" y="427"/>
                  </a:lnTo>
                  <a:lnTo>
                    <a:pt x="211" y="435"/>
                  </a:lnTo>
                  <a:lnTo>
                    <a:pt x="203" y="446"/>
                  </a:lnTo>
                  <a:lnTo>
                    <a:pt x="194" y="439"/>
                  </a:lnTo>
                  <a:lnTo>
                    <a:pt x="194" y="456"/>
                  </a:lnTo>
                  <a:lnTo>
                    <a:pt x="184" y="465"/>
                  </a:lnTo>
                  <a:lnTo>
                    <a:pt x="192" y="478"/>
                  </a:lnTo>
                  <a:lnTo>
                    <a:pt x="186" y="501"/>
                  </a:lnTo>
                  <a:lnTo>
                    <a:pt x="192" y="513"/>
                  </a:lnTo>
                  <a:lnTo>
                    <a:pt x="181" y="511"/>
                  </a:lnTo>
                  <a:lnTo>
                    <a:pt x="181" y="560"/>
                  </a:lnTo>
                  <a:lnTo>
                    <a:pt x="186" y="577"/>
                  </a:lnTo>
                  <a:lnTo>
                    <a:pt x="196" y="579"/>
                  </a:lnTo>
                  <a:lnTo>
                    <a:pt x="220" y="613"/>
                  </a:lnTo>
                  <a:lnTo>
                    <a:pt x="224" y="630"/>
                  </a:lnTo>
                  <a:lnTo>
                    <a:pt x="211" y="657"/>
                  </a:lnTo>
                  <a:lnTo>
                    <a:pt x="217" y="670"/>
                  </a:lnTo>
                  <a:lnTo>
                    <a:pt x="186" y="680"/>
                  </a:lnTo>
                  <a:lnTo>
                    <a:pt x="167" y="701"/>
                  </a:lnTo>
                  <a:lnTo>
                    <a:pt x="158" y="746"/>
                  </a:lnTo>
                  <a:lnTo>
                    <a:pt x="146" y="799"/>
                  </a:lnTo>
                  <a:lnTo>
                    <a:pt x="141" y="824"/>
                  </a:lnTo>
                  <a:lnTo>
                    <a:pt x="106" y="822"/>
                  </a:lnTo>
                  <a:lnTo>
                    <a:pt x="103" y="832"/>
                  </a:lnTo>
                  <a:lnTo>
                    <a:pt x="89" y="828"/>
                  </a:lnTo>
                  <a:lnTo>
                    <a:pt x="84" y="843"/>
                  </a:lnTo>
                  <a:lnTo>
                    <a:pt x="91" y="853"/>
                  </a:lnTo>
                  <a:lnTo>
                    <a:pt x="84" y="862"/>
                  </a:lnTo>
                  <a:lnTo>
                    <a:pt x="61" y="862"/>
                  </a:lnTo>
                  <a:lnTo>
                    <a:pt x="44" y="858"/>
                  </a:lnTo>
                  <a:lnTo>
                    <a:pt x="46" y="849"/>
                  </a:lnTo>
                  <a:lnTo>
                    <a:pt x="34" y="815"/>
                  </a:lnTo>
                  <a:lnTo>
                    <a:pt x="44" y="815"/>
                  </a:lnTo>
                  <a:lnTo>
                    <a:pt x="36" y="807"/>
                  </a:lnTo>
                  <a:lnTo>
                    <a:pt x="51" y="796"/>
                  </a:lnTo>
                  <a:lnTo>
                    <a:pt x="32" y="784"/>
                  </a:lnTo>
                  <a:lnTo>
                    <a:pt x="25" y="756"/>
                  </a:lnTo>
                  <a:lnTo>
                    <a:pt x="21" y="760"/>
                  </a:lnTo>
                  <a:lnTo>
                    <a:pt x="13" y="729"/>
                  </a:lnTo>
                  <a:lnTo>
                    <a:pt x="19" y="720"/>
                  </a:lnTo>
                  <a:lnTo>
                    <a:pt x="23" y="704"/>
                  </a:lnTo>
                  <a:lnTo>
                    <a:pt x="15" y="697"/>
                  </a:lnTo>
                  <a:lnTo>
                    <a:pt x="13" y="708"/>
                  </a:lnTo>
                  <a:lnTo>
                    <a:pt x="4" y="703"/>
                  </a:lnTo>
                  <a:lnTo>
                    <a:pt x="0" y="674"/>
                  </a:lnTo>
                  <a:lnTo>
                    <a:pt x="8" y="666"/>
                  </a:lnTo>
                  <a:lnTo>
                    <a:pt x="21" y="682"/>
                  </a:lnTo>
                  <a:lnTo>
                    <a:pt x="25" y="649"/>
                  </a:lnTo>
                  <a:lnTo>
                    <a:pt x="29" y="632"/>
                  </a:lnTo>
                  <a:lnTo>
                    <a:pt x="46" y="619"/>
                  </a:lnTo>
                  <a:lnTo>
                    <a:pt x="30" y="568"/>
                  </a:lnTo>
                  <a:lnTo>
                    <a:pt x="48" y="539"/>
                  </a:lnTo>
                  <a:lnTo>
                    <a:pt x="29" y="503"/>
                  </a:lnTo>
                  <a:lnTo>
                    <a:pt x="27" y="418"/>
                  </a:lnTo>
                  <a:lnTo>
                    <a:pt x="34" y="408"/>
                  </a:lnTo>
                  <a:lnTo>
                    <a:pt x="25" y="395"/>
                  </a:lnTo>
                  <a:lnTo>
                    <a:pt x="34" y="366"/>
                  </a:lnTo>
                  <a:lnTo>
                    <a:pt x="51" y="355"/>
                  </a:lnTo>
                  <a:lnTo>
                    <a:pt x="68" y="359"/>
                  </a:lnTo>
                  <a:lnTo>
                    <a:pt x="87" y="353"/>
                  </a:lnTo>
                  <a:lnTo>
                    <a:pt x="76" y="330"/>
                  </a:lnTo>
                  <a:lnTo>
                    <a:pt x="99" y="279"/>
                  </a:lnTo>
                  <a:lnTo>
                    <a:pt x="99" y="235"/>
                  </a:lnTo>
                  <a:lnTo>
                    <a:pt x="103" y="230"/>
                  </a:lnTo>
                  <a:lnTo>
                    <a:pt x="116" y="237"/>
                  </a:lnTo>
                  <a:lnTo>
                    <a:pt x="122" y="218"/>
                  </a:lnTo>
                  <a:lnTo>
                    <a:pt x="114" y="203"/>
                  </a:lnTo>
                  <a:lnTo>
                    <a:pt x="156" y="157"/>
                  </a:lnTo>
                  <a:lnTo>
                    <a:pt x="146" y="123"/>
                  </a:lnTo>
                  <a:lnTo>
                    <a:pt x="154" y="102"/>
                  </a:lnTo>
                  <a:lnTo>
                    <a:pt x="177" y="74"/>
                  </a:lnTo>
                  <a:lnTo>
                    <a:pt x="190" y="80"/>
                  </a:lnTo>
                  <a:lnTo>
                    <a:pt x="201" y="72"/>
                  </a:lnTo>
                  <a:lnTo>
                    <a:pt x="192" y="49"/>
                  </a:lnTo>
                  <a:lnTo>
                    <a:pt x="203" y="36"/>
                  </a:lnTo>
                  <a:lnTo>
                    <a:pt x="249" y="49"/>
                  </a:lnTo>
                  <a:lnTo>
                    <a:pt x="247" y="24"/>
                  </a:lnTo>
                  <a:lnTo>
                    <a:pt x="255" y="2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0" name="Freeform 66"/>
            <p:cNvSpPr>
              <a:spLocks/>
            </p:cNvSpPr>
            <p:nvPr/>
          </p:nvSpPr>
          <p:spPr bwMode="auto">
            <a:xfrm>
              <a:off x="3213112" y="3029250"/>
              <a:ext cx="17641" cy="30265"/>
            </a:xfrm>
            <a:custGeom>
              <a:avLst/>
              <a:gdLst>
                <a:gd name="T0" fmla="*/ 2147483647 w 32"/>
                <a:gd name="T1" fmla="*/ 2147483647 h 48"/>
                <a:gd name="T2" fmla="*/ 2147483647 w 32"/>
                <a:gd name="T3" fmla="*/ 2147483647 h 48"/>
                <a:gd name="T4" fmla="*/ 2147483647 w 32"/>
                <a:gd name="T5" fmla="*/ 2147483647 h 48"/>
                <a:gd name="T6" fmla="*/ 2147483647 w 32"/>
                <a:gd name="T7" fmla="*/ 2147483647 h 48"/>
                <a:gd name="T8" fmla="*/ 2147483647 w 32"/>
                <a:gd name="T9" fmla="*/ 2147483647 h 48"/>
                <a:gd name="T10" fmla="*/ 0 w 32"/>
                <a:gd name="T11" fmla="*/ 2147483647 h 48"/>
                <a:gd name="T12" fmla="*/ 0 w 32"/>
                <a:gd name="T13" fmla="*/ 2147483647 h 48"/>
                <a:gd name="T14" fmla="*/ 2147483647 w 32"/>
                <a:gd name="T15" fmla="*/ 2147483647 h 48"/>
                <a:gd name="T16" fmla="*/ 2147483647 w 32"/>
                <a:gd name="T17" fmla="*/ 2147483647 h 48"/>
                <a:gd name="T18" fmla="*/ 2147483647 w 32"/>
                <a:gd name="T19" fmla="*/ 0 h 48"/>
                <a:gd name="T20" fmla="*/ 2147483647 w 32"/>
                <a:gd name="T21" fmla="*/ 2147483647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48"/>
                <a:gd name="T35" fmla="*/ 32 w 3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48">
                  <a:moveTo>
                    <a:pt x="32" y="4"/>
                  </a:moveTo>
                  <a:lnTo>
                    <a:pt x="20" y="10"/>
                  </a:lnTo>
                  <a:lnTo>
                    <a:pt x="15" y="23"/>
                  </a:lnTo>
                  <a:lnTo>
                    <a:pt x="17" y="29"/>
                  </a:lnTo>
                  <a:lnTo>
                    <a:pt x="7" y="48"/>
                  </a:lnTo>
                  <a:lnTo>
                    <a:pt x="0" y="35"/>
                  </a:lnTo>
                  <a:lnTo>
                    <a:pt x="0" y="21"/>
                  </a:lnTo>
                  <a:lnTo>
                    <a:pt x="7" y="2"/>
                  </a:lnTo>
                  <a:lnTo>
                    <a:pt x="17" y="6"/>
                  </a:lnTo>
                  <a:lnTo>
                    <a:pt x="24" y="0"/>
                  </a:lnTo>
                  <a:lnTo>
                    <a:pt x="32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1" name="Freeform 67"/>
            <p:cNvSpPr>
              <a:spLocks/>
            </p:cNvSpPr>
            <p:nvPr/>
          </p:nvSpPr>
          <p:spPr bwMode="auto">
            <a:xfrm>
              <a:off x="3188856" y="3049038"/>
              <a:ext cx="9923" cy="38413"/>
            </a:xfrm>
            <a:custGeom>
              <a:avLst/>
              <a:gdLst>
                <a:gd name="T0" fmla="*/ 2147483647 w 21"/>
                <a:gd name="T1" fmla="*/ 0 h 60"/>
                <a:gd name="T2" fmla="*/ 2147483647 w 21"/>
                <a:gd name="T3" fmla="*/ 2147483647 h 60"/>
                <a:gd name="T4" fmla="*/ 2147483647 w 21"/>
                <a:gd name="T5" fmla="*/ 2147483647 h 60"/>
                <a:gd name="T6" fmla="*/ 2147483647 w 21"/>
                <a:gd name="T7" fmla="*/ 2147483647 h 60"/>
                <a:gd name="T8" fmla="*/ 0 w 21"/>
                <a:gd name="T9" fmla="*/ 2147483647 h 60"/>
                <a:gd name="T10" fmla="*/ 0 w 21"/>
                <a:gd name="T11" fmla="*/ 2147483647 h 60"/>
                <a:gd name="T12" fmla="*/ 2147483647 w 21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60"/>
                <a:gd name="T23" fmla="*/ 21 w 21"/>
                <a:gd name="T24" fmla="*/ 60 h 6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60">
                  <a:moveTo>
                    <a:pt x="15" y="0"/>
                  </a:moveTo>
                  <a:lnTo>
                    <a:pt x="21" y="3"/>
                  </a:lnTo>
                  <a:lnTo>
                    <a:pt x="6" y="41"/>
                  </a:lnTo>
                  <a:lnTo>
                    <a:pt x="6" y="55"/>
                  </a:lnTo>
                  <a:lnTo>
                    <a:pt x="0" y="60"/>
                  </a:lnTo>
                  <a:lnTo>
                    <a:pt x="0" y="41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2" name="Freeform 68"/>
            <p:cNvSpPr>
              <a:spLocks/>
            </p:cNvSpPr>
            <p:nvPr/>
          </p:nvSpPr>
          <p:spPr bwMode="auto">
            <a:xfrm>
              <a:off x="3030091" y="3340045"/>
              <a:ext cx="65050" cy="45397"/>
            </a:xfrm>
            <a:custGeom>
              <a:avLst/>
              <a:gdLst>
                <a:gd name="T0" fmla="*/ 2147483647 w 122"/>
                <a:gd name="T1" fmla="*/ 0 h 74"/>
                <a:gd name="T2" fmla="*/ 2147483647 w 122"/>
                <a:gd name="T3" fmla="*/ 2147483647 h 74"/>
                <a:gd name="T4" fmla="*/ 2147483647 w 122"/>
                <a:gd name="T5" fmla="*/ 2147483647 h 74"/>
                <a:gd name="T6" fmla="*/ 2147483647 w 122"/>
                <a:gd name="T7" fmla="*/ 0 h 74"/>
                <a:gd name="T8" fmla="*/ 2147483647 w 122"/>
                <a:gd name="T9" fmla="*/ 2147483647 h 74"/>
                <a:gd name="T10" fmla="*/ 2147483647 w 122"/>
                <a:gd name="T11" fmla="*/ 2147483647 h 74"/>
                <a:gd name="T12" fmla="*/ 2147483647 w 122"/>
                <a:gd name="T13" fmla="*/ 2147483647 h 74"/>
                <a:gd name="T14" fmla="*/ 2147483647 w 122"/>
                <a:gd name="T15" fmla="*/ 2147483647 h 74"/>
                <a:gd name="T16" fmla="*/ 2147483647 w 122"/>
                <a:gd name="T17" fmla="*/ 2147483647 h 74"/>
                <a:gd name="T18" fmla="*/ 2147483647 w 122"/>
                <a:gd name="T19" fmla="*/ 2147483647 h 74"/>
                <a:gd name="T20" fmla="*/ 2147483647 w 122"/>
                <a:gd name="T21" fmla="*/ 2147483647 h 74"/>
                <a:gd name="T22" fmla="*/ 2147483647 w 122"/>
                <a:gd name="T23" fmla="*/ 2147483647 h 74"/>
                <a:gd name="T24" fmla="*/ 2147483647 w 122"/>
                <a:gd name="T25" fmla="*/ 2147483647 h 74"/>
                <a:gd name="T26" fmla="*/ 2147483647 w 122"/>
                <a:gd name="T27" fmla="*/ 2147483647 h 74"/>
                <a:gd name="T28" fmla="*/ 2147483647 w 122"/>
                <a:gd name="T29" fmla="*/ 2147483647 h 74"/>
                <a:gd name="T30" fmla="*/ 2147483647 w 122"/>
                <a:gd name="T31" fmla="*/ 2147483647 h 74"/>
                <a:gd name="T32" fmla="*/ 2147483647 w 122"/>
                <a:gd name="T33" fmla="*/ 2147483647 h 74"/>
                <a:gd name="T34" fmla="*/ 2147483647 w 122"/>
                <a:gd name="T35" fmla="*/ 2147483647 h 74"/>
                <a:gd name="T36" fmla="*/ 2147483647 w 122"/>
                <a:gd name="T37" fmla="*/ 2147483647 h 74"/>
                <a:gd name="T38" fmla="*/ 2147483647 w 122"/>
                <a:gd name="T39" fmla="*/ 2147483647 h 74"/>
                <a:gd name="T40" fmla="*/ 2147483647 w 122"/>
                <a:gd name="T41" fmla="*/ 2147483647 h 74"/>
                <a:gd name="T42" fmla="*/ 0 w 122"/>
                <a:gd name="T43" fmla="*/ 2147483647 h 74"/>
                <a:gd name="T44" fmla="*/ 0 w 122"/>
                <a:gd name="T45" fmla="*/ 2147483647 h 74"/>
                <a:gd name="T46" fmla="*/ 2147483647 w 122"/>
                <a:gd name="T47" fmla="*/ 2147483647 h 74"/>
                <a:gd name="T48" fmla="*/ 2147483647 w 122"/>
                <a:gd name="T49" fmla="*/ 2147483647 h 74"/>
                <a:gd name="T50" fmla="*/ 2147483647 w 122"/>
                <a:gd name="T51" fmla="*/ 2147483647 h 74"/>
                <a:gd name="T52" fmla="*/ 2147483647 w 122"/>
                <a:gd name="T53" fmla="*/ 0 h 7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2"/>
                <a:gd name="T82" fmla="*/ 0 h 74"/>
                <a:gd name="T83" fmla="*/ 122 w 122"/>
                <a:gd name="T84" fmla="*/ 74 h 7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2" h="74">
                  <a:moveTo>
                    <a:pt x="44" y="0"/>
                  </a:moveTo>
                  <a:lnTo>
                    <a:pt x="50" y="10"/>
                  </a:lnTo>
                  <a:lnTo>
                    <a:pt x="65" y="2"/>
                  </a:lnTo>
                  <a:lnTo>
                    <a:pt x="80" y="0"/>
                  </a:lnTo>
                  <a:lnTo>
                    <a:pt x="101" y="6"/>
                  </a:lnTo>
                  <a:lnTo>
                    <a:pt x="97" y="29"/>
                  </a:lnTo>
                  <a:lnTo>
                    <a:pt x="105" y="36"/>
                  </a:lnTo>
                  <a:lnTo>
                    <a:pt x="114" y="29"/>
                  </a:lnTo>
                  <a:lnTo>
                    <a:pt x="122" y="36"/>
                  </a:lnTo>
                  <a:lnTo>
                    <a:pt x="114" y="57"/>
                  </a:lnTo>
                  <a:lnTo>
                    <a:pt x="95" y="53"/>
                  </a:lnTo>
                  <a:lnTo>
                    <a:pt x="86" y="49"/>
                  </a:lnTo>
                  <a:lnTo>
                    <a:pt x="86" y="59"/>
                  </a:lnTo>
                  <a:lnTo>
                    <a:pt x="78" y="74"/>
                  </a:lnTo>
                  <a:lnTo>
                    <a:pt x="65" y="53"/>
                  </a:lnTo>
                  <a:lnTo>
                    <a:pt x="61" y="55"/>
                  </a:lnTo>
                  <a:lnTo>
                    <a:pt x="53" y="68"/>
                  </a:lnTo>
                  <a:lnTo>
                    <a:pt x="34" y="70"/>
                  </a:lnTo>
                  <a:lnTo>
                    <a:pt x="25" y="72"/>
                  </a:lnTo>
                  <a:lnTo>
                    <a:pt x="21" y="51"/>
                  </a:lnTo>
                  <a:lnTo>
                    <a:pt x="15" y="51"/>
                  </a:lnTo>
                  <a:lnTo>
                    <a:pt x="0" y="63"/>
                  </a:lnTo>
                  <a:lnTo>
                    <a:pt x="0" y="49"/>
                  </a:lnTo>
                  <a:lnTo>
                    <a:pt x="17" y="23"/>
                  </a:lnTo>
                  <a:lnTo>
                    <a:pt x="19" y="11"/>
                  </a:lnTo>
                  <a:lnTo>
                    <a:pt x="34" y="8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3" name="Freeform 69"/>
            <p:cNvSpPr>
              <a:spLocks/>
            </p:cNvSpPr>
            <p:nvPr/>
          </p:nvSpPr>
          <p:spPr bwMode="auto">
            <a:xfrm>
              <a:off x="3192164" y="3291156"/>
              <a:ext cx="88203" cy="38413"/>
            </a:xfrm>
            <a:custGeom>
              <a:avLst/>
              <a:gdLst>
                <a:gd name="T0" fmla="*/ 2147483647 w 161"/>
                <a:gd name="T1" fmla="*/ 2147483647 h 63"/>
                <a:gd name="T2" fmla="*/ 2147483647 w 161"/>
                <a:gd name="T3" fmla="*/ 2147483647 h 63"/>
                <a:gd name="T4" fmla="*/ 2147483647 w 161"/>
                <a:gd name="T5" fmla="*/ 2147483647 h 63"/>
                <a:gd name="T6" fmla="*/ 0 w 161"/>
                <a:gd name="T7" fmla="*/ 2147483647 h 63"/>
                <a:gd name="T8" fmla="*/ 2147483647 w 161"/>
                <a:gd name="T9" fmla="*/ 2147483647 h 63"/>
                <a:gd name="T10" fmla="*/ 2147483647 w 161"/>
                <a:gd name="T11" fmla="*/ 2147483647 h 63"/>
                <a:gd name="T12" fmla="*/ 2147483647 w 161"/>
                <a:gd name="T13" fmla="*/ 2147483647 h 63"/>
                <a:gd name="T14" fmla="*/ 2147483647 w 161"/>
                <a:gd name="T15" fmla="*/ 2147483647 h 63"/>
                <a:gd name="T16" fmla="*/ 2147483647 w 161"/>
                <a:gd name="T17" fmla="*/ 2147483647 h 63"/>
                <a:gd name="T18" fmla="*/ 2147483647 w 161"/>
                <a:gd name="T19" fmla="*/ 2147483647 h 63"/>
                <a:gd name="T20" fmla="*/ 2147483647 w 161"/>
                <a:gd name="T21" fmla="*/ 0 h 63"/>
                <a:gd name="T22" fmla="*/ 2147483647 w 161"/>
                <a:gd name="T23" fmla="*/ 2147483647 h 63"/>
                <a:gd name="T24" fmla="*/ 2147483647 w 161"/>
                <a:gd name="T25" fmla="*/ 2147483647 h 63"/>
                <a:gd name="T26" fmla="*/ 2147483647 w 161"/>
                <a:gd name="T27" fmla="*/ 2147483647 h 63"/>
                <a:gd name="T28" fmla="*/ 2147483647 w 161"/>
                <a:gd name="T29" fmla="*/ 2147483647 h 63"/>
                <a:gd name="T30" fmla="*/ 2147483647 w 161"/>
                <a:gd name="T31" fmla="*/ 2147483647 h 63"/>
                <a:gd name="T32" fmla="*/ 2147483647 w 161"/>
                <a:gd name="T33" fmla="*/ 2147483647 h 63"/>
                <a:gd name="T34" fmla="*/ 2147483647 w 161"/>
                <a:gd name="T35" fmla="*/ 2147483647 h 63"/>
                <a:gd name="T36" fmla="*/ 2147483647 w 161"/>
                <a:gd name="T37" fmla="*/ 2147483647 h 63"/>
                <a:gd name="T38" fmla="*/ 2147483647 w 161"/>
                <a:gd name="T39" fmla="*/ 2147483647 h 63"/>
                <a:gd name="T40" fmla="*/ 2147483647 w 161"/>
                <a:gd name="T41" fmla="*/ 2147483647 h 63"/>
                <a:gd name="T42" fmla="*/ 2147483647 w 161"/>
                <a:gd name="T43" fmla="*/ 2147483647 h 63"/>
                <a:gd name="T44" fmla="*/ 2147483647 w 161"/>
                <a:gd name="T45" fmla="*/ 2147483647 h 63"/>
                <a:gd name="T46" fmla="*/ 2147483647 w 161"/>
                <a:gd name="T47" fmla="*/ 2147483647 h 63"/>
                <a:gd name="T48" fmla="*/ 2147483647 w 161"/>
                <a:gd name="T49" fmla="*/ 2147483647 h 63"/>
                <a:gd name="T50" fmla="*/ 2147483647 w 161"/>
                <a:gd name="T51" fmla="*/ 2147483647 h 6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1"/>
                <a:gd name="T79" fmla="*/ 0 h 63"/>
                <a:gd name="T80" fmla="*/ 161 w 161"/>
                <a:gd name="T81" fmla="*/ 63 h 6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1" h="63">
                  <a:moveTo>
                    <a:pt x="15" y="51"/>
                  </a:moveTo>
                  <a:lnTo>
                    <a:pt x="13" y="48"/>
                  </a:lnTo>
                  <a:lnTo>
                    <a:pt x="3" y="46"/>
                  </a:lnTo>
                  <a:lnTo>
                    <a:pt x="0" y="42"/>
                  </a:lnTo>
                  <a:lnTo>
                    <a:pt x="9" y="32"/>
                  </a:lnTo>
                  <a:lnTo>
                    <a:pt x="24" y="34"/>
                  </a:lnTo>
                  <a:lnTo>
                    <a:pt x="36" y="23"/>
                  </a:lnTo>
                  <a:lnTo>
                    <a:pt x="43" y="6"/>
                  </a:lnTo>
                  <a:lnTo>
                    <a:pt x="55" y="2"/>
                  </a:lnTo>
                  <a:lnTo>
                    <a:pt x="55" y="6"/>
                  </a:lnTo>
                  <a:lnTo>
                    <a:pt x="78" y="0"/>
                  </a:lnTo>
                  <a:lnTo>
                    <a:pt x="91" y="15"/>
                  </a:lnTo>
                  <a:lnTo>
                    <a:pt x="104" y="4"/>
                  </a:lnTo>
                  <a:lnTo>
                    <a:pt x="114" y="12"/>
                  </a:lnTo>
                  <a:lnTo>
                    <a:pt x="136" y="2"/>
                  </a:lnTo>
                  <a:lnTo>
                    <a:pt x="161" y="19"/>
                  </a:lnTo>
                  <a:lnTo>
                    <a:pt x="154" y="44"/>
                  </a:lnTo>
                  <a:lnTo>
                    <a:pt x="140" y="48"/>
                  </a:lnTo>
                  <a:lnTo>
                    <a:pt x="133" y="36"/>
                  </a:lnTo>
                  <a:lnTo>
                    <a:pt x="123" y="46"/>
                  </a:lnTo>
                  <a:lnTo>
                    <a:pt x="102" y="38"/>
                  </a:lnTo>
                  <a:lnTo>
                    <a:pt x="87" y="55"/>
                  </a:lnTo>
                  <a:lnTo>
                    <a:pt x="70" y="50"/>
                  </a:lnTo>
                  <a:lnTo>
                    <a:pt x="59" y="59"/>
                  </a:lnTo>
                  <a:lnTo>
                    <a:pt x="26" y="63"/>
                  </a:lnTo>
                  <a:lnTo>
                    <a:pt x="15" y="5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4" name="Freeform 70"/>
            <p:cNvSpPr>
              <a:spLocks/>
            </p:cNvSpPr>
            <p:nvPr/>
          </p:nvSpPr>
          <p:spPr bwMode="auto">
            <a:xfrm>
              <a:off x="3137037" y="3362162"/>
              <a:ext cx="49614" cy="36084"/>
            </a:xfrm>
            <a:custGeom>
              <a:avLst/>
              <a:gdLst>
                <a:gd name="T0" fmla="*/ 2147483647 w 89"/>
                <a:gd name="T1" fmla="*/ 2147483647 h 57"/>
                <a:gd name="T2" fmla="*/ 2147483647 w 89"/>
                <a:gd name="T3" fmla="*/ 2147483647 h 57"/>
                <a:gd name="T4" fmla="*/ 2147483647 w 89"/>
                <a:gd name="T5" fmla="*/ 2147483647 h 57"/>
                <a:gd name="T6" fmla="*/ 2147483647 w 89"/>
                <a:gd name="T7" fmla="*/ 2147483647 h 57"/>
                <a:gd name="T8" fmla="*/ 0 w 89"/>
                <a:gd name="T9" fmla="*/ 2147483647 h 57"/>
                <a:gd name="T10" fmla="*/ 2147483647 w 89"/>
                <a:gd name="T11" fmla="*/ 2147483647 h 57"/>
                <a:gd name="T12" fmla="*/ 2147483647 w 89"/>
                <a:gd name="T13" fmla="*/ 2147483647 h 57"/>
                <a:gd name="T14" fmla="*/ 2147483647 w 89"/>
                <a:gd name="T15" fmla="*/ 2147483647 h 57"/>
                <a:gd name="T16" fmla="*/ 2147483647 w 89"/>
                <a:gd name="T17" fmla="*/ 0 h 57"/>
                <a:gd name="T18" fmla="*/ 2147483647 w 89"/>
                <a:gd name="T19" fmla="*/ 2147483647 h 57"/>
                <a:gd name="T20" fmla="*/ 2147483647 w 89"/>
                <a:gd name="T21" fmla="*/ 2147483647 h 57"/>
                <a:gd name="T22" fmla="*/ 2147483647 w 89"/>
                <a:gd name="T23" fmla="*/ 2147483647 h 57"/>
                <a:gd name="T24" fmla="*/ 2147483647 w 89"/>
                <a:gd name="T25" fmla="*/ 2147483647 h 57"/>
                <a:gd name="T26" fmla="*/ 2147483647 w 89"/>
                <a:gd name="T27" fmla="*/ 2147483647 h 57"/>
                <a:gd name="T28" fmla="*/ 2147483647 w 89"/>
                <a:gd name="T29" fmla="*/ 2147483647 h 57"/>
                <a:gd name="T30" fmla="*/ 2147483647 w 89"/>
                <a:gd name="T31" fmla="*/ 2147483647 h 57"/>
                <a:gd name="T32" fmla="*/ 2147483647 w 89"/>
                <a:gd name="T33" fmla="*/ 2147483647 h 57"/>
                <a:gd name="T34" fmla="*/ 2147483647 w 89"/>
                <a:gd name="T35" fmla="*/ 2147483647 h 57"/>
                <a:gd name="T36" fmla="*/ 2147483647 w 89"/>
                <a:gd name="T37" fmla="*/ 2147483647 h 57"/>
                <a:gd name="T38" fmla="*/ 2147483647 w 89"/>
                <a:gd name="T39" fmla="*/ 2147483647 h 57"/>
                <a:gd name="T40" fmla="*/ 2147483647 w 89"/>
                <a:gd name="T41" fmla="*/ 2147483647 h 57"/>
                <a:gd name="T42" fmla="*/ 2147483647 w 89"/>
                <a:gd name="T43" fmla="*/ 2147483647 h 57"/>
                <a:gd name="T44" fmla="*/ 2147483647 w 89"/>
                <a:gd name="T45" fmla="*/ 2147483647 h 57"/>
                <a:gd name="T46" fmla="*/ 2147483647 w 89"/>
                <a:gd name="T47" fmla="*/ 2147483647 h 57"/>
                <a:gd name="T48" fmla="*/ 2147483647 w 89"/>
                <a:gd name="T49" fmla="*/ 2147483647 h 57"/>
                <a:gd name="T50" fmla="*/ 2147483647 w 89"/>
                <a:gd name="T51" fmla="*/ 2147483647 h 57"/>
                <a:gd name="T52" fmla="*/ 2147483647 w 89"/>
                <a:gd name="T53" fmla="*/ 2147483647 h 57"/>
                <a:gd name="T54" fmla="*/ 2147483647 w 89"/>
                <a:gd name="T55" fmla="*/ 2147483647 h 57"/>
                <a:gd name="T56" fmla="*/ 2147483647 w 89"/>
                <a:gd name="T57" fmla="*/ 2147483647 h 57"/>
                <a:gd name="T58" fmla="*/ 2147483647 w 89"/>
                <a:gd name="T59" fmla="*/ 2147483647 h 5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9"/>
                <a:gd name="T91" fmla="*/ 0 h 57"/>
                <a:gd name="T92" fmla="*/ 89 w 89"/>
                <a:gd name="T93" fmla="*/ 57 h 5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9" h="57">
                  <a:moveTo>
                    <a:pt x="6" y="51"/>
                  </a:moveTo>
                  <a:lnTo>
                    <a:pt x="11" y="51"/>
                  </a:lnTo>
                  <a:lnTo>
                    <a:pt x="6" y="40"/>
                  </a:lnTo>
                  <a:lnTo>
                    <a:pt x="7" y="25"/>
                  </a:lnTo>
                  <a:lnTo>
                    <a:pt x="0" y="23"/>
                  </a:lnTo>
                  <a:lnTo>
                    <a:pt x="7" y="13"/>
                  </a:lnTo>
                  <a:lnTo>
                    <a:pt x="34" y="21"/>
                  </a:lnTo>
                  <a:lnTo>
                    <a:pt x="51" y="12"/>
                  </a:lnTo>
                  <a:lnTo>
                    <a:pt x="80" y="0"/>
                  </a:lnTo>
                  <a:lnTo>
                    <a:pt x="89" y="13"/>
                  </a:lnTo>
                  <a:lnTo>
                    <a:pt x="83" y="15"/>
                  </a:lnTo>
                  <a:lnTo>
                    <a:pt x="80" y="13"/>
                  </a:lnTo>
                  <a:lnTo>
                    <a:pt x="76" y="15"/>
                  </a:lnTo>
                  <a:lnTo>
                    <a:pt x="76" y="19"/>
                  </a:lnTo>
                  <a:lnTo>
                    <a:pt x="72" y="19"/>
                  </a:lnTo>
                  <a:lnTo>
                    <a:pt x="64" y="25"/>
                  </a:lnTo>
                  <a:lnTo>
                    <a:pt x="61" y="25"/>
                  </a:lnTo>
                  <a:lnTo>
                    <a:pt x="61" y="29"/>
                  </a:lnTo>
                  <a:lnTo>
                    <a:pt x="63" y="32"/>
                  </a:lnTo>
                  <a:lnTo>
                    <a:pt x="63" y="40"/>
                  </a:lnTo>
                  <a:lnTo>
                    <a:pt x="53" y="44"/>
                  </a:lnTo>
                  <a:lnTo>
                    <a:pt x="53" y="53"/>
                  </a:lnTo>
                  <a:lnTo>
                    <a:pt x="47" y="57"/>
                  </a:lnTo>
                  <a:lnTo>
                    <a:pt x="38" y="53"/>
                  </a:lnTo>
                  <a:lnTo>
                    <a:pt x="32" y="48"/>
                  </a:lnTo>
                  <a:lnTo>
                    <a:pt x="28" y="55"/>
                  </a:lnTo>
                  <a:lnTo>
                    <a:pt x="21" y="57"/>
                  </a:lnTo>
                  <a:lnTo>
                    <a:pt x="6" y="55"/>
                  </a:lnTo>
                  <a:lnTo>
                    <a:pt x="4" y="55"/>
                  </a:lnTo>
                  <a:lnTo>
                    <a:pt x="6" y="5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5" name="Freeform 71"/>
            <p:cNvSpPr>
              <a:spLocks/>
            </p:cNvSpPr>
            <p:nvPr/>
          </p:nvSpPr>
          <p:spPr bwMode="auto">
            <a:xfrm>
              <a:off x="2791943" y="3438988"/>
              <a:ext cx="201764" cy="183916"/>
            </a:xfrm>
            <a:custGeom>
              <a:avLst/>
              <a:gdLst>
                <a:gd name="T0" fmla="*/ 2147483647 w 369"/>
                <a:gd name="T1" fmla="*/ 2147483647 h 294"/>
                <a:gd name="T2" fmla="*/ 2147483647 w 369"/>
                <a:gd name="T3" fmla="*/ 2147483647 h 294"/>
                <a:gd name="T4" fmla="*/ 2147483647 w 369"/>
                <a:gd name="T5" fmla="*/ 2147483647 h 294"/>
                <a:gd name="T6" fmla="*/ 2147483647 w 369"/>
                <a:gd name="T7" fmla="*/ 2147483647 h 294"/>
                <a:gd name="T8" fmla="*/ 2147483647 w 369"/>
                <a:gd name="T9" fmla="*/ 2147483647 h 294"/>
                <a:gd name="T10" fmla="*/ 2147483647 w 369"/>
                <a:gd name="T11" fmla="*/ 2147483647 h 294"/>
                <a:gd name="T12" fmla="*/ 2147483647 w 369"/>
                <a:gd name="T13" fmla="*/ 2147483647 h 294"/>
                <a:gd name="T14" fmla="*/ 2147483647 w 369"/>
                <a:gd name="T15" fmla="*/ 2147483647 h 294"/>
                <a:gd name="T16" fmla="*/ 2147483647 w 369"/>
                <a:gd name="T17" fmla="*/ 2147483647 h 294"/>
                <a:gd name="T18" fmla="*/ 2147483647 w 369"/>
                <a:gd name="T19" fmla="*/ 2147483647 h 294"/>
                <a:gd name="T20" fmla="*/ 2147483647 w 369"/>
                <a:gd name="T21" fmla="*/ 2147483647 h 294"/>
                <a:gd name="T22" fmla="*/ 2147483647 w 369"/>
                <a:gd name="T23" fmla="*/ 2147483647 h 294"/>
                <a:gd name="T24" fmla="*/ 2147483647 w 369"/>
                <a:gd name="T25" fmla="*/ 2147483647 h 294"/>
                <a:gd name="T26" fmla="*/ 2147483647 w 369"/>
                <a:gd name="T27" fmla="*/ 2147483647 h 294"/>
                <a:gd name="T28" fmla="*/ 2147483647 w 369"/>
                <a:gd name="T29" fmla="*/ 2147483647 h 294"/>
                <a:gd name="T30" fmla="*/ 2147483647 w 369"/>
                <a:gd name="T31" fmla="*/ 2147483647 h 294"/>
                <a:gd name="T32" fmla="*/ 2147483647 w 369"/>
                <a:gd name="T33" fmla="*/ 2147483647 h 294"/>
                <a:gd name="T34" fmla="*/ 2147483647 w 369"/>
                <a:gd name="T35" fmla="*/ 2147483647 h 294"/>
                <a:gd name="T36" fmla="*/ 2147483647 w 369"/>
                <a:gd name="T37" fmla="*/ 2147483647 h 294"/>
                <a:gd name="T38" fmla="*/ 2147483647 w 369"/>
                <a:gd name="T39" fmla="*/ 2147483647 h 294"/>
                <a:gd name="T40" fmla="*/ 2147483647 w 369"/>
                <a:gd name="T41" fmla="*/ 2147483647 h 294"/>
                <a:gd name="T42" fmla="*/ 2147483647 w 369"/>
                <a:gd name="T43" fmla="*/ 2147483647 h 294"/>
                <a:gd name="T44" fmla="*/ 2147483647 w 369"/>
                <a:gd name="T45" fmla="*/ 2147483647 h 294"/>
                <a:gd name="T46" fmla="*/ 2147483647 w 369"/>
                <a:gd name="T47" fmla="*/ 2147483647 h 294"/>
                <a:gd name="T48" fmla="*/ 2147483647 w 369"/>
                <a:gd name="T49" fmla="*/ 2147483647 h 294"/>
                <a:gd name="T50" fmla="*/ 2147483647 w 369"/>
                <a:gd name="T51" fmla="*/ 2147483647 h 294"/>
                <a:gd name="T52" fmla="*/ 2147483647 w 369"/>
                <a:gd name="T53" fmla="*/ 2147483647 h 294"/>
                <a:gd name="T54" fmla="*/ 0 w 369"/>
                <a:gd name="T55" fmla="*/ 2147483647 h 294"/>
                <a:gd name="T56" fmla="*/ 2147483647 w 369"/>
                <a:gd name="T57" fmla="*/ 2147483647 h 294"/>
                <a:gd name="T58" fmla="*/ 2147483647 w 369"/>
                <a:gd name="T59" fmla="*/ 2147483647 h 294"/>
                <a:gd name="T60" fmla="*/ 2147483647 w 369"/>
                <a:gd name="T61" fmla="*/ 2147483647 h 294"/>
                <a:gd name="T62" fmla="*/ 2147483647 w 369"/>
                <a:gd name="T63" fmla="*/ 2147483647 h 294"/>
                <a:gd name="T64" fmla="*/ 2147483647 w 369"/>
                <a:gd name="T65" fmla="*/ 2147483647 h 294"/>
                <a:gd name="T66" fmla="*/ 2147483647 w 369"/>
                <a:gd name="T67" fmla="*/ 2147483647 h 294"/>
                <a:gd name="T68" fmla="*/ 2147483647 w 369"/>
                <a:gd name="T69" fmla="*/ 2147483647 h 294"/>
                <a:gd name="T70" fmla="*/ 2147483647 w 369"/>
                <a:gd name="T71" fmla="*/ 2147483647 h 294"/>
                <a:gd name="T72" fmla="*/ 2147483647 w 369"/>
                <a:gd name="T73" fmla="*/ 2147483647 h 29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69"/>
                <a:gd name="T112" fmla="*/ 0 h 294"/>
                <a:gd name="T113" fmla="*/ 369 w 369"/>
                <a:gd name="T114" fmla="*/ 294 h 29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69" h="294">
                  <a:moveTo>
                    <a:pt x="217" y="13"/>
                  </a:moveTo>
                  <a:lnTo>
                    <a:pt x="228" y="30"/>
                  </a:lnTo>
                  <a:lnTo>
                    <a:pt x="251" y="45"/>
                  </a:lnTo>
                  <a:lnTo>
                    <a:pt x="264" y="45"/>
                  </a:lnTo>
                  <a:lnTo>
                    <a:pt x="287" y="43"/>
                  </a:lnTo>
                  <a:lnTo>
                    <a:pt x="310" y="43"/>
                  </a:lnTo>
                  <a:lnTo>
                    <a:pt x="323" y="53"/>
                  </a:lnTo>
                  <a:lnTo>
                    <a:pt x="344" y="57"/>
                  </a:lnTo>
                  <a:lnTo>
                    <a:pt x="363" y="49"/>
                  </a:lnTo>
                  <a:lnTo>
                    <a:pt x="369" y="53"/>
                  </a:lnTo>
                  <a:lnTo>
                    <a:pt x="357" y="60"/>
                  </a:lnTo>
                  <a:lnTo>
                    <a:pt x="363" y="64"/>
                  </a:lnTo>
                  <a:lnTo>
                    <a:pt x="363" y="72"/>
                  </a:lnTo>
                  <a:lnTo>
                    <a:pt x="335" y="93"/>
                  </a:lnTo>
                  <a:lnTo>
                    <a:pt x="300" y="108"/>
                  </a:lnTo>
                  <a:lnTo>
                    <a:pt x="259" y="167"/>
                  </a:lnTo>
                  <a:lnTo>
                    <a:pt x="257" y="174"/>
                  </a:lnTo>
                  <a:lnTo>
                    <a:pt x="264" y="190"/>
                  </a:lnTo>
                  <a:lnTo>
                    <a:pt x="272" y="195"/>
                  </a:lnTo>
                  <a:lnTo>
                    <a:pt x="264" y="203"/>
                  </a:lnTo>
                  <a:lnTo>
                    <a:pt x="251" y="222"/>
                  </a:lnTo>
                  <a:lnTo>
                    <a:pt x="249" y="243"/>
                  </a:lnTo>
                  <a:lnTo>
                    <a:pt x="230" y="246"/>
                  </a:lnTo>
                  <a:lnTo>
                    <a:pt x="217" y="252"/>
                  </a:lnTo>
                  <a:lnTo>
                    <a:pt x="213" y="267"/>
                  </a:lnTo>
                  <a:lnTo>
                    <a:pt x="205" y="262"/>
                  </a:lnTo>
                  <a:lnTo>
                    <a:pt x="188" y="269"/>
                  </a:lnTo>
                  <a:lnTo>
                    <a:pt x="182" y="264"/>
                  </a:lnTo>
                  <a:lnTo>
                    <a:pt x="163" y="267"/>
                  </a:lnTo>
                  <a:lnTo>
                    <a:pt x="148" y="265"/>
                  </a:lnTo>
                  <a:lnTo>
                    <a:pt x="131" y="277"/>
                  </a:lnTo>
                  <a:lnTo>
                    <a:pt x="122" y="275"/>
                  </a:lnTo>
                  <a:lnTo>
                    <a:pt x="112" y="294"/>
                  </a:lnTo>
                  <a:lnTo>
                    <a:pt x="87" y="281"/>
                  </a:lnTo>
                  <a:lnTo>
                    <a:pt x="87" y="271"/>
                  </a:lnTo>
                  <a:lnTo>
                    <a:pt x="84" y="262"/>
                  </a:lnTo>
                  <a:lnTo>
                    <a:pt x="57" y="246"/>
                  </a:lnTo>
                  <a:lnTo>
                    <a:pt x="59" y="229"/>
                  </a:lnTo>
                  <a:lnTo>
                    <a:pt x="72" y="226"/>
                  </a:lnTo>
                  <a:lnTo>
                    <a:pt x="63" y="212"/>
                  </a:lnTo>
                  <a:lnTo>
                    <a:pt x="65" y="195"/>
                  </a:lnTo>
                  <a:lnTo>
                    <a:pt x="51" y="169"/>
                  </a:lnTo>
                  <a:lnTo>
                    <a:pt x="70" y="161"/>
                  </a:lnTo>
                  <a:lnTo>
                    <a:pt x="65" y="138"/>
                  </a:lnTo>
                  <a:lnTo>
                    <a:pt x="72" y="134"/>
                  </a:lnTo>
                  <a:lnTo>
                    <a:pt x="78" y="110"/>
                  </a:lnTo>
                  <a:lnTo>
                    <a:pt x="95" y="85"/>
                  </a:lnTo>
                  <a:lnTo>
                    <a:pt x="78" y="76"/>
                  </a:lnTo>
                  <a:lnTo>
                    <a:pt x="42" y="76"/>
                  </a:lnTo>
                  <a:lnTo>
                    <a:pt x="30" y="62"/>
                  </a:lnTo>
                  <a:lnTo>
                    <a:pt x="15" y="70"/>
                  </a:lnTo>
                  <a:lnTo>
                    <a:pt x="8" y="60"/>
                  </a:lnTo>
                  <a:lnTo>
                    <a:pt x="11" y="51"/>
                  </a:lnTo>
                  <a:lnTo>
                    <a:pt x="6" y="49"/>
                  </a:lnTo>
                  <a:lnTo>
                    <a:pt x="8" y="36"/>
                  </a:lnTo>
                  <a:lnTo>
                    <a:pt x="0" y="32"/>
                  </a:lnTo>
                  <a:lnTo>
                    <a:pt x="0" y="19"/>
                  </a:lnTo>
                  <a:lnTo>
                    <a:pt x="11" y="9"/>
                  </a:lnTo>
                  <a:lnTo>
                    <a:pt x="29" y="11"/>
                  </a:lnTo>
                  <a:lnTo>
                    <a:pt x="29" y="3"/>
                  </a:lnTo>
                  <a:lnTo>
                    <a:pt x="44" y="0"/>
                  </a:lnTo>
                  <a:lnTo>
                    <a:pt x="61" y="3"/>
                  </a:lnTo>
                  <a:lnTo>
                    <a:pt x="67" y="1"/>
                  </a:lnTo>
                  <a:lnTo>
                    <a:pt x="74" y="5"/>
                  </a:lnTo>
                  <a:lnTo>
                    <a:pt x="91" y="1"/>
                  </a:lnTo>
                  <a:lnTo>
                    <a:pt x="112" y="1"/>
                  </a:lnTo>
                  <a:lnTo>
                    <a:pt x="116" y="7"/>
                  </a:lnTo>
                  <a:lnTo>
                    <a:pt x="135" y="9"/>
                  </a:lnTo>
                  <a:lnTo>
                    <a:pt x="162" y="5"/>
                  </a:lnTo>
                  <a:lnTo>
                    <a:pt x="177" y="11"/>
                  </a:lnTo>
                  <a:lnTo>
                    <a:pt x="182" y="7"/>
                  </a:lnTo>
                  <a:lnTo>
                    <a:pt x="200" y="9"/>
                  </a:lnTo>
                  <a:lnTo>
                    <a:pt x="200" y="19"/>
                  </a:lnTo>
                  <a:lnTo>
                    <a:pt x="217" y="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6" name="Freeform 72"/>
            <p:cNvSpPr>
              <a:spLocks/>
            </p:cNvSpPr>
            <p:nvPr/>
          </p:nvSpPr>
          <p:spPr bwMode="auto">
            <a:xfrm>
              <a:off x="2956221" y="3553062"/>
              <a:ext cx="8820" cy="15132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0 w 16"/>
                <a:gd name="T13" fmla="*/ 2147483647 h 25"/>
                <a:gd name="T14" fmla="*/ 2147483647 w 16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25"/>
                <a:gd name="T26" fmla="*/ 16 w 16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25">
                  <a:moveTo>
                    <a:pt x="10" y="0"/>
                  </a:moveTo>
                  <a:lnTo>
                    <a:pt x="16" y="4"/>
                  </a:lnTo>
                  <a:lnTo>
                    <a:pt x="8" y="11"/>
                  </a:lnTo>
                  <a:lnTo>
                    <a:pt x="16" y="19"/>
                  </a:lnTo>
                  <a:lnTo>
                    <a:pt x="4" y="25"/>
                  </a:lnTo>
                  <a:lnTo>
                    <a:pt x="8" y="19"/>
                  </a:lnTo>
                  <a:lnTo>
                    <a:pt x="0" y="1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7" name="Freeform 73"/>
            <p:cNvSpPr>
              <a:spLocks/>
            </p:cNvSpPr>
            <p:nvPr/>
          </p:nvSpPr>
          <p:spPr bwMode="auto">
            <a:xfrm>
              <a:off x="2977169" y="3530945"/>
              <a:ext cx="19846" cy="19788"/>
            </a:xfrm>
            <a:custGeom>
              <a:avLst/>
              <a:gdLst>
                <a:gd name="T0" fmla="*/ 0 w 38"/>
                <a:gd name="T1" fmla="*/ 2147483647 h 32"/>
                <a:gd name="T2" fmla="*/ 2147483647 w 38"/>
                <a:gd name="T3" fmla="*/ 2147483647 h 32"/>
                <a:gd name="T4" fmla="*/ 2147483647 w 38"/>
                <a:gd name="T5" fmla="*/ 0 h 32"/>
                <a:gd name="T6" fmla="*/ 2147483647 w 38"/>
                <a:gd name="T7" fmla="*/ 2147483647 h 32"/>
                <a:gd name="T8" fmla="*/ 2147483647 w 38"/>
                <a:gd name="T9" fmla="*/ 2147483647 h 32"/>
                <a:gd name="T10" fmla="*/ 2147483647 w 38"/>
                <a:gd name="T11" fmla="*/ 2147483647 h 32"/>
                <a:gd name="T12" fmla="*/ 2147483647 w 38"/>
                <a:gd name="T13" fmla="*/ 2147483647 h 32"/>
                <a:gd name="T14" fmla="*/ 2147483647 w 38"/>
                <a:gd name="T15" fmla="*/ 2147483647 h 32"/>
                <a:gd name="T16" fmla="*/ 2147483647 w 38"/>
                <a:gd name="T17" fmla="*/ 2147483647 h 32"/>
                <a:gd name="T18" fmla="*/ 0 w 38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32"/>
                <a:gd name="T32" fmla="*/ 38 w 38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32">
                  <a:moveTo>
                    <a:pt x="0" y="21"/>
                  </a:moveTo>
                  <a:lnTo>
                    <a:pt x="10" y="9"/>
                  </a:lnTo>
                  <a:lnTo>
                    <a:pt x="27" y="0"/>
                  </a:lnTo>
                  <a:lnTo>
                    <a:pt x="27" y="7"/>
                  </a:lnTo>
                  <a:lnTo>
                    <a:pt x="35" y="11"/>
                  </a:lnTo>
                  <a:lnTo>
                    <a:pt x="38" y="17"/>
                  </a:lnTo>
                  <a:lnTo>
                    <a:pt x="29" y="32"/>
                  </a:lnTo>
                  <a:lnTo>
                    <a:pt x="16" y="26"/>
                  </a:lnTo>
                  <a:lnTo>
                    <a:pt x="4" y="26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8" name="Freeform 74"/>
            <p:cNvSpPr>
              <a:spLocks/>
            </p:cNvSpPr>
            <p:nvPr/>
          </p:nvSpPr>
          <p:spPr bwMode="auto">
            <a:xfrm>
              <a:off x="3002528" y="3528617"/>
              <a:ext cx="7718" cy="6984"/>
            </a:xfrm>
            <a:custGeom>
              <a:avLst/>
              <a:gdLst>
                <a:gd name="T0" fmla="*/ 2147483647 w 13"/>
                <a:gd name="T1" fmla="*/ 0 h 11"/>
                <a:gd name="T2" fmla="*/ 2147483647 w 13"/>
                <a:gd name="T3" fmla="*/ 2147483647 h 11"/>
                <a:gd name="T4" fmla="*/ 2147483647 w 13"/>
                <a:gd name="T5" fmla="*/ 2147483647 h 11"/>
                <a:gd name="T6" fmla="*/ 0 w 13"/>
                <a:gd name="T7" fmla="*/ 2147483647 h 11"/>
                <a:gd name="T8" fmla="*/ 2147483647 w 13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1"/>
                <a:gd name="T17" fmla="*/ 13 w 13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1">
                  <a:moveTo>
                    <a:pt x="2" y="0"/>
                  </a:moveTo>
                  <a:lnTo>
                    <a:pt x="7" y="2"/>
                  </a:lnTo>
                  <a:lnTo>
                    <a:pt x="13" y="11"/>
                  </a:lnTo>
                  <a:lnTo>
                    <a:pt x="0" y="1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99" name="Freeform 75"/>
            <p:cNvSpPr>
              <a:spLocks/>
            </p:cNvSpPr>
            <p:nvPr/>
          </p:nvSpPr>
          <p:spPr bwMode="auto">
            <a:xfrm>
              <a:off x="2672869" y="3777719"/>
              <a:ext cx="12128" cy="16296"/>
            </a:xfrm>
            <a:custGeom>
              <a:avLst/>
              <a:gdLst>
                <a:gd name="T0" fmla="*/ 0 w 22"/>
                <a:gd name="T1" fmla="*/ 2147483647 h 24"/>
                <a:gd name="T2" fmla="*/ 2147483647 w 22"/>
                <a:gd name="T3" fmla="*/ 0 h 24"/>
                <a:gd name="T4" fmla="*/ 2147483647 w 22"/>
                <a:gd name="T5" fmla="*/ 2147483647 h 24"/>
                <a:gd name="T6" fmla="*/ 2147483647 w 22"/>
                <a:gd name="T7" fmla="*/ 2147483647 h 24"/>
                <a:gd name="T8" fmla="*/ 0 w 22"/>
                <a:gd name="T9" fmla="*/ 2147483647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"/>
                <a:gd name="T16" fmla="*/ 0 h 24"/>
                <a:gd name="T17" fmla="*/ 22 w 22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" h="24">
                  <a:moveTo>
                    <a:pt x="0" y="13"/>
                  </a:moveTo>
                  <a:lnTo>
                    <a:pt x="21" y="0"/>
                  </a:lnTo>
                  <a:lnTo>
                    <a:pt x="22" y="19"/>
                  </a:lnTo>
                  <a:lnTo>
                    <a:pt x="11" y="24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0" name="Freeform 76"/>
            <p:cNvSpPr>
              <a:spLocks/>
            </p:cNvSpPr>
            <p:nvPr/>
          </p:nvSpPr>
          <p:spPr bwMode="auto">
            <a:xfrm>
              <a:off x="2691613" y="3787031"/>
              <a:ext cx="9923" cy="11640"/>
            </a:xfrm>
            <a:custGeom>
              <a:avLst/>
              <a:gdLst>
                <a:gd name="T0" fmla="*/ 2147483647 w 19"/>
                <a:gd name="T1" fmla="*/ 0 h 19"/>
                <a:gd name="T2" fmla="*/ 2147483647 w 19"/>
                <a:gd name="T3" fmla="*/ 0 h 19"/>
                <a:gd name="T4" fmla="*/ 2147483647 w 19"/>
                <a:gd name="T5" fmla="*/ 2147483647 h 19"/>
                <a:gd name="T6" fmla="*/ 2147483647 w 19"/>
                <a:gd name="T7" fmla="*/ 2147483647 h 19"/>
                <a:gd name="T8" fmla="*/ 0 w 19"/>
                <a:gd name="T9" fmla="*/ 2147483647 h 19"/>
                <a:gd name="T10" fmla="*/ 2147483647 w 19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7" y="0"/>
                  </a:moveTo>
                  <a:lnTo>
                    <a:pt x="13" y="0"/>
                  </a:lnTo>
                  <a:lnTo>
                    <a:pt x="19" y="6"/>
                  </a:lnTo>
                  <a:lnTo>
                    <a:pt x="13" y="19"/>
                  </a:lnTo>
                  <a:lnTo>
                    <a:pt x="0" y="17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1" name="Freeform 77"/>
            <p:cNvSpPr>
              <a:spLocks/>
            </p:cNvSpPr>
            <p:nvPr/>
          </p:nvSpPr>
          <p:spPr bwMode="auto">
            <a:xfrm>
              <a:off x="3116089" y="3252743"/>
              <a:ext cx="104741" cy="64021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0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0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2147483647 w 192"/>
                <a:gd name="T37" fmla="*/ 2147483647 h 105"/>
                <a:gd name="T38" fmla="*/ 2147483647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2147483647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2"/>
                <a:gd name="T97" fmla="*/ 0 h 105"/>
                <a:gd name="T98" fmla="*/ 192 w 192"/>
                <a:gd name="T99" fmla="*/ 105 h 1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2" h="105">
                  <a:moveTo>
                    <a:pt x="59" y="101"/>
                  </a:moveTo>
                  <a:lnTo>
                    <a:pt x="57" y="94"/>
                  </a:lnTo>
                  <a:lnTo>
                    <a:pt x="34" y="76"/>
                  </a:lnTo>
                  <a:lnTo>
                    <a:pt x="21" y="75"/>
                  </a:lnTo>
                  <a:lnTo>
                    <a:pt x="11" y="52"/>
                  </a:lnTo>
                  <a:lnTo>
                    <a:pt x="0" y="37"/>
                  </a:lnTo>
                  <a:lnTo>
                    <a:pt x="7" y="35"/>
                  </a:lnTo>
                  <a:lnTo>
                    <a:pt x="21" y="42"/>
                  </a:lnTo>
                  <a:lnTo>
                    <a:pt x="40" y="19"/>
                  </a:lnTo>
                  <a:lnTo>
                    <a:pt x="61" y="18"/>
                  </a:lnTo>
                  <a:lnTo>
                    <a:pt x="70" y="2"/>
                  </a:lnTo>
                  <a:lnTo>
                    <a:pt x="83" y="2"/>
                  </a:lnTo>
                  <a:lnTo>
                    <a:pt x="89" y="8"/>
                  </a:lnTo>
                  <a:lnTo>
                    <a:pt x="97" y="0"/>
                  </a:lnTo>
                  <a:lnTo>
                    <a:pt x="112" y="18"/>
                  </a:lnTo>
                  <a:lnTo>
                    <a:pt x="125" y="19"/>
                  </a:lnTo>
                  <a:lnTo>
                    <a:pt x="116" y="31"/>
                  </a:lnTo>
                  <a:lnTo>
                    <a:pt x="137" y="38"/>
                  </a:lnTo>
                  <a:lnTo>
                    <a:pt x="146" y="23"/>
                  </a:lnTo>
                  <a:lnTo>
                    <a:pt x="165" y="27"/>
                  </a:lnTo>
                  <a:lnTo>
                    <a:pt x="167" y="48"/>
                  </a:lnTo>
                  <a:lnTo>
                    <a:pt x="188" y="42"/>
                  </a:lnTo>
                  <a:lnTo>
                    <a:pt x="192" y="65"/>
                  </a:lnTo>
                  <a:lnTo>
                    <a:pt x="180" y="69"/>
                  </a:lnTo>
                  <a:lnTo>
                    <a:pt x="173" y="88"/>
                  </a:lnTo>
                  <a:lnTo>
                    <a:pt x="163" y="97"/>
                  </a:lnTo>
                  <a:lnTo>
                    <a:pt x="146" y="95"/>
                  </a:lnTo>
                  <a:lnTo>
                    <a:pt x="137" y="105"/>
                  </a:lnTo>
                  <a:lnTo>
                    <a:pt x="139" y="92"/>
                  </a:lnTo>
                  <a:lnTo>
                    <a:pt x="87" y="82"/>
                  </a:lnTo>
                  <a:lnTo>
                    <a:pt x="74" y="103"/>
                  </a:lnTo>
                  <a:lnTo>
                    <a:pt x="59" y="10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2" name="Freeform 78"/>
            <p:cNvSpPr>
              <a:spLocks/>
            </p:cNvSpPr>
            <p:nvPr/>
          </p:nvSpPr>
          <p:spPr bwMode="auto">
            <a:xfrm>
              <a:off x="3332186" y="3478565"/>
              <a:ext cx="50717" cy="46561"/>
            </a:xfrm>
            <a:custGeom>
              <a:avLst/>
              <a:gdLst>
                <a:gd name="T0" fmla="*/ 0 w 91"/>
                <a:gd name="T1" fmla="*/ 2147483647 h 76"/>
                <a:gd name="T2" fmla="*/ 2147483647 w 91"/>
                <a:gd name="T3" fmla="*/ 2147483647 h 76"/>
                <a:gd name="T4" fmla="*/ 2147483647 w 91"/>
                <a:gd name="T5" fmla="*/ 0 h 76"/>
                <a:gd name="T6" fmla="*/ 2147483647 w 91"/>
                <a:gd name="T7" fmla="*/ 2147483647 h 76"/>
                <a:gd name="T8" fmla="*/ 2147483647 w 91"/>
                <a:gd name="T9" fmla="*/ 2147483647 h 76"/>
                <a:gd name="T10" fmla="*/ 2147483647 w 91"/>
                <a:gd name="T11" fmla="*/ 2147483647 h 76"/>
                <a:gd name="T12" fmla="*/ 2147483647 w 91"/>
                <a:gd name="T13" fmla="*/ 2147483647 h 76"/>
                <a:gd name="T14" fmla="*/ 2147483647 w 91"/>
                <a:gd name="T15" fmla="*/ 2147483647 h 76"/>
                <a:gd name="T16" fmla="*/ 2147483647 w 91"/>
                <a:gd name="T17" fmla="*/ 2147483647 h 76"/>
                <a:gd name="T18" fmla="*/ 2147483647 w 91"/>
                <a:gd name="T19" fmla="*/ 2147483647 h 76"/>
                <a:gd name="T20" fmla="*/ 2147483647 w 91"/>
                <a:gd name="T21" fmla="*/ 2147483647 h 76"/>
                <a:gd name="T22" fmla="*/ 2147483647 w 91"/>
                <a:gd name="T23" fmla="*/ 2147483647 h 76"/>
                <a:gd name="T24" fmla="*/ 2147483647 w 91"/>
                <a:gd name="T25" fmla="*/ 2147483647 h 76"/>
                <a:gd name="T26" fmla="*/ 2147483647 w 91"/>
                <a:gd name="T27" fmla="*/ 2147483647 h 76"/>
                <a:gd name="T28" fmla="*/ 2147483647 w 91"/>
                <a:gd name="T29" fmla="*/ 2147483647 h 76"/>
                <a:gd name="T30" fmla="*/ 0 w 91"/>
                <a:gd name="T31" fmla="*/ 2147483647 h 76"/>
                <a:gd name="T32" fmla="*/ 0 w 91"/>
                <a:gd name="T33" fmla="*/ 2147483647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1"/>
                <a:gd name="T52" fmla="*/ 0 h 76"/>
                <a:gd name="T53" fmla="*/ 91 w 91"/>
                <a:gd name="T54" fmla="*/ 76 h 7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1" h="76">
                  <a:moveTo>
                    <a:pt x="0" y="34"/>
                  </a:moveTo>
                  <a:lnTo>
                    <a:pt x="6" y="17"/>
                  </a:lnTo>
                  <a:lnTo>
                    <a:pt x="36" y="0"/>
                  </a:lnTo>
                  <a:lnTo>
                    <a:pt x="46" y="8"/>
                  </a:lnTo>
                  <a:lnTo>
                    <a:pt x="63" y="4"/>
                  </a:lnTo>
                  <a:lnTo>
                    <a:pt x="69" y="23"/>
                  </a:lnTo>
                  <a:lnTo>
                    <a:pt x="91" y="33"/>
                  </a:lnTo>
                  <a:lnTo>
                    <a:pt x="76" y="46"/>
                  </a:lnTo>
                  <a:lnTo>
                    <a:pt x="67" y="40"/>
                  </a:lnTo>
                  <a:lnTo>
                    <a:pt x="42" y="46"/>
                  </a:lnTo>
                  <a:lnTo>
                    <a:pt x="31" y="61"/>
                  </a:lnTo>
                  <a:lnTo>
                    <a:pt x="21" y="63"/>
                  </a:lnTo>
                  <a:lnTo>
                    <a:pt x="8" y="76"/>
                  </a:lnTo>
                  <a:lnTo>
                    <a:pt x="6" y="69"/>
                  </a:lnTo>
                  <a:lnTo>
                    <a:pt x="19" y="52"/>
                  </a:lnTo>
                  <a:lnTo>
                    <a:pt x="0" y="48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3" name="Freeform 79"/>
            <p:cNvSpPr>
              <a:spLocks/>
            </p:cNvSpPr>
            <p:nvPr/>
          </p:nvSpPr>
          <p:spPr bwMode="auto">
            <a:xfrm>
              <a:off x="3334391" y="3478565"/>
              <a:ext cx="291069" cy="154815"/>
            </a:xfrm>
            <a:custGeom>
              <a:avLst/>
              <a:gdLst>
                <a:gd name="T0" fmla="*/ 2147483647 w 534"/>
                <a:gd name="T1" fmla="*/ 2147483647 h 247"/>
                <a:gd name="T2" fmla="*/ 2147483647 w 534"/>
                <a:gd name="T3" fmla="*/ 2147483647 h 247"/>
                <a:gd name="T4" fmla="*/ 2147483647 w 534"/>
                <a:gd name="T5" fmla="*/ 2147483647 h 247"/>
                <a:gd name="T6" fmla="*/ 2147483647 w 534"/>
                <a:gd name="T7" fmla="*/ 2147483647 h 247"/>
                <a:gd name="T8" fmla="*/ 2147483647 w 534"/>
                <a:gd name="T9" fmla="*/ 2147483647 h 247"/>
                <a:gd name="T10" fmla="*/ 2147483647 w 534"/>
                <a:gd name="T11" fmla="*/ 2147483647 h 247"/>
                <a:gd name="T12" fmla="*/ 2147483647 w 534"/>
                <a:gd name="T13" fmla="*/ 2147483647 h 247"/>
                <a:gd name="T14" fmla="*/ 2147483647 w 534"/>
                <a:gd name="T15" fmla="*/ 2147483647 h 247"/>
                <a:gd name="T16" fmla="*/ 2147483647 w 534"/>
                <a:gd name="T17" fmla="*/ 2147483647 h 247"/>
                <a:gd name="T18" fmla="*/ 2147483647 w 534"/>
                <a:gd name="T19" fmla="*/ 2147483647 h 247"/>
                <a:gd name="T20" fmla="*/ 2147483647 w 534"/>
                <a:gd name="T21" fmla="*/ 2147483647 h 247"/>
                <a:gd name="T22" fmla="*/ 0 w 534"/>
                <a:gd name="T23" fmla="*/ 2147483647 h 247"/>
                <a:gd name="T24" fmla="*/ 2147483647 w 534"/>
                <a:gd name="T25" fmla="*/ 2147483647 h 247"/>
                <a:gd name="T26" fmla="*/ 2147483647 w 534"/>
                <a:gd name="T27" fmla="*/ 2147483647 h 247"/>
                <a:gd name="T28" fmla="*/ 2147483647 w 534"/>
                <a:gd name="T29" fmla="*/ 2147483647 h 247"/>
                <a:gd name="T30" fmla="*/ 2147483647 w 534"/>
                <a:gd name="T31" fmla="*/ 2147483647 h 247"/>
                <a:gd name="T32" fmla="*/ 2147483647 w 534"/>
                <a:gd name="T33" fmla="*/ 2147483647 h 247"/>
                <a:gd name="T34" fmla="*/ 2147483647 w 534"/>
                <a:gd name="T35" fmla="*/ 2147483647 h 247"/>
                <a:gd name="T36" fmla="*/ 2147483647 w 534"/>
                <a:gd name="T37" fmla="*/ 2147483647 h 247"/>
                <a:gd name="T38" fmla="*/ 2147483647 w 534"/>
                <a:gd name="T39" fmla="*/ 2147483647 h 247"/>
                <a:gd name="T40" fmla="*/ 2147483647 w 534"/>
                <a:gd name="T41" fmla="*/ 0 h 247"/>
                <a:gd name="T42" fmla="*/ 2147483647 w 534"/>
                <a:gd name="T43" fmla="*/ 2147483647 h 247"/>
                <a:gd name="T44" fmla="*/ 2147483647 w 534"/>
                <a:gd name="T45" fmla="*/ 2147483647 h 247"/>
                <a:gd name="T46" fmla="*/ 2147483647 w 534"/>
                <a:gd name="T47" fmla="*/ 2147483647 h 247"/>
                <a:gd name="T48" fmla="*/ 2147483647 w 534"/>
                <a:gd name="T49" fmla="*/ 2147483647 h 247"/>
                <a:gd name="T50" fmla="*/ 2147483647 w 534"/>
                <a:gd name="T51" fmla="*/ 2147483647 h 247"/>
                <a:gd name="T52" fmla="*/ 2147483647 w 534"/>
                <a:gd name="T53" fmla="*/ 2147483647 h 247"/>
                <a:gd name="T54" fmla="*/ 2147483647 w 534"/>
                <a:gd name="T55" fmla="*/ 2147483647 h 247"/>
                <a:gd name="T56" fmla="*/ 2147483647 w 534"/>
                <a:gd name="T57" fmla="*/ 2147483647 h 247"/>
                <a:gd name="T58" fmla="*/ 2147483647 w 534"/>
                <a:gd name="T59" fmla="*/ 2147483647 h 247"/>
                <a:gd name="T60" fmla="*/ 2147483647 w 534"/>
                <a:gd name="T61" fmla="*/ 2147483647 h 247"/>
                <a:gd name="T62" fmla="*/ 2147483647 w 534"/>
                <a:gd name="T63" fmla="*/ 2147483647 h 247"/>
                <a:gd name="T64" fmla="*/ 2147483647 w 534"/>
                <a:gd name="T65" fmla="*/ 2147483647 h 247"/>
                <a:gd name="T66" fmla="*/ 2147483647 w 534"/>
                <a:gd name="T67" fmla="*/ 2147483647 h 247"/>
                <a:gd name="T68" fmla="*/ 2147483647 w 534"/>
                <a:gd name="T69" fmla="*/ 2147483647 h 247"/>
                <a:gd name="T70" fmla="*/ 2147483647 w 534"/>
                <a:gd name="T71" fmla="*/ 2147483647 h 247"/>
                <a:gd name="T72" fmla="*/ 2147483647 w 534"/>
                <a:gd name="T73" fmla="*/ 2147483647 h 247"/>
                <a:gd name="T74" fmla="*/ 2147483647 w 534"/>
                <a:gd name="T75" fmla="*/ 2147483647 h 247"/>
                <a:gd name="T76" fmla="*/ 2147483647 w 534"/>
                <a:gd name="T77" fmla="*/ 2147483647 h 247"/>
                <a:gd name="T78" fmla="*/ 2147483647 w 534"/>
                <a:gd name="T79" fmla="*/ 2147483647 h 247"/>
                <a:gd name="T80" fmla="*/ 2147483647 w 534"/>
                <a:gd name="T81" fmla="*/ 2147483647 h 247"/>
                <a:gd name="T82" fmla="*/ 2147483647 w 534"/>
                <a:gd name="T83" fmla="*/ 2147483647 h 247"/>
                <a:gd name="T84" fmla="*/ 2147483647 w 534"/>
                <a:gd name="T85" fmla="*/ 2147483647 h 24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34"/>
                <a:gd name="T130" fmla="*/ 0 h 247"/>
                <a:gd name="T131" fmla="*/ 534 w 534"/>
                <a:gd name="T132" fmla="*/ 247 h 24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34" h="247">
                  <a:moveTo>
                    <a:pt x="123" y="224"/>
                  </a:moveTo>
                  <a:lnTo>
                    <a:pt x="106" y="226"/>
                  </a:lnTo>
                  <a:lnTo>
                    <a:pt x="95" y="222"/>
                  </a:lnTo>
                  <a:lnTo>
                    <a:pt x="89" y="205"/>
                  </a:lnTo>
                  <a:lnTo>
                    <a:pt x="70" y="198"/>
                  </a:lnTo>
                  <a:lnTo>
                    <a:pt x="55" y="213"/>
                  </a:lnTo>
                  <a:lnTo>
                    <a:pt x="55" y="202"/>
                  </a:lnTo>
                  <a:lnTo>
                    <a:pt x="40" y="207"/>
                  </a:lnTo>
                  <a:lnTo>
                    <a:pt x="51" y="200"/>
                  </a:lnTo>
                  <a:lnTo>
                    <a:pt x="53" y="194"/>
                  </a:lnTo>
                  <a:lnTo>
                    <a:pt x="27" y="196"/>
                  </a:lnTo>
                  <a:lnTo>
                    <a:pt x="38" y="183"/>
                  </a:lnTo>
                  <a:lnTo>
                    <a:pt x="28" y="183"/>
                  </a:lnTo>
                  <a:lnTo>
                    <a:pt x="25" y="171"/>
                  </a:lnTo>
                  <a:lnTo>
                    <a:pt x="27" y="162"/>
                  </a:lnTo>
                  <a:lnTo>
                    <a:pt x="15" y="152"/>
                  </a:lnTo>
                  <a:lnTo>
                    <a:pt x="8" y="152"/>
                  </a:lnTo>
                  <a:lnTo>
                    <a:pt x="11" y="131"/>
                  </a:lnTo>
                  <a:lnTo>
                    <a:pt x="19" y="141"/>
                  </a:lnTo>
                  <a:lnTo>
                    <a:pt x="28" y="143"/>
                  </a:lnTo>
                  <a:lnTo>
                    <a:pt x="21" y="133"/>
                  </a:lnTo>
                  <a:lnTo>
                    <a:pt x="13" y="107"/>
                  </a:lnTo>
                  <a:lnTo>
                    <a:pt x="21" y="95"/>
                  </a:lnTo>
                  <a:lnTo>
                    <a:pt x="0" y="93"/>
                  </a:lnTo>
                  <a:lnTo>
                    <a:pt x="2" y="80"/>
                  </a:lnTo>
                  <a:lnTo>
                    <a:pt x="17" y="72"/>
                  </a:lnTo>
                  <a:lnTo>
                    <a:pt x="27" y="71"/>
                  </a:lnTo>
                  <a:lnTo>
                    <a:pt x="44" y="76"/>
                  </a:lnTo>
                  <a:lnTo>
                    <a:pt x="47" y="67"/>
                  </a:lnTo>
                  <a:lnTo>
                    <a:pt x="72" y="67"/>
                  </a:lnTo>
                  <a:lnTo>
                    <a:pt x="84" y="61"/>
                  </a:lnTo>
                  <a:lnTo>
                    <a:pt x="78" y="53"/>
                  </a:lnTo>
                  <a:lnTo>
                    <a:pt x="87" y="50"/>
                  </a:lnTo>
                  <a:lnTo>
                    <a:pt x="85" y="42"/>
                  </a:lnTo>
                  <a:lnTo>
                    <a:pt x="91" y="36"/>
                  </a:lnTo>
                  <a:lnTo>
                    <a:pt x="106" y="38"/>
                  </a:lnTo>
                  <a:lnTo>
                    <a:pt x="118" y="34"/>
                  </a:lnTo>
                  <a:lnTo>
                    <a:pt x="146" y="36"/>
                  </a:lnTo>
                  <a:lnTo>
                    <a:pt x="152" y="27"/>
                  </a:lnTo>
                  <a:lnTo>
                    <a:pt x="199" y="4"/>
                  </a:lnTo>
                  <a:lnTo>
                    <a:pt x="243" y="12"/>
                  </a:lnTo>
                  <a:lnTo>
                    <a:pt x="251" y="0"/>
                  </a:lnTo>
                  <a:lnTo>
                    <a:pt x="258" y="0"/>
                  </a:lnTo>
                  <a:lnTo>
                    <a:pt x="262" y="14"/>
                  </a:lnTo>
                  <a:lnTo>
                    <a:pt x="281" y="14"/>
                  </a:lnTo>
                  <a:lnTo>
                    <a:pt x="293" y="34"/>
                  </a:lnTo>
                  <a:lnTo>
                    <a:pt x="331" y="46"/>
                  </a:lnTo>
                  <a:lnTo>
                    <a:pt x="363" y="44"/>
                  </a:lnTo>
                  <a:lnTo>
                    <a:pt x="382" y="34"/>
                  </a:lnTo>
                  <a:lnTo>
                    <a:pt x="401" y="44"/>
                  </a:lnTo>
                  <a:lnTo>
                    <a:pt x="414" y="40"/>
                  </a:lnTo>
                  <a:lnTo>
                    <a:pt x="429" y="29"/>
                  </a:lnTo>
                  <a:lnTo>
                    <a:pt x="477" y="33"/>
                  </a:lnTo>
                  <a:lnTo>
                    <a:pt x="496" y="46"/>
                  </a:lnTo>
                  <a:lnTo>
                    <a:pt x="498" y="84"/>
                  </a:lnTo>
                  <a:lnTo>
                    <a:pt x="522" y="93"/>
                  </a:lnTo>
                  <a:lnTo>
                    <a:pt x="526" y="105"/>
                  </a:lnTo>
                  <a:lnTo>
                    <a:pt x="513" y="120"/>
                  </a:lnTo>
                  <a:lnTo>
                    <a:pt x="522" y="173"/>
                  </a:lnTo>
                  <a:lnTo>
                    <a:pt x="534" y="186"/>
                  </a:lnTo>
                  <a:lnTo>
                    <a:pt x="534" y="198"/>
                  </a:lnTo>
                  <a:lnTo>
                    <a:pt x="519" y="202"/>
                  </a:lnTo>
                  <a:lnTo>
                    <a:pt x="481" y="190"/>
                  </a:lnTo>
                  <a:lnTo>
                    <a:pt x="471" y="200"/>
                  </a:lnTo>
                  <a:lnTo>
                    <a:pt x="462" y="192"/>
                  </a:lnTo>
                  <a:lnTo>
                    <a:pt x="416" y="203"/>
                  </a:lnTo>
                  <a:lnTo>
                    <a:pt x="384" y="209"/>
                  </a:lnTo>
                  <a:lnTo>
                    <a:pt x="348" y="207"/>
                  </a:lnTo>
                  <a:lnTo>
                    <a:pt x="304" y="209"/>
                  </a:lnTo>
                  <a:lnTo>
                    <a:pt x="306" y="232"/>
                  </a:lnTo>
                  <a:lnTo>
                    <a:pt x="293" y="247"/>
                  </a:lnTo>
                  <a:lnTo>
                    <a:pt x="275" y="243"/>
                  </a:lnTo>
                  <a:lnTo>
                    <a:pt x="272" y="240"/>
                  </a:lnTo>
                  <a:lnTo>
                    <a:pt x="281" y="230"/>
                  </a:lnTo>
                  <a:lnTo>
                    <a:pt x="279" y="219"/>
                  </a:lnTo>
                  <a:lnTo>
                    <a:pt x="291" y="209"/>
                  </a:lnTo>
                  <a:lnTo>
                    <a:pt x="285" y="202"/>
                  </a:lnTo>
                  <a:lnTo>
                    <a:pt x="268" y="217"/>
                  </a:lnTo>
                  <a:lnTo>
                    <a:pt x="249" y="211"/>
                  </a:lnTo>
                  <a:lnTo>
                    <a:pt x="239" y="209"/>
                  </a:lnTo>
                  <a:lnTo>
                    <a:pt x="224" y="222"/>
                  </a:lnTo>
                  <a:lnTo>
                    <a:pt x="196" y="234"/>
                  </a:lnTo>
                  <a:lnTo>
                    <a:pt x="175" y="226"/>
                  </a:lnTo>
                  <a:lnTo>
                    <a:pt x="167" y="215"/>
                  </a:lnTo>
                  <a:lnTo>
                    <a:pt x="127" y="202"/>
                  </a:lnTo>
                  <a:lnTo>
                    <a:pt x="123" y="22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4" name="Freeform 80"/>
            <p:cNvSpPr>
              <a:spLocks/>
            </p:cNvSpPr>
            <p:nvPr/>
          </p:nvSpPr>
          <p:spPr bwMode="auto">
            <a:xfrm>
              <a:off x="3181139" y="3314436"/>
              <a:ext cx="104741" cy="77989"/>
            </a:xfrm>
            <a:custGeom>
              <a:avLst/>
              <a:gdLst>
                <a:gd name="T0" fmla="*/ 2147483647 w 192"/>
                <a:gd name="T1" fmla="*/ 2147483647 h 124"/>
                <a:gd name="T2" fmla="*/ 2147483647 w 192"/>
                <a:gd name="T3" fmla="*/ 2147483647 h 124"/>
                <a:gd name="T4" fmla="*/ 2147483647 w 192"/>
                <a:gd name="T5" fmla="*/ 2147483647 h 124"/>
                <a:gd name="T6" fmla="*/ 2147483647 w 192"/>
                <a:gd name="T7" fmla="*/ 2147483647 h 124"/>
                <a:gd name="T8" fmla="*/ 2147483647 w 192"/>
                <a:gd name="T9" fmla="*/ 2147483647 h 124"/>
                <a:gd name="T10" fmla="*/ 2147483647 w 192"/>
                <a:gd name="T11" fmla="*/ 2147483647 h 124"/>
                <a:gd name="T12" fmla="*/ 2147483647 w 192"/>
                <a:gd name="T13" fmla="*/ 2147483647 h 124"/>
                <a:gd name="T14" fmla="*/ 0 w 192"/>
                <a:gd name="T15" fmla="*/ 2147483647 h 124"/>
                <a:gd name="T16" fmla="*/ 2147483647 w 192"/>
                <a:gd name="T17" fmla="*/ 2147483647 h 124"/>
                <a:gd name="T18" fmla="*/ 2147483647 w 192"/>
                <a:gd name="T19" fmla="*/ 2147483647 h 124"/>
                <a:gd name="T20" fmla="*/ 2147483647 w 192"/>
                <a:gd name="T21" fmla="*/ 2147483647 h 124"/>
                <a:gd name="T22" fmla="*/ 2147483647 w 192"/>
                <a:gd name="T23" fmla="*/ 2147483647 h 124"/>
                <a:gd name="T24" fmla="*/ 2147483647 w 192"/>
                <a:gd name="T25" fmla="*/ 2147483647 h 124"/>
                <a:gd name="T26" fmla="*/ 2147483647 w 192"/>
                <a:gd name="T27" fmla="*/ 2147483647 h 124"/>
                <a:gd name="T28" fmla="*/ 2147483647 w 192"/>
                <a:gd name="T29" fmla="*/ 2147483647 h 124"/>
                <a:gd name="T30" fmla="*/ 2147483647 w 192"/>
                <a:gd name="T31" fmla="*/ 2147483647 h 124"/>
                <a:gd name="T32" fmla="*/ 2147483647 w 192"/>
                <a:gd name="T33" fmla="*/ 2147483647 h 124"/>
                <a:gd name="T34" fmla="*/ 2147483647 w 192"/>
                <a:gd name="T35" fmla="*/ 2147483647 h 124"/>
                <a:gd name="T36" fmla="*/ 2147483647 w 192"/>
                <a:gd name="T37" fmla="*/ 2147483647 h 124"/>
                <a:gd name="T38" fmla="*/ 2147483647 w 192"/>
                <a:gd name="T39" fmla="*/ 2147483647 h 124"/>
                <a:gd name="T40" fmla="*/ 2147483647 w 192"/>
                <a:gd name="T41" fmla="*/ 2147483647 h 124"/>
                <a:gd name="T42" fmla="*/ 2147483647 w 192"/>
                <a:gd name="T43" fmla="*/ 0 h 124"/>
                <a:gd name="T44" fmla="*/ 2147483647 w 192"/>
                <a:gd name="T45" fmla="*/ 2147483647 h 124"/>
                <a:gd name="T46" fmla="*/ 2147483647 w 192"/>
                <a:gd name="T47" fmla="*/ 2147483647 h 124"/>
                <a:gd name="T48" fmla="*/ 2147483647 w 192"/>
                <a:gd name="T49" fmla="*/ 2147483647 h 124"/>
                <a:gd name="T50" fmla="*/ 2147483647 w 192"/>
                <a:gd name="T51" fmla="*/ 2147483647 h 124"/>
                <a:gd name="T52" fmla="*/ 2147483647 w 192"/>
                <a:gd name="T53" fmla="*/ 2147483647 h 124"/>
                <a:gd name="T54" fmla="*/ 2147483647 w 192"/>
                <a:gd name="T55" fmla="*/ 2147483647 h 124"/>
                <a:gd name="T56" fmla="*/ 2147483647 w 192"/>
                <a:gd name="T57" fmla="*/ 2147483647 h 124"/>
                <a:gd name="T58" fmla="*/ 2147483647 w 192"/>
                <a:gd name="T59" fmla="*/ 2147483647 h 124"/>
                <a:gd name="T60" fmla="*/ 2147483647 w 192"/>
                <a:gd name="T61" fmla="*/ 2147483647 h 1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2"/>
                <a:gd name="T94" fmla="*/ 0 h 124"/>
                <a:gd name="T95" fmla="*/ 192 w 192"/>
                <a:gd name="T96" fmla="*/ 124 h 12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2" h="124">
                  <a:moveTo>
                    <a:pt x="121" y="106"/>
                  </a:moveTo>
                  <a:lnTo>
                    <a:pt x="98" y="105"/>
                  </a:lnTo>
                  <a:lnTo>
                    <a:pt x="68" y="110"/>
                  </a:lnTo>
                  <a:lnTo>
                    <a:pt x="51" y="124"/>
                  </a:lnTo>
                  <a:lnTo>
                    <a:pt x="19" y="112"/>
                  </a:lnTo>
                  <a:lnTo>
                    <a:pt x="11" y="95"/>
                  </a:lnTo>
                  <a:lnTo>
                    <a:pt x="9" y="91"/>
                  </a:lnTo>
                  <a:lnTo>
                    <a:pt x="0" y="76"/>
                  </a:lnTo>
                  <a:lnTo>
                    <a:pt x="5" y="72"/>
                  </a:lnTo>
                  <a:lnTo>
                    <a:pt x="3" y="61"/>
                  </a:lnTo>
                  <a:lnTo>
                    <a:pt x="11" y="53"/>
                  </a:lnTo>
                  <a:lnTo>
                    <a:pt x="9" y="40"/>
                  </a:lnTo>
                  <a:lnTo>
                    <a:pt x="24" y="44"/>
                  </a:lnTo>
                  <a:lnTo>
                    <a:pt x="34" y="29"/>
                  </a:lnTo>
                  <a:lnTo>
                    <a:pt x="34" y="15"/>
                  </a:lnTo>
                  <a:lnTo>
                    <a:pt x="45" y="25"/>
                  </a:lnTo>
                  <a:lnTo>
                    <a:pt x="76" y="21"/>
                  </a:lnTo>
                  <a:lnTo>
                    <a:pt x="87" y="13"/>
                  </a:lnTo>
                  <a:lnTo>
                    <a:pt x="104" y="17"/>
                  </a:lnTo>
                  <a:lnTo>
                    <a:pt x="121" y="2"/>
                  </a:lnTo>
                  <a:lnTo>
                    <a:pt x="140" y="8"/>
                  </a:lnTo>
                  <a:lnTo>
                    <a:pt x="150" y="0"/>
                  </a:lnTo>
                  <a:lnTo>
                    <a:pt x="157" y="10"/>
                  </a:lnTo>
                  <a:lnTo>
                    <a:pt x="171" y="8"/>
                  </a:lnTo>
                  <a:lnTo>
                    <a:pt x="192" y="32"/>
                  </a:lnTo>
                  <a:lnTo>
                    <a:pt x="188" y="38"/>
                  </a:lnTo>
                  <a:lnTo>
                    <a:pt x="169" y="48"/>
                  </a:lnTo>
                  <a:lnTo>
                    <a:pt x="148" y="86"/>
                  </a:lnTo>
                  <a:lnTo>
                    <a:pt x="146" y="97"/>
                  </a:lnTo>
                  <a:lnTo>
                    <a:pt x="131" y="101"/>
                  </a:lnTo>
                  <a:lnTo>
                    <a:pt x="121" y="10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5" name="Freeform 81"/>
            <p:cNvSpPr>
              <a:spLocks/>
            </p:cNvSpPr>
            <p:nvPr/>
          </p:nvSpPr>
          <p:spPr bwMode="auto">
            <a:xfrm>
              <a:off x="3427004" y="3626396"/>
              <a:ext cx="39691" cy="25609"/>
            </a:xfrm>
            <a:custGeom>
              <a:avLst/>
              <a:gdLst>
                <a:gd name="T0" fmla="*/ 2147483647 w 70"/>
                <a:gd name="T1" fmla="*/ 2147483647 h 40"/>
                <a:gd name="T2" fmla="*/ 2147483647 w 70"/>
                <a:gd name="T3" fmla="*/ 2147483647 h 40"/>
                <a:gd name="T4" fmla="*/ 2147483647 w 70"/>
                <a:gd name="T5" fmla="*/ 2147483647 h 40"/>
                <a:gd name="T6" fmla="*/ 2147483647 w 70"/>
                <a:gd name="T7" fmla="*/ 0 h 40"/>
                <a:gd name="T8" fmla="*/ 2147483647 w 70"/>
                <a:gd name="T9" fmla="*/ 2147483647 h 40"/>
                <a:gd name="T10" fmla="*/ 2147483647 w 70"/>
                <a:gd name="T11" fmla="*/ 2147483647 h 40"/>
                <a:gd name="T12" fmla="*/ 2147483647 w 70"/>
                <a:gd name="T13" fmla="*/ 2147483647 h 40"/>
                <a:gd name="T14" fmla="*/ 2147483647 w 70"/>
                <a:gd name="T15" fmla="*/ 2147483647 h 40"/>
                <a:gd name="T16" fmla="*/ 2147483647 w 70"/>
                <a:gd name="T17" fmla="*/ 2147483647 h 40"/>
                <a:gd name="T18" fmla="*/ 0 w 70"/>
                <a:gd name="T19" fmla="*/ 2147483647 h 40"/>
                <a:gd name="T20" fmla="*/ 2147483647 w 70"/>
                <a:gd name="T21" fmla="*/ 2147483647 h 40"/>
                <a:gd name="T22" fmla="*/ 2147483647 w 70"/>
                <a:gd name="T23" fmla="*/ 2147483647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0"/>
                <a:gd name="T37" fmla="*/ 0 h 40"/>
                <a:gd name="T38" fmla="*/ 70 w 70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0" h="40">
                  <a:moveTo>
                    <a:pt x="21" y="13"/>
                  </a:moveTo>
                  <a:lnTo>
                    <a:pt x="36" y="15"/>
                  </a:lnTo>
                  <a:lnTo>
                    <a:pt x="55" y="3"/>
                  </a:lnTo>
                  <a:lnTo>
                    <a:pt x="65" y="0"/>
                  </a:lnTo>
                  <a:lnTo>
                    <a:pt x="70" y="3"/>
                  </a:lnTo>
                  <a:lnTo>
                    <a:pt x="49" y="17"/>
                  </a:lnTo>
                  <a:lnTo>
                    <a:pt x="49" y="30"/>
                  </a:lnTo>
                  <a:lnTo>
                    <a:pt x="28" y="40"/>
                  </a:lnTo>
                  <a:lnTo>
                    <a:pt x="9" y="36"/>
                  </a:lnTo>
                  <a:lnTo>
                    <a:pt x="0" y="26"/>
                  </a:lnTo>
                  <a:lnTo>
                    <a:pt x="19" y="21"/>
                  </a:lnTo>
                  <a:lnTo>
                    <a:pt x="21" y="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6" name="Freeform 82"/>
            <p:cNvSpPr>
              <a:spLocks/>
            </p:cNvSpPr>
            <p:nvPr/>
          </p:nvSpPr>
          <p:spPr bwMode="auto">
            <a:xfrm>
              <a:off x="3868018" y="3568194"/>
              <a:ext cx="220507" cy="200213"/>
            </a:xfrm>
            <a:custGeom>
              <a:avLst/>
              <a:gdLst>
                <a:gd name="T0" fmla="*/ 2147483647 w 402"/>
                <a:gd name="T1" fmla="*/ 2147483647 h 321"/>
                <a:gd name="T2" fmla="*/ 2147483647 w 402"/>
                <a:gd name="T3" fmla="*/ 2147483647 h 321"/>
                <a:gd name="T4" fmla="*/ 2147483647 w 402"/>
                <a:gd name="T5" fmla="*/ 2147483647 h 321"/>
                <a:gd name="T6" fmla="*/ 2147483647 w 402"/>
                <a:gd name="T7" fmla="*/ 2147483647 h 321"/>
                <a:gd name="T8" fmla="*/ 2147483647 w 402"/>
                <a:gd name="T9" fmla="*/ 2147483647 h 321"/>
                <a:gd name="T10" fmla="*/ 2147483647 w 402"/>
                <a:gd name="T11" fmla="*/ 2147483647 h 321"/>
                <a:gd name="T12" fmla="*/ 2147483647 w 402"/>
                <a:gd name="T13" fmla="*/ 2147483647 h 321"/>
                <a:gd name="T14" fmla="*/ 2147483647 w 402"/>
                <a:gd name="T15" fmla="*/ 2147483647 h 321"/>
                <a:gd name="T16" fmla="*/ 2147483647 w 402"/>
                <a:gd name="T17" fmla="*/ 2147483647 h 321"/>
                <a:gd name="T18" fmla="*/ 2147483647 w 402"/>
                <a:gd name="T19" fmla="*/ 2147483647 h 321"/>
                <a:gd name="T20" fmla="*/ 2147483647 w 402"/>
                <a:gd name="T21" fmla="*/ 2147483647 h 321"/>
                <a:gd name="T22" fmla="*/ 2147483647 w 402"/>
                <a:gd name="T23" fmla="*/ 2147483647 h 321"/>
                <a:gd name="T24" fmla="*/ 2147483647 w 402"/>
                <a:gd name="T25" fmla="*/ 2147483647 h 321"/>
                <a:gd name="T26" fmla="*/ 2147483647 w 402"/>
                <a:gd name="T27" fmla="*/ 0 h 321"/>
                <a:gd name="T28" fmla="*/ 2147483647 w 402"/>
                <a:gd name="T29" fmla="*/ 2147483647 h 321"/>
                <a:gd name="T30" fmla="*/ 2147483647 w 402"/>
                <a:gd name="T31" fmla="*/ 2147483647 h 321"/>
                <a:gd name="T32" fmla="*/ 2147483647 w 402"/>
                <a:gd name="T33" fmla="*/ 2147483647 h 321"/>
                <a:gd name="T34" fmla="*/ 2147483647 w 402"/>
                <a:gd name="T35" fmla="*/ 2147483647 h 321"/>
                <a:gd name="T36" fmla="*/ 2147483647 w 402"/>
                <a:gd name="T37" fmla="*/ 2147483647 h 321"/>
                <a:gd name="T38" fmla="*/ 2147483647 w 402"/>
                <a:gd name="T39" fmla="*/ 2147483647 h 321"/>
                <a:gd name="T40" fmla="*/ 2147483647 w 402"/>
                <a:gd name="T41" fmla="*/ 2147483647 h 321"/>
                <a:gd name="T42" fmla="*/ 2147483647 w 402"/>
                <a:gd name="T43" fmla="*/ 2147483647 h 321"/>
                <a:gd name="T44" fmla="*/ 2147483647 w 402"/>
                <a:gd name="T45" fmla="*/ 2147483647 h 321"/>
                <a:gd name="T46" fmla="*/ 2147483647 w 402"/>
                <a:gd name="T47" fmla="*/ 2147483647 h 321"/>
                <a:gd name="T48" fmla="*/ 2147483647 w 402"/>
                <a:gd name="T49" fmla="*/ 2147483647 h 321"/>
                <a:gd name="T50" fmla="*/ 2147483647 w 402"/>
                <a:gd name="T51" fmla="*/ 2147483647 h 321"/>
                <a:gd name="T52" fmla="*/ 2147483647 w 402"/>
                <a:gd name="T53" fmla="*/ 2147483647 h 321"/>
                <a:gd name="T54" fmla="*/ 2147483647 w 402"/>
                <a:gd name="T55" fmla="*/ 2147483647 h 321"/>
                <a:gd name="T56" fmla="*/ 2147483647 w 402"/>
                <a:gd name="T57" fmla="*/ 2147483647 h 321"/>
                <a:gd name="T58" fmla="*/ 2147483647 w 402"/>
                <a:gd name="T59" fmla="*/ 2147483647 h 321"/>
                <a:gd name="T60" fmla="*/ 2147483647 w 402"/>
                <a:gd name="T61" fmla="*/ 2147483647 h 321"/>
                <a:gd name="T62" fmla="*/ 2147483647 w 402"/>
                <a:gd name="T63" fmla="*/ 2147483647 h 321"/>
                <a:gd name="T64" fmla="*/ 2147483647 w 402"/>
                <a:gd name="T65" fmla="*/ 2147483647 h 321"/>
                <a:gd name="T66" fmla="*/ 2147483647 w 402"/>
                <a:gd name="T67" fmla="*/ 2147483647 h 321"/>
                <a:gd name="T68" fmla="*/ 2147483647 w 402"/>
                <a:gd name="T69" fmla="*/ 2147483647 h 321"/>
                <a:gd name="T70" fmla="*/ 2147483647 w 402"/>
                <a:gd name="T71" fmla="*/ 2147483647 h 321"/>
                <a:gd name="T72" fmla="*/ 2147483647 w 402"/>
                <a:gd name="T73" fmla="*/ 2147483647 h 321"/>
                <a:gd name="T74" fmla="*/ 2147483647 w 402"/>
                <a:gd name="T75" fmla="*/ 2147483647 h 321"/>
                <a:gd name="T76" fmla="*/ 2147483647 w 402"/>
                <a:gd name="T77" fmla="*/ 2147483647 h 321"/>
                <a:gd name="T78" fmla="*/ 2147483647 w 402"/>
                <a:gd name="T79" fmla="*/ 2147483647 h 321"/>
                <a:gd name="T80" fmla="*/ 2147483647 w 402"/>
                <a:gd name="T81" fmla="*/ 2147483647 h 321"/>
                <a:gd name="T82" fmla="*/ 2147483647 w 402"/>
                <a:gd name="T83" fmla="*/ 2147483647 h 321"/>
                <a:gd name="T84" fmla="*/ 2147483647 w 402"/>
                <a:gd name="T85" fmla="*/ 2147483647 h 321"/>
                <a:gd name="T86" fmla="*/ 2147483647 w 402"/>
                <a:gd name="T87" fmla="*/ 2147483647 h 321"/>
                <a:gd name="T88" fmla="*/ 2147483647 w 402"/>
                <a:gd name="T89" fmla="*/ 2147483647 h 321"/>
                <a:gd name="T90" fmla="*/ 0 w 402"/>
                <a:gd name="T91" fmla="*/ 2147483647 h 321"/>
                <a:gd name="T92" fmla="*/ 2147483647 w 402"/>
                <a:gd name="T93" fmla="*/ 2147483647 h 32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2"/>
                <a:gd name="T142" fmla="*/ 0 h 321"/>
                <a:gd name="T143" fmla="*/ 402 w 402"/>
                <a:gd name="T144" fmla="*/ 321 h 32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2" h="321">
                  <a:moveTo>
                    <a:pt x="19" y="100"/>
                  </a:moveTo>
                  <a:lnTo>
                    <a:pt x="39" y="106"/>
                  </a:lnTo>
                  <a:lnTo>
                    <a:pt x="51" y="121"/>
                  </a:lnTo>
                  <a:lnTo>
                    <a:pt x="72" y="96"/>
                  </a:lnTo>
                  <a:lnTo>
                    <a:pt x="110" y="85"/>
                  </a:lnTo>
                  <a:lnTo>
                    <a:pt x="127" y="45"/>
                  </a:lnTo>
                  <a:lnTo>
                    <a:pt x="144" y="43"/>
                  </a:lnTo>
                  <a:lnTo>
                    <a:pt x="169" y="49"/>
                  </a:lnTo>
                  <a:lnTo>
                    <a:pt x="201" y="51"/>
                  </a:lnTo>
                  <a:lnTo>
                    <a:pt x="209" y="53"/>
                  </a:lnTo>
                  <a:lnTo>
                    <a:pt x="237" y="43"/>
                  </a:lnTo>
                  <a:lnTo>
                    <a:pt x="258" y="32"/>
                  </a:lnTo>
                  <a:lnTo>
                    <a:pt x="271" y="34"/>
                  </a:lnTo>
                  <a:lnTo>
                    <a:pt x="294" y="0"/>
                  </a:lnTo>
                  <a:lnTo>
                    <a:pt x="306" y="7"/>
                  </a:lnTo>
                  <a:lnTo>
                    <a:pt x="311" y="28"/>
                  </a:lnTo>
                  <a:lnTo>
                    <a:pt x="309" y="64"/>
                  </a:lnTo>
                  <a:lnTo>
                    <a:pt x="351" y="43"/>
                  </a:lnTo>
                  <a:lnTo>
                    <a:pt x="402" y="49"/>
                  </a:lnTo>
                  <a:lnTo>
                    <a:pt x="397" y="53"/>
                  </a:lnTo>
                  <a:lnTo>
                    <a:pt x="385" y="58"/>
                  </a:lnTo>
                  <a:lnTo>
                    <a:pt x="344" y="64"/>
                  </a:lnTo>
                  <a:lnTo>
                    <a:pt x="304" y="85"/>
                  </a:lnTo>
                  <a:lnTo>
                    <a:pt x="298" y="98"/>
                  </a:lnTo>
                  <a:lnTo>
                    <a:pt x="306" y="119"/>
                  </a:lnTo>
                  <a:lnTo>
                    <a:pt x="287" y="155"/>
                  </a:lnTo>
                  <a:lnTo>
                    <a:pt x="262" y="159"/>
                  </a:lnTo>
                  <a:lnTo>
                    <a:pt x="271" y="184"/>
                  </a:lnTo>
                  <a:lnTo>
                    <a:pt x="247" y="193"/>
                  </a:lnTo>
                  <a:lnTo>
                    <a:pt x="241" y="210"/>
                  </a:lnTo>
                  <a:lnTo>
                    <a:pt x="245" y="235"/>
                  </a:lnTo>
                  <a:lnTo>
                    <a:pt x="233" y="247"/>
                  </a:lnTo>
                  <a:lnTo>
                    <a:pt x="218" y="233"/>
                  </a:lnTo>
                  <a:lnTo>
                    <a:pt x="197" y="252"/>
                  </a:lnTo>
                  <a:lnTo>
                    <a:pt x="176" y="252"/>
                  </a:lnTo>
                  <a:lnTo>
                    <a:pt x="163" y="269"/>
                  </a:lnTo>
                  <a:lnTo>
                    <a:pt x="155" y="309"/>
                  </a:lnTo>
                  <a:lnTo>
                    <a:pt x="51" y="321"/>
                  </a:lnTo>
                  <a:lnTo>
                    <a:pt x="24" y="315"/>
                  </a:lnTo>
                  <a:lnTo>
                    <a:pt x="5" y="300"/>
                  </a:lnTo>
                  <a:lnTo>
                    <a:pt x="17" y="277"/>
                  </a:lnTo>
                  <a:lnTo>
                    <a:pt x="34" y="269"/>
                  </a:lnTo>
                  <a:lnTo>
                    <a:pt x="24" y="245"/>
                  </a:lnTo>
                  <a:lnTo>
                    <a:pt x="9" y="239"/>
                  </a:lnTo>
                  <a:lnTo>
                    <a:pt x="7" y="176"/>
                  </a:lnTo>
                  <a:lnTo>
                    <a:pt x="0" y="157"/>
                  </a:lnTo>
                  <a:lnTo>
                    <a:pt x="19" y="10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7" name="Freeform 83"/>
            <p:cNvSpPr>
              <a:spLocks/>
            </p:cNvSpPr>
            <p:nvPr/>
          </p:nvSpPr>
          <p:spPr bwMode="auto">
            <a:xfrm>
              <a:off x="3710356" y="3825445"/>
              <a:ext cx="5513" cy="8148"/>
            </a:xfrm>
            <a:custGeom>
              <a:avLst/>
              <a:gdLst>
                <a:gd name="T0" fmla="*/ 2147483647 w 9"/>
                <a:gd name="T1" fmla="*/ 0 h 13"/>
                <a:gd name="T2" fmla="*/ 2147483647 w 9"/>
                <a:gd name="T3" fmla="*/ 0 h 13"/>
                <a:gd name="T4" fmla="*/ 2147483647 w 9"/>
                <a:gd name="T5" fmla="*/ 2147483647 h 13"/>
                <a:gd name="T6" fmla="*/ 0 w 9"/>
                <a:gd name="T7" fmla="*/ 2147483647 h 13"/>
                <a:gd name="T8" fmla="*/ 2147483647 w 9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3"/>
                <a:gd name="T17" fmla="*/ 9 w 9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3">
                  <a:moveTo>
                    <a:pt x="4" y="0"/>
                  </a:moveTo>
                  <a:lnTo>
                    <a:pt x="9" y="0"/>
                  </a:lnTo>
                  <a:lnTo>
                    <a:pt x="9" y="11"/>
                  </a:lnTo>
                  <a:lnTo>
                    <a:pt x="0" y="1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8" name="Freeform 84"/>
            <p:cNvSpPr>
              <a:spLocks/>
            </p:cNvSpPr>
            <p:nvPr/>
          </p:nvSpPr>
          <p:spPr bwMode="auto">
            <a:xfrm>
              <a:off x="4291392" y="3825445"/>
              <a:ext cx="72767" cy="112910"/>
            </a:xfrm>
            <a:custGeom>
              <a:avLst/>
              <a:gdLst>
                <a:gd name="T0" fmla="*/ 2147483647 w 135"/>
                <a:gd name="T1" fmla="*/ 2147483647 h 180"/>
                <a:gd name="T2" fmla="*/ 2147483647 w 135"/>
                <a:gd name="T3" fmla="*/ 2147483647 h 180"/>
                <a:gd name="T4" fmla="*/ 2147483647 w 135"/>
                <a:gd name="T5" fmla="*/ 2147483647 h 180"/>
                <a:gd name="T6" fmla="*/ 2147483647 w 135"/>
                <a:gd name="T7" fmla="*/ 2147483647 h 180"/>
                <a:gd name="T8" fmla="*/ 2147483647 w 135"/>
                <a:gd name="T9" fmla="*/ 2147483647 h 180"/>
                <a:gd name="T10" fmla="*/ 2147483647 w 135"/>
                <a:gd name="T11" fmla="*/ 2147483647 h 180"/>
                <a:gd name="T12" fmla="*/ 2147483647 w 135"/>
                <a:gd name="T13" fmla="*/ 2147483647 h 180"/>
                <a:gd name="T14" fmla="*/ 2147483647 w 135"/>
                <a:gd name="T15" fmla="*/ 2147483647 h 180"/>
                <a:gd name="T16" fmla="*/ 2147483647 w 135"/>
                <a:gd name="T17" fmla="*/ 2147483647 h 180"/>
                <a:gd name="T18" fmla="*/ 2147483647 w 135"/>
                <a:gd name="T19" fmla="*/ 2147483647 h 180"/>
                <a:gd name="T20" fmla="*/ 2147483647 w 135"/>
                <a:gd name="T21" fmla="*/ 2147483647 h 180"/>
                <a:gd name="T22" fmla="*/ 2147483647 w 135"/>
                <a:gd name="T23" fmla="*/ 2147483647 h 180"/>
                <a:gd name="T24" fmla="*/ 2147483647 w 135"/>
                <a:gd name="T25" fmla="*/ 2147483647 h 180"/>
                <a:gd name="T26" fmla="*/ 2147483647 w 135"/>
                <a:gd name="T27" fmla="*/ 2147483647 h 180"/>
                <a:gd name="T28" fmla="*/ 2147483647 w 135"/>
                <a:gd name="T29" fmla="*/ 2147483647 h 180"/>
                <a:gd name="T30" fmla="*/ 2147483647 w 135"/>
                <a:gd name="T31" fmla="*/ 2147483647 h 180"/>
                <a:gd name="T32" fmla="*/ 0 w 135"/>
                <a:gd name="T33" fmla="*/ 2147483647 h 180"/>
                <a:gd name="T34" fmla="*/ 2147483647 w 135"/>
                <a:gd name="T35" fmla="*/ 2147483647 h 180"/>
                <a:gd name="T36" fmla="*/ 2147483647 w 135"/>
                <a:gd name="T37" fmla="*/ 0 h 180"/>
                <a:gd name="T38" fmla="*/ 2147483647 w 135"/>
                <a:gd name="T39" fmla="*/ 2147483647 h 180"/>
                <a:gd name="T40" fmla="*/ 2147483647 w 135"/>
                <a:gd name="T41" fmla="*/ 2147483647 h 180"/>
                <a:gd name="T42" fmla="*/ 2147483647 w 135"/>
                <a:gd name="T43" fmla="*/ 2147483647 h 180"/>
                <a:gd name="T44" fmla="*/ 2147483647 w 135"/>
                <a:gd name="T45" fmla="*/ 2147483647 h 180"/>
                <a:gd name="T46" fmla="*/ 2147483647 w 135"/>
                <a:gd name="T47" fmla="*/ 2147483647 h 180"/>
                <a:gd name="T48" fmla="*/ 2147483647 w 135"/>
                <a:gd name="T49" fmla="*/ 2147483647 h 180"/>
                <a:gd name="T50" fmla="*/ 2147483647 w 135"/>
                <a:gd name="T51" fmla="*/ 2147483647 h 180"/>
                <a:gd name="T52" fmla="*/ 2147483647 w 135"/>
                <a:gd name="T53" fmla="*/ 2147483647 h 180"/>
                <a:gd name="T54" fmla="*/ 2147483647 w 135"/>
                <a:gd name="T55" fmla="*/ 2147483647 h 180"/>
                <a:gd name="T56" fmla="*/ 2147483647 w 135"/>
                <a:gd name="T57" fmla="*/ 2147483647 h 180"/>
                <a:gd name="T58" fmla="*/ 2147483647 w 135"/>
                <a:gd name="T59" fmla="*/ 2147483647 h 180"/>
                <a:gd name="T60" fmla="*/ 2147483647 w 135"/>
                <a:gd name="T61" fmla="*/ 2147483647 h 180"/>
                <a:gd name="T62" fmla="*/ 2147483647 w 135"/>
                <a:gd name="T63" fmla="*/ 2147483647 h 18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5"/>
                <a:gd name="T97" fmla="*/ 0 h 180"/>
                <a:gd name="T98" fmla="*/ 135 w 135"/>
                <a:gd name="T99" fmla="*/ 180 h 18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5" h="180">
                  <a:moveTo>
                    <a:pt x="123" y="180"/>
                  </a:moveTo>
                  <a:lnTo>
                    <a:pt x="112" y="173"/>
                  </a:lnTo>
                  <a:lnTo>
                    <a:pt x="106" y="156"/>
                  </a:lnTo>
                  <a:lnTo>
                    <a:pt x="97" y="127"/>
                  </a:lnTo>
                  <a:lnTo>
                    <a:pt x="89" y="129"/>
                  </a:lnTo>
                  <a:lnTo>
                    <a:pt x="82" y="140"/>
                  </a:lnTo>
                  <a:lnTo>
                    <a:pt x="72" y="127"/>
                  </a:lnTo>
                  <a:lnTo>
                    <a:pt x="72" y="140"/>
                  </a:lnTo>
                  <a:lnTo>
                    <a:pt x="59" y="150"/>
                  </a:lnTo>
                  <a:lnTo>
                    <a:pt x="51" y="140"/>
                  </a:lnTo>
                  <a:lnTo>
                    <a:pt x="40" y="150"/>
                  </a:lnTo>
                  <a:lnTo>
                    <a:pt x="19" y="87"/>
                  </a:lnTo>
                  <a:lnTo>
                    <a:pt x="17" y="70"/>
                  </a:lnTo>
                  <a:lnTo>
                    <a:pt x="7" y="62"/>
                  </a:lnTo>
                  <a:lnTo>
                    <a:pt x="13" y="53"/>
                  </a:lnTo>
                  <a:lnTo>
                    <a:pt x="28" y="43"/>
                  </a:lnTo>
                  <a:lnTo>
                    <a:pt x="0" y="28"/>
                  </a:lnTo>
                  <a:lnTo>
                    <a:pt x="6" y="7"/>
                  </a:lnTo>
                  <a:lnTo>
                    <a:pt x="15" y="0"/>
                  </a:lnTo>
                  <a:lnTo>
                    <a:pt x="51" y="21"/>
                  </a:lnTo>
                  <a:lnTo>
                    <a:pt x="55" y="34"/>
                  </a:lnTo>
                  <a:lnTo>
                    <a:pt x="129" y="43"/>
                  </a:lnTo>
                  <a:lnTo>
                    <a:pt x="125" y="66"/>
                  </a:lnTo>
                  <a:lnTo>
                    <a:pt x="101" y="81"/>
                  </a:lnTo>
                  <a:lnTo>
                    <a:pt x="95" y="102"/>
                  </a:lnTo>
                  <a:lnTo>
                    <a:pt x="106" y="100"/>
                  </a:lnTo>
                  <a:lnTo>
                    <a:pt x="114" y="83"/>
                  </a:lnTo>
                  <a:lnTo>
                    <a:pt x="121" y="83"/>
                  </a:lnTo>
                  <a:lnTo>
                    <a:pt x="125" y="140"/>
                  </a:lnTo>
                  <a:lnTo>
                    <a:pt x="133" y="152"/>
                  </a:lnTo>
                  <a:lnTo>
                    <a:pt x="135" y="171"/>
                  </a:lnTo>
                  <a:lnTo>
                    <a:pt x="123" y="18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09" name="Freeform 85"/>
            <p:cNvSpPr>
              <a:spLocks/>
            </p:cNvSpPr>
            <p:nvPr/>
          </p:nvSpPr>
          <p:spPr bwMode="auto">
            <a:xfrm>
              <a:off x="4302417" y="3792852"/>
              <a:ext cx="45204" cy="33756"/>
            </a:xfrm>
            <a:custGeom>
              <a:avLst/>
              <a:gdLst>
                <a:gd name="T0" fmla="*/ 2147483647 w 83"/>
                <a:gd name="T1" fmla="*/ 2147483647 h 55"/>
                <a:gd name="T2" fmla="*/ 2147483647 w 83"/>
                <a:gd name="T3" fmla="*/ 2147483647 h 55"/>
                <a:gd name="T4" fmla="*/ 2147483647 w 83"/>
                <a:gd name="T5" fmla="*/ 2147483647 h 55"/>
                <a:gd name="T6" fmla="*/ 2147483647 w 83"/>
                <a:gd name="T7" fmla="*/ 2147483647 h 55"/>
                <a:gd name="T8" fmla="*/ 2147483647 w 83"/>
                <a:gd name="T9" fmla="*/ 2147483647 h 55"/>
                <a:gd name="T10" fmla="*/ 0 w 83"/>
                <a:gd name="T11" fmla="*/ 2147483647 h 55"/>
                <a:gd name="T12" fmla="*/ 2147483647 w 83"/>
                <a:gd name="T13" fmla="*/ 2147483647 h 55"/>
                <a:gd name="T14" fmla="*/ 2147483647 w 83"/>
                <a:gd name="T15" fmla="*/ 2147483647 h 55"/>
                <a:gd name="T16" fmla="*/ 2147483647 w 83"/>
                <a:gd name="T17" fmla="*/ 0 h 55"/>
                <a:gd name="T18" fmla="*/ 2147483647 w 83"/>
                <a:gd name="T19" fmla="*/ 2147483647 h 55"/>
                <a:gd name="T20" fmla="*/ 2147483647 w 83"/>
                <a:gd name="T21" fmla="*/ 2147483647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3"/>
                <a:gd name="T34" fmla="*/ 0 h 55"/>
                <a:gd name="T35" fmla="*/ 83 w 83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3" h="55">
                  <a:moveTo>
                    <a:pt x="83" y="9"/>
                  </a:moveTo>
                  <a:lnTo>
                    <a:pt x="81" y="43"/>
                  </a:lnTo>
                  <a:lnTo>
                    <a:pt x="47" y="39"/>
                  </a:lnTo>
                  <a:lnTo>
                    <a:pt x="40" y="49"/>
                  </a:lnTo>
                  <a:lnTo>
                    <a:pt x="11" y="55"/>
                  </a:lnTo>
                  <a:lnTo>
                    <a:pt x="0" y="49"/>
                  </a:lnTo>
                  <a:lnTo>
                    <a:pt x="2" y="39"/>
                  </a:lnTo>
                  <a:lnTo>
                    <a:pt x="24" y="11"/>
                  </a:lnTo>
                  <a:lnTo>
                    <a:pt x="53" y="0"/>
                  </a:lnTo>
                  <a:lnTo>
                    <a:pt x="74" y="3"/>
                  </a:lnTo>
                  <a:lnTo>
                    <a:pt x="83" y="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0" name="Freeform 86"/>
            <p:cNvSpPr>
              <a:spLocks/>
            </p:cNvSpPr>
            <p:nvPr/>
          </p:nvSpPr>
          <p:spPr bwMode="auto">
            <a:xfrm>
              <a:off x="4358647" y="3787031"/>
              <a:ext cx="132304" cy="352700"/>
            </a:xfrm>
            <a:custGeom>
              <a:avLst/>
              <a:gdLst>
                <a:gd name="T0" fmla="*/ 0 w 244"/>
                <a:gd name="T1" fmla="*/ 2147483647 h 564"/>
                <a:gd name="T2" fmla="*/ 2147483647 w 244"/>
                <a:gd name="T3" fmla="*/ 2147483647 h 564"/>
                <a:gd name="T4" fmla="*/ 2147483647 w 244"/>
                <a:gd name="T5" fmla="*/ 2147483647 h 564"/>
                <a:gd name="T6" fmla="*/ 2147483647 w 244"/>
                <a:gd name="T7" fmla="*/ 2147483647 h 564"/>
                <a:gd name="T8" fmla="*/ 2147483647 w 244"/>
                <a:gd name="T9" fmla="*/ 2147483647 h 564"/>
                <a:gd name="T10" fmla="*/ 2147483647 w 244"/>
                <a:gd name="T11" fmla="*/ 2147483647 h 564"/>
                <a:gd name="T12" fmla="*/ 2147483647 w 244"/>
                <a:gd name="T13" fmla="*/ 2147483647 h 564"/>
                <a:gd name="T14" fmla="*/ 2147483647 w 244"/>
                <a:gd name="T15" fmla="*/ 2147483647 h 564"/>
                <a:gd name="T16" fmla="*/ 2147483647 w 244"/>
                <a:gd name="T17" fmla="*/ 2147483647 h 564"/>
                <a:gd name="T18" fmla="*/ 2147483647 w 244"/>
                <a:gd name="T19" fmla="*/ 2147483647 h 564"/>
                <a:gd name="T20" fmla="*/ 2147483647 w 244"/>
                <a:gd name="T21" fmla="*/ 2147483647 h 564"/>
                <a:gd name="T22" fmla="*/ 2147483647 w 244"/>
                <a:gd name="T23" fmla="*/ 2147483647 h 564"/>
                <a:gd name="T24" fmla="*/ 2147483647 w 244"/>
                <a:gd name="T25" fmla="*/ 2147483647 h 564"/>
                <a:gd name="T26" fmla="*/ 2147483647 w 244"/>
                <a:gd name="T27" fmla="*/ 2147483647 h 564"/>
                <a:gd name="T28" fmla="*/ 2147483647 w 244"/>
                <a:gd name="T29" fmla="*/ 0 h 564"/>
                <a:gd name="T30" fmla="*/ 2147483647 w 244"/>
                <a:gd name="T31" fmla="*/ 2147483647 h 564"/>
                <a:gd name="T32" fmla="*/ 2147483647 w 244"/>
                <a:gd name="T33" fmla="*/ 2147483647 h 564"/>
                <a:gd name="T34" fmla="*/ 2147483647 w 244"/>
                <a:gd name="T35" fmla="*/ 2147483647 h 564"/>
                <a:gd name="T36" fmla="*/ 2147483647 w 244"/>
                <a:gd name="T37" fmla="*/ 2147483647 h 564"/>
                <a:gd name="T38" fmla="*/ 2147483647 w 244"/>
                <a:gd name="T39" fmla="*/ 2147483647 h 564"/>
                <a:gd name="T40" fmla="*/ 2147483647 w 244"/>
                <a:gd name="T41" fmla="*/ 2147483647 h 564"/>
                <a:gd name="T42" fmla="*/ 2147483647 w 244"/>
                <a:gd name="T43" fmla="*/ 2147483647 h 564"/>
                <a:gd name="T44" fmla="*/ 2147483647 w 244"/>
                <a:gd name="T45" fmla="*/ 2147483647 h 564"/>
                <a:gd name="T46" fmla="*/ 2147483647 w 244"/>
                <a:gd name="T47" fmla="*/ 2147483647 h 564"/>
                <a:gd name="T48" fmla="*/ 2147483647 w 244"/>
                <a:gd name="T49" fmla="*/ 2147483647 h 564"/>
                <a:gd name="T50" fmla="*/ 2147483647 w 244"/>
                <a:gd name="T51" fmla="*/ 2147483647 h 564"/>
                <a:gd name="T52" fmla="*/ 2147483647 w 244"/>
                <a:gd name="T53" fmla="*/ 2147483647 h 564"/>
                <a:gd name="T54" fmla="*/ 2147483647 w 244"/>
                <a:gd name="T55" fmla="*/ 2147483647 h 564"/>
                <a:gd name="T56" fmla="*/ 2147483647 w 244"/>
                <a:gd name="T57" fmla="*/ 2147483647 h 564"/>
                <a:gd name="T58" fmla="*/ 2147483647 w 244"/>
                <a:gd name="T59" fmla="*/ 2147483647 h 564"/>
                <a:gd name="T60" fmla="*/ 2147483647 w 244"/>
                <a:gd name="T61" fmla="*/ 2147483647 h 564"/>
                <a:gd name="T62" fmla="*/ 2147483647 w 244"/>
                <a:gd name="T63" fmla="*/ 2147483647 h 564"/>
                <a:gd name="T64" fmla="*/ 2147483647 w 244"/>
                <a:gd name="T65" fmla="*/ 2147483647 h 564"/>
                <a:gd name="T66" fmla="*/ 2147483647 w 244"/>
                <a:gd name="T67" fmla="*/ 2147483647 h 564"/>
                <a:gd name="T68" fmla="*/ 2147483647 w 244"/>
                <a:gd name="T69" fmla="*/ 2147483647 h 564"/>
                <a:gd name="T70" fmla="*/ 2147483647 w 244"/>
                <a:gd name="T71" fmla="*/ 2147483647 h 564"/>
                <a:gd name="T72" fmla="*/ 2147483647 w 244"/>
                <a:gd name="T73" fmla="*/ 2147483647 h 564"/>
                <a:gd name="T74" fmla="*/ 2147483647 w 244"/>
                <a:gd name="T75" fmla="*/ 2147483647 h 564"/>
                <a:gd name="T76" fmla="*/ 2147483647 w 244"/>
                <a:gd name="T77" fmla="*/ 2147483647 h 564"/>
                <a:gd name="T78" fmla="*/ 2147483647 w 244"/>
                <a:gd name="T79" fmla="*/ 2147483647 h 564"/>
                <a:gd name="T80" fmla="*/ 2147483647 w 244"/>
                <a:gd name="T81" fmla="*/ 2147483647 h 564"/>
                <a:gd name="T82" fmla="*/ 2147483647 w 244"/>
                <a:gd name="T83" fmla="*/ 2147483647 h 564"/>
                <a:gd name="T84" fmla="*/ 2147483647 w 244"/>
                <a:gd name="T85" fmla="*/ 2147483647 h 564"/>
                <a:gd name="T86" fmla="*/ 2147483647 w 244"/>
                <a:gd name="T87" fmla="*/ 2147483647 h 564"/>
                <a:gd name="T88" fmla="*/ 2147483647 w 244"/>
                <a:gd name="T89" fmla="*/ 2147483647 h 564"/>
                <a:gd name="T90" fmla="*/ 2147483647 w 244"/>
                <a:gd name="T91" fmla="*/ 2147483647 h 564"/>
                <a:gd name="T92" fmla="*/ 2147483647 w 244"/>
                <a:gd name="T93" fmla="*/ 2147483647 h 564"/>
                <a:gd name="T94" fmla="*/ 2147483647 w 244"/>
                <a:gd name="T95" fmla="*/ 2147483647 h 564"/>
                <a:gd name="T96" fmla="*/ 2147483647 w 244"/>
                <a:gd name="T97" fmla="*/ 2147483647 h 564"/>
                <a:gd name="T98" fmla="*/ 2147483647 w 244"/>
                <a:gd name="T99" fmla="*/ 2147483647 h 564"/>
                <a:gd name="T100" fmla="*/ 2147483647 w 244"/>
                <a:gd name="T101" fmla="*/ 2147483647 h 564"/>
                <a:gd name="T102" fmla="*/ 2147483647 w 244"/>
                <a:gd name="T103" fmla="*/ 2147483647 h 564"/>
                <a:gd name="T104" fmla="*/ 2147483647 w 244"/>
                <a:gd name="T105" fmla="*/ 2147483647 h 564"/>
                <a:gd name="T106" fmla="*/ 2147483647 w 244"/>
                <a:gd name="T107" fmla="*/ 2147483647 h 564"/>
                <a:gd name="T108" fmla="*/ 2147483647 w 244"/>
                <a:gd name="T109" fmla="*/ 2147483647 h 564"/>
                <a:gd name="T110" fmla="*/ 2147483647 w 244"/>
                <a:gd name="T111" fmla="*/ 2147483647 h 564"/>
                <a:gd name="T112" fmla="*/ 2147483647 w 244"/>
                <a:gd name="T113" fmla="*/ 2147483647 h 564"/>
                <a:gd name="T114" fmla="*/ 2147483647 w 244"/>
                <a:gd name="T115" fmla="*/ 2147483647 h 564"/>
                <a:gd name="T116" fmla="*/ 2147483647 w 244"/>
                <a:gd name="T117" fmla="*/ 2147483647 h 564"/>
                <a:gd name="T118" fmla="*/ 2147483647 w 244"/>
                <a:gd name="T119" fmla="*/ 2147483647 h 564"/>
                <a:gd name="T120" fmla="*/ 2147483647 w 244"/>
                <a:gd name="T121" fmla="*/ 2147483647 h 564"/>
                <a:gd name="T122" fmla="*/ 0 w 244"/>
                <a:gd name="T123" fmla="*/ 2147483647 h 5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4"/>
                <a:gd name="T187" fmla="*/ 0 h 564"/>
                <a:gd name="T188" fmla="*/ 244 w 244"/>
                <a:gd name="T189" fmla="*/ 564 h 5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4" h="564">
                  <a:moveTo>
                    <a:pt x="0" y="243"/>
                  </a:moveTo>
                  <a:lnTo>
                    <a:pt x="12" y="234"/>
                  </a:lnTo>
                  <a:lnTo>
                    <a:pt x="10" y="215"/>
                  </a:lnTo>
                  <a:lnTo>
                    <a:pt x="19" y="205"/>
                  </a:lnTo>
                  <a:lnTo>
                    <a:pt x="19" y="179"/>
                  </a:lnTo>
                  <a:lnTo>
                    <a:pt x="27" y="177"/>
                  </a:lnTo>
                  <a:lnTo>
                    <a:pt x="25" y="135"/>
                  </a:lnTo>
                  <a:lnTo>
                    <a:pt x="42" y="129"/>
                  </a:lnTo>
                  <a:lnTo>
                    <a:pt x="57" y="106"/>
                  </a:lnTo>
                  <a:lnTo>
                    <a:pt x="57" y="84"/>
                  </a:lnTo>
                  <a:lnTo>
                    <a:pt x="86" y="42"/>
                  </a:lnTo>
                  <a:lnTo>
                    <a:pt x="109" y="30"/>
                  </a:lnTo>
                  <a:lnTo>
                    <a:pt x="122" y="34"/>
                  </a:lnTo>
                  <a:lnTo>
                    <a:pt x="124" y="13"/>
                  </a:lnTo>
                  <a:lnTo>
                    <a:pt x="152" y="0"/>
                  </a:lnTo>
                  <a:lnTo>
                    <a:pt x="164" y="13"/>
                  </a:lnTo>
                  <a:lnTo>
                    <a:pt x="170" y="78"/>
                  </a:lnTo>
                  <a:lnTo>
                    <a:pt x="143" y="106"/>
                  </a:lnTo>
                  <a:lnTo>
                    <a:pt x="149" y="142"/>
                  </a:lnTo>
                  <a:lnTo>
                    <a:pt x="173" y="133"/>
                  </a:lnTo>
                  <a:lnTo>
                    <a:pt x="177" y="160"/>
                  </a:lnTo>
                  <a:lnTo>
                    <a:pt x="200" y="169"/>
                  </a:lnTo>
                  <a:lnTo>
                    <a:pt x="179" y="199"/>
                  </a:lnTo>
                  <a:lnTo>
                    <a:pt x="223" y="218"/>
                  </a:lnTo>
                  <a:lnTo>
                    <a:pt x="236" y="205"/>
                  </a:lnTo>
                  <a:lnTo>
                    <a:pt x="244" y="207"/>
                  </a:lnTo>
                  <a:lnTo>
                    <a:pt x="242" y="218"/>
                  </a:lnTo>
                  <a:lnTo>
                    <a:pt x="232" y="226"/>
                  </a:lnTo>
                  <a:lnTo>
                    <a:pt x="221" y="251"/>
                  </a:lnTo>
                  <a:lnTo>
                    <a:pt x="202" y="249"/>
                  </a:lnTo>
                  <a:lnTo>
                    <a:pt x="177" y="274"/>
                  </a:lnTo>
                  <a:lnTo>
                    <a:pt x="156" y="277"/>
                  </a:lnTo>
                  <a:lnTo>
                    <a:pt x="139" y="311"/>
                  </a:lnTo>
                  <a:lnTo>
                    <a:pt x="151" y="323"/>
                  </a:lnTo>
                  <a:lnTo>
                    <a:pt x="149" y="349"/>
                  </a:lnTo>
                  <a:lnTo>
                    <a:pt x="170" y="363"/>
                  </a:lnTo>
                  <a:lnTo>
                    <a:pt x="175" y="393"/>
                  </a:lnTo>
                  <a:lnTo>
                    <a:pt x="162" y="408"/>
                  </a:lnTo>
                  <a:lnTo>
                    <a:pt x="162" y="422"/>
                  </a:lnTo>
                  <a:lnTo>
                    <a:pt x="198" y="456"/>
                  </a:lnTo>
                  <a:lnTo>
                    <a:pt x="190" y="486"/>
                  </a:lnTo>
                  <a:lnTo>
                    <a:pt x="198" y="513"/>
                  </a:lnTo>
                  <a:lnTo>
                    <a:pt x="196" y="532"/>
                  </a:lnTo>
                  <a:lnTo>
                    <a:pt x="183" y="541"/>
                  </a:lnTo>
                  <a:lnTo>
                    <a:pt x="173" y="564"/>
                  </a:lnTo>
                  <a:lnTo>
                    <a:pt x="170" y="547"/>
                  </a:lnTo>
                  <a:lnTo>
                    <a:pt x="185" y="515"/>
                  </a:lnTo>
                  <a:lnTo>
                    <a:pt x="177" y="501"/>
                  </a:lnTo>
                  <a:lnTo>
                    <a:pt x="175" y="471"/>
                  </a:lnTo>
                  <a:lnTo>
                    <a:pt x="156" y="450"/>
                  </a:lnTo>
                  <a:lnTo>
                    <a:pt x="151" y="422"/>
                  </a:lnTo>
                  <a:lnTo>
                    <a:pt x="143" y="380"/>
                  </a:lnTo>
                  <a:lnTo>
                    <a:pt x="124" y="357"/>
                  </a:lnTo>
                  <a:lnTo>
                    <a:pt x="107" y="370"/>
                  </a:lnTo>
                  <a:lnTo>
                    <a:pt x="84" y="397"/>
                  </a:lnTo>
                  <a:lnTo>
                    <a:pt x="44" y="387"/>
                  </a:lnTo>
                  <a:lnTo>
                    <a:pt x="50" y="359"/>
                  </a:lnTo>
                  <a:lnTo>
                    <a:pt x="57" y="338"/>
                  </a:lnTo>
                  <a:lnTo>
                    <a:pt x="42" y="270"/>
                  </a:lnTo>
                  <a:lnTo>
                    <a:pt x="21" y="262"/>
                  </a:lnTo>
                  <a:lnTo>
                    <a:pt x="14" y="270"/>
                  </a:lnTo>
                  <a:lnTo>
                    <a:pt x="0" y="24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1" name="Freeform 87"/>
            <p:cNvSpPr>
              <a:spLocks/>
            </p:cNvSpPr>
            <p:nvPr/>
          </p:nvSpPr>
          <p:spPr bwMode="auto">
            <a:xfrm>
              <a:off x="4690510" y="4220049"/>
              <a:ext cx="20949" cy="18624"/>
            </a:xfrm>
            <a:custGeom>
              <a:avLst/>
              <a:gdLst>
                <a:gd name="T0" fmla="*/ 0 w 40"/>
                <a:gd name="T1" fmla="*/ 2147483647 h 31"/>
                <a:gd name="T2" fmla="*/ 2147483647 w 40"/>
                <a:gd name="T3" fmla="*/ 0 h 31"/>
                <a:gd name="T4" fmla="*/ 2147483647 w 40"/>
                <a:gd name="T5" fmla="*/ 2147483647 h 31"/>
                <a:gd name="T6" fmla="*/ 2147483647 w 40"/>
                <a:gd name="T7" fmla="*/ 2147483647 h 31"/>
                <a:gd name="T8" fmla="*/ 2147483647 w 40"/>
                <a:gd name="T9" fmla="*/ 2147483647 h 31"/>
                <a:gd name="T10" fmla="*/ 2147483647 w 40"/>
                <a:gd name="T11" fmla="*/ 2147483647 h 31"/>
                <a:gd name="T12" fmla="*/ 2147483647 w 40"/>
                <a:gd name="T13" fmla="*/ 2147483647 h 31"/>
                <a:gd name="T14" fmla="*/ 2147483647 w 40"/>
                <a:gd name="T15" fmla="*/ 2147483647 h 31"/>
                <a:gd name="T16" fmla="*/ 0 w 40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31"/>
                <a:gd name="T29" fmla="*/ 40 w 40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31">
                  <a:moveTo>
                    <a:pt x="0" y="14"/>
                  </a:moveTo>
                  <a:lnTo>
                    <a:pt x="27" y="0"/>
                  </a:lnTo>
                  <a:lnTo>
                    <a:pt x="33" y="12"/>
                  </a:lnTo>
                  <a:lnTo>
                    <a:pt x="40" y="2"/>
                  </a:lnTo>
                  <a:lnTo>
                    <a:pt x="33" y="25"/>
                  </a:lnTo>
                  <a:lnTo>
                    <a:pt x="27" y="14"/>
                  </a:lnTo>
                  <a:lnTo>
                    <a:pt x="19" y="31"/>
                  </a:lnTo>
                  <a:lnTo>
                    <a:pt x="10" y="27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2" name="Freeform 88"/>
            <p:cNvSpPr>
              <a:spLocks/>
            </p:cNvSpPr>
            <p:nvPr/>
          </p:nvSpPr>
          <p:spPr bwMode="auto">
            <a:xfrm>
              <a:off x="4779816" y="3846397"/>
              <a:ext cx="29769" cy="71005"/>
            </a:xfrm>
            <a:custGeom>
              <a:avLst/>
              <a:gdLst>
                <a:gd name="T0" fmla="*/ 2147483647 w 55"/>
                <a:gd name="T1" fmla="*/ 0 h 114"/>
                <a:gd name="T2" fmla="*/ 2147483647 w 55"/>
                <a:gd name="T3" fmla="*/ 2147483647 h 114"/>
                <a:gd name="T4" fmla="*/ 2147483647 w 55"/>
                <a:gd name="T5" fmla="*/ 2147483647 h 114"/>
                <a:gd name="T6" fmla="*/ 2147483647 w 55"/>
                <a:gd name="T7" fmla="*/ 2147483647 h 114"/>
                <a:gd name="T8" fmla="*/ 2147483647 w 55"/>
                <a:gd name="T9" fmla="*/ 2147483647 h 114"/>
                <a:gd name="T10" fmla="*/ 2147483647 w 55"/>
                <a:gd name="T11" fmla="*/ 2147483647 h 114"/>
                <a:gd name="T12" fmla="*/ 2147483647 w 55"/>
                <a:gd name="T13" fmla="*/ 2147483647 h 114"/>
                <a:gd name="T14" fmla="*/ 2147483647 w 55"/>
                <a:gd name="T15" fmla="*/ 2147483647 h 114"/>
                <a:gd name="T16" fmla="*/ 2147483647 w 55"/>
                <a:gd name="T17" fmla="*/ 2147483647 h 114"/>
                <a:gd name="T18" fmla="*/ 2147483647 w 55"/>
                <a:gd name="T19" fmla="*/ 2147483647 h 114"/>
                <a:gd name="T20" fmla="*/ 0 w 55"/>
                <a:gd name="T21" fmla="*/ 2147483647 h 114"/>
                <a:gd name="T22" fmla="*/ 2147483647 w 55"/>
                <a:gd name="T23" fmla="*/ 2147483647 h 114"/>
                <a:gd name="T24" fmla="*/ 2147483647 w 55"/>
                <a:gd name="T25" fmla="*/ 2147483647 h 114"/>
                <a:gd name="T26" fmla="*/ 2147483647 w 55"/>
                <a:gd name="T27" fmla="*/ 2147483647 h 114"/>
                <a:gd name="T28" fmla="*/ 2147483647 w 55"/>
                <a:gd name="T29" fmla="*/ 0 h 1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114"/>
                <a:gd name="T47" fmla="*/ 55 w 55"/>
                <a:gd name="T48" fmla="*/ 114 h 1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114">
                  <a:moveTo>
                    <a:pt x="45" y="0"/>
                  </a:moveTo>
                  <a:lnTo>
                    <a:pt x="55" y="8"/>
                  </a:lnTo>
                  <a:lnTo>
                    <a:pt x="53" y="25"/>
                  </a:lnTo>
                  <a:lnTo>
                    <a:pt x="45" y="34"/>
                  </a:lnTo>
                  <a:lnTo>
                    <a:pt x="45" y="72"/>
                  </a:lnTo>
                  <a:lnTo>
                    <a:pt x="34" y="86"/>
                  </a:lnTo>
                  <a:lnTo>
                    <a:pt x="34" y="114"/>
                  </a:lnTo>
                  <a:lnTo>
                    <a:pt x="26" y="112"/>
                  </a:lnTo>
                  <a:lnTo>
                    <a:pt x="15" y="91"/>
                  </a:lnTo>
                  <a:lnTo>
                    <a:pt x="7" y="89"/>
                  </a:lnTo>
                  <a:lnTo>
                    <a:pt x="0" y="61"/>
                  </a:lnTo>
                  <a:lnTo>
                    <a:pt x="15" y="30"/>
                  </a:lnTo>
                  <a:lnTo>
                    <a:pt x="25" y="27"/>
                  </a:lnTo>
                  <a:lnTo>
                    <a:pt x="28" y="11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3" name="Freeform 89"/>
            <p:cNvSpPr>
              <a:spLocks/>
            </p:cNvSpPr>
            <p:nvPr/>
          </p:nvSpPr>
          <p:spPr bwMode="auto">
            <a:xfrm>
              <a:off x="4070885" y="3172425"/>
              <a:ext cx="938258" cy="772914"/>
            </a:xfrm>
            <a:custGeom>
              <a:avLst/>
              <a:gdLst>
                <a:gd name="T0" fmla="*/ 2147483647 w 1722"/>
                <a:gd name="T1" fmla="*/ 2147483647 h 1241"/>
                <a:gd name="T2" fmla="*/ 0 w 1722"/>
                <a:gd name="T3" fmla="*/ 2147483647 h 1241"/>
                <a:gd name="T4" fmla="*/ 2147483647 w 1722"/>
                <a:gd name="T5" fmla="*/ 2147483647 h 1241"/>
                <a:gd name="T6" fmla="*/ 2147483647 w 1722"/>
                <a:gd name="T7" fmla="*/ 2147483647 h 1241"/>
                <a:gd name="T8" fmla="*/ 2147483647 w 1722"/>
                <a:gd name="T9" fmla="*/ 2147483647 h 1241"/>
                <a:gd name="T10" fmla="*/ 2147483647 w 1722"/>
                <a:gd name="T11" fmla="*/ 2147483647 h 1241"/>
                <a:gd name="T12" fmla="*/ 2147483647 w 1722"/>
                <a:gd name="T13" fmla="*/ 2147483647 h 1241"/>
                <a:gd name="T14" fmla="*/ 2147483647 w 1722"/>
                <a:gd name="T15" fmla="*/ 2147483647 h 1241"/>
                <a:gd name="T16" fmla="*/ 2147483647 w 1722"/>
                <a:gd name="T17" fmla="*/ 2147483647 h 1241"/>
                <a:gd name="T18" fmla="*/ 2147483647 w 1722"/>
                <a:gd name="T19" fmla="*/ 2147483647 h 1241"/>
                <a:gd name="T20" fmla="*/ 2147483647 w 1722"/>
                <a:gd name="T21" fmla="*/ 2147483647 h 1241"/>
                <a:gd name="T22" fmla="*/ 2147483647 w 1722"/>
                <a:gd name="T23" fmla="*/ 2147483647 h 1241"/>
                <a:gd name="T24" fmla="*/ 2147483647 w 1722"/>
                <a:gd name="T25" fmla="*/ 2147483647 h 1241"/>
                <a:gd name="T26" fmla="*/ 2147483647 w 1722"/>
                <a:gd name="T27" fmla="*/ 2147483647 h 1241"/>
                <a:gd name="T28" fmla="*/ 2147483647 w 1722"/>
                <a:gd name="T29" fmla="*/ 2147483647 h 1241"/>
                <a:gd name="T30" fmla="*/ 2147483647 w 1722"/>
                <a:gd name="T31" fmla="*/ 2147483647 h 1241"/>
                <a:gd name="T32" fmla="*/ 2147483647 w 1722"/>
                <a:gd name="T33" fmla="*/ 2147483647 h 1241"/>
                <a:gd name="T34" fmla="*/ 2147483647 w 1722"/>
                <a:gd name="T35" fmla="*/ 2147483647 h 1241"/>
                <a:gd name="T36" fmla="*/ 2147483647 w 1722"/>
                <a:gd name="T37" fmla="*/ 0 h 1241"/>
                <a:gd name="T38" fmla="*/ 2147483647 w 1722"/>
                <a:gd name="T39" fmla="*/ 2147483647 h 1241"/>
                <a:gd name="T40" fmla="*/ 2147483647 w 1722"/>
                <a:gd name="T41" fmla="*/ 2147483647 h 1241"/>
                <a:gd name="T42" fmla="*/ 2147483647 w 1722"/>
                <a:gd name="T43" fmla="*/ 2147483647 h 1241"/>
                <a:gd name="T44" fmla="*/ 2147483647 w 1722"/>
                <a:gd name="T45" fmla="*/ 2147483647 h 1241"/>
                <a:gd name="T46" fmla="*/ 2147483647 w 1722"/>
                <a:gd name="T47" fmla="*/ 2147483647 h 1241"/>
                <a:gd name="T48" fmla="*/ 2147483647 w 1722"/>
                <a:gd name="T49" fmla="*/ 2147483647 h 1241"/>
                <a:gd name="T50" fmla="*/ 2147483647 w 1722"/>
                <a:gd name="T51" fmla="*/ 2147483647 h 1241"/>
                <a:gd name="T52" fmla="*/ 2147483647 w 1722"/>
                <a:gd name="T53" fmla="*/ 2147483647 h 1241"/>
                <a:gd name="T54" fmla="*/ 2147483647 w 1722"/>
                <a:gd name="T55" fmla="*/ 2147483647 h 1241"/>
                <a:gd name="T56" fmla="*/ 2147483647 w 1722"/>
                <a:gd name="T57" fmla="*/ 2147483647 h 1241"/>
                <a:gd name="T58" fmla="*/ 2147483647 w 1722"/>
                <a:gd name="T59" fmla="*/ 2147483647 h 1241"/>
                <a:gd name="T60" fmla="*/ 2147483647 w 1722"/>
                <a:gd name="T61" fmla="*/ 2147483647 h 1241"/>
                <a:gd name="T62" fmla="*/ 2147483647 w 1722"/>
                <a:gd name="T63" fmla="*/ 2147483647 h 1241"/>
                <a:gd name="T64" fmla="*/ 2147483647 w 1722"/>
                <a:gd name="T65" fmla="*/ 2147483647 h 1241"/>
                <a:gd name="T66" fmla="*/ 2147483647 w 1722"/>
                <a:gd name="T67" fmla="*/ 2147483647 h 1241"/>
                <a:gd name="T68" fmla="*/ 2147483647 w 1722"/>
                <a:gd name="T69" fmla="*/ 2147483647 h 1241"/>
                <a:gd name="T70" fmla="*/ 2147483647 w 1722"/>
                <a:gd name="T71" fmla="*/ 2147483647 h 1241"/>
                <a:gd name="T72" fmla="*/ 2147483647 w 1722"/>
                <a:gd name="T73" fmla="*/ 2147483647 h 1241"/>
                <a:gd name="T74" fmla="*/ 2147483647 w 1722"/>
                <a:gd name="T75" fmla="*/ 2147483647 h 1241"/>
                <a:gd name="T76" fmla="*/ 2147483647 w 1722"/>
                <a:gd name="T77" fmla="*/ 2147483647 h 1241"/>
                <a:gd name="T78" fmla="*/ 2147483647 w 1722"/>
                <a:gd name="T79" fmla="*/ 2147483647 h 1241"/>
                <a:gd name="T80" fmla="*/ 2147483647 w 1722"/>
                <a:gd name="T81" fmla="*/ 2147483647 h 1241"/>
                <a:gd name="T82" fmla="*/ 2147483647 w 1722"/>
                <a:gd name="T83" fmla="*/ 2147483647 h 1241"/>
                <a:gd name="T84" fmla="*/ 2147483647 w 1722"/>
                <a:gd name="T85" fmla="*/ 2147483647 h 1241"/>
                <a:gd name="T86" fmla="*/ 2147483647 w 1722"/>
                <a:gd name="T87" fmla="*/ 2147483647 h 1241"/>
                <a:gd name="T88" fmla="*/ 2147483647 w 1722"/>
                <a:gd name="T89" fmla="*/ 2147483647 h 1241"/>
                <a:gd name="T90" fmla="*/ 2147483647 w 1722"/>
                <a:gd name="T91" fmla="*/ 2147483647 h 1241"/>
                <a:gd name="T92" fmla="*/ 2147483647 w 1722"/>
                <a:gd name="T93" fmla="*/ 2147483647 h 1241"/>
                <a:gd name="T94" fmla="*/ 2147483647 w 1722"/>
                <a:gd name="T95" fmla="*/ 2147483647 h 1241"/>
                <a:gd name="T96" fmla="*/ 2147483647 w 1722"/>
                <a:gd name="T97" fmla="*/ 2147483647 h 1241"/>
                <a:gd name="T98" fmla="*/ 2147483647 w 1722"/>
                <a:gd name="T99" fmla="*/ 2147483647 h 1241"/>
                <a:gd name="T100" fmla="*/ 2147483647 w 1722"/>
                <a:gd name="T101" fmla="*/ 2147483647 h 1241"/>
                <a:gd name="T102" fmla="*/ 2147483647 w 1722"/>
                <a:gd name="T103" fmla="*/ 2147483647 h 1241"/>
                <a:gd name="T104" fmla="*/ 2147483647 w 1722"/>
                <a:gd name="T105" fmla="*/ 2147483647 h 1241"/>
                <a:gd name="T106" fmla="*/ 2147483647 w 1722"/>
                <a:gd name="T107" fmla="*/ 2147483647 h 1241"/>
                <a:gd name="T108" fmla="*/ 2147483647 w 1722"/>
                <a:gd name="T109" fmla="*/ 2147483647 h 1241"/>
                <a:gd name="T110" fmla="*/ 2147483647 w 1722"/>
                <a:gd name="T111" fmla="*/ 2147483647 h 1241"/>
                <a:gd name="T112" fmla="*/ 2147483647 w 1722"/>
                <a:gd name="T113" fmla="*/ 2147483647 h 124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22"/>
                <a:gd name="T172" fmla="*/ 0 h 1241"/>
                <a:gd name="T173" fmla="*/ 1722 w 1722"/>
                <a:gd name="T174" fmla="*/ 1241 h 124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22" h="1241">
                  <a:moveTo>
                    <a:pt x="27" y="688"/>
                  </a:moveTo>
                  <a:lnTo>
                    <a:pt x="34" y="682"/>
                  </a:lnTo>
                  <a:lnTo>
                    <a:pt x="42" y="678"/>
                  </a:lnTo>
                  <a:lnTo>
                    <a:pt x="40" y="669"/>
                  </a:lnTo>
                  <a:lnTo>
                    <a:pt x="31" y="667"/>
                  </a:lnTo>
                  <a:lnTo>
                    <a:pt x="31" y="636"/>
                  </a:lnTo>
                  <a:lnTo>
                    <a:pt x="0" y="631"/>
                  </a:lnTo>
                  <a:lnTo>
                    <a:pt x="0" y="595"/>
                  </a:lnTo>
                  <a:lnTo>
                    <a:pt x="0" y="576"/>
                  </a:lnTo>
                  <a:lnTo>
                    <a:pt x="25" y="570"/>
                  </a:lnTo>
                  <a:lnTo>
                    <a:pt x="31" y="555"/>
                  </a:lnTo>
                  <a:lnTo>
                    <a:pt x="53" y="551"/>
                  </a:lnTo>
                  <a:lnTo>
                    <a:pt x="65" y="568"/>
                  </a:lnTo>
                  <a:lnTo>
                    <a:pt x="89" y="543"/>
                  </a:lnTo>
                  <a:lnTo>
                    <a:pt x="124" y="542"/>
                  </a:lnTo>
                  <a:lnTo>
                    <a:pt x="156" y="515"/>
                  </a:lnTo>
                  <a:lnTo>
                    <a:pt x="184" y="509"/>
                  </a:lnTo>
                  <a:lnTo>
                    <a:pt x="188" y="496"/>
                  </a:lnTo>
                  <a:lnTo>
                    <a:pt x="205" y="447"/>
                  </a:lnTo>
                  <a:lnTo>
                    <a:pt x="188" y="403"/>
                  </a:lnTo>
                  <a:lnTo>
                    <a:pt x="173" y="397"/>
                  </a:lnTo>
                  <a:lnTo>
                    <a:pt x="175" y="378"/>
                  </a:lnTo>
                  <a:lnTo>
                    <a:pt x="247" y="378"/>
                  </a:lnTo>
                  <a:lnTo>
                    <a:pt x="238" y="361"/>
                  </a:lnTo>
                  <a:lnTo>
                    <a:pt x="259" y="297"/>
                  </a:lnTo>
                  <a:lnTo>
                    <a:pt x="312" y="306"/>
                  </a:lnTo>
                  <a:lnTo>
                    <a:pt x="338" y="287"/>
                  </a:lnTo>
                  <a:lnTo>
                    <a:pt x="336" y="251"/>
                  </a:lnTo>
                  <a:lnTo>
                    <a:pt x="363" y="238"/>
                  </a:lnTo>
                  <a:lnTo>
                    <a:pt x="374" y="213"/>
                  </a:lnTo>
                  <a:lnTo>
                    <a:pt x="386" y="211"/>
                  </a:lnTo>
                  <a:lnTo>
                    <a:pt x="403" y="209"/>
                  </a:lnTo>
                  <a:lnTo>
                    <a:pt x="409" y="234"/>
                  </a:lnTo>
                  <a:lnTo>
                    <a:pt x="447" y="253"/>
                  </a:lnTo>
                  <a:lnTo>
                    <a:pt x="490" y="289"/>
                  </a:lnTo>
                  <a:lnTo>
                    <a:pt x="488" y="365"/>
                  </a:lnTo>
                  <a:lnTo>
                    <a:pt x="559" y="374"/>
                  </a:lnTo>
                  <a:lnTo>
                    <a:pt x="604" y="399"/>
                  </a:lnTo>
                  <a:lnTo>
                    <a:pt x="644" y="462"/>
                  </a:lnTo>
                  <a:lnTo>
                    <a:pt x="796" y="473"/>
                  </a:lnTo>
                  <a:lnTo>
                    <a:pt x="817" y="490"/>
                  </a:lnTo>
                  <a:lnTo>
                    <a:pt x="893" y="513"/>
                  </a:lnTo>
                  <a:lnTo>
                    <a:pt x="912" y="490"/>
                  </a:lnTo>
                  <a:lnTo>
                    <a:pt x="971" y="471"/>
                  </a:lnTo>
                  <a:lnTo>
                    <a:pt x="1028" y="471"/>
                  </a:lnTo>
                  <a:lnTo>
                    <a:pt x="1045" y="445"/>
                  </a:lnTo>
                  <a:lnTo>
                    <a:pt x="1076" y="424"/>
                  </a:lnTo>
                  <a:lnTo>
                    <a:pt x="1055" y="395"/>
                  </a:lnTo>
                  <a:lnTo>
                    <a:pt x="1072" y="371"/>
                  </a:lnTo>
                  <a:lnTo>
                    <a:pt x="1089" y="369"/>
                  </a:lnTo>
                  <a:lnTo>
                    <a:pt x="1104" y="386"/>
                  </a:lnTo>
                  <a:lnTo>
                    <a:pt x="1129" y="382"/>
                  </a:lnTo>
                  <a:lnTo>
                    <a:pt x="1155" y="353"/>
                  </a:lnTo>
                  <a:lnTo>
                    <a:pt x="1174" y="359"/>
                  </a:lnTo>
                  <a:lnTo>
                    <a:pt x="1218" y="314"/>
                  </a:lnTo>
                  <a:lnTo>
                    <a:pt x="1270" y="319"/>
                  </a:lnTo>
                  <a:lnTo>
                    <a:pt x="1289" y="308"/>
                  </a:lnTo>
                  <a:lnTo>
                    <a:pt x="1296" y="291"/>
                  </a:lnTo>
                  <a:lnTo>
                    <a:pt x="1271" y="285"/>
                  </a:lnTo>
                  <a:lnTo>
                    <a:pt x="1256" y="257"/>
                  </a:lnTo>
                  <a:lnTo>
                    <a:pt x="1226" y="272"/>
                  </a:lnTo>
                  <a:lnTo>
                    <a:pt x="1205" y="262"/>
                  </a:lnTo>
                  <a:lnTo>
                    <a:pt x="1178" y="274"/>
                  </a:lnTo>
                  <a:lnTo>
                    <a:pt x="1171" y="253"/>
                  </a:lnTo>
                  <a:lnTo>
                    <a:pt x="1195" y="217"/>
                  </a:lnTo>
                  <a:lnTo>
                    <a:pt x="1205" y="181"/>
                  </a:lnTo>
                  <a:lnTo>
                    <a:pt x="1230" y="198"/>
                  </a:lnTo>
                  <a:lnTo>
                    <a:pt x="1260" y="175"/>
                  </a:lnTo>
                  <a:lnTo>
                    <a:pt x="1285" y="165"/>
                  </a:lnTo>
                  <a:lnTo>
                    <a:pt x="1268" y="145"/>
                  </a:lnTo>
                  <a:lnTo>
                    <a:pt x="1315" y="74"/>
                  </a:lnTo>
                  <a:lnTo>
                    <a:pt x="1315" y="48"/>
                  </a:lnTo>
                  <a:lnTo>
                    <a:pt x="1304" y="51"/>
                  </a:lnTo>
                  <a:lnTo>
                    <a:pt x="1302" y="36"/>
                  </a:lnTo>
                  <a:lnTo>
                    <a:pt x="1325" y="10"/>
                  </a:lnTo>
                  <a:lnTo>
                    <a:pt x="1382" y="0"/>
                  </a:lnTo>
                  <a:lnTo>
                    <a:pt x="1406" y="4"/>
                  </a:lnTo>
                  <a:lnTo>
                    <a:pt x="1461" y="34"/>
                  </a:lnTo>
                  <a:lnTo>
                    <a:pt x="1503" y="148"/>
                  </a:lnTo>
                  <a:lnTo>
                    <a:pt x="1515" y="188"/>
                  </a:lnTo>
                  <a:lnTo>
                    <a:pt x="1539" y="188"/>
                  </a:lnTo>
                  <a:lnTo>
                    <a:pt x="1549" y="202"/>
                  </a:lnTo>
                  <a:lnTo>
                    <a:pt x="1566" y="202"/>
                  </a:lnTo>
                  <a:lnTo>
                    <a:pt x="1600" y="226"/>
                  </a:lnTo>
                  <a:lnTo>
                    <a:pt x="1612" y="264"/>
                  </a:lnTo>
                  <a:lnTo>
                    <a:pt x="1657" y="274"/>
                  </a:lnTo>
                  <a:lnTo>
                    <a:pt x="1697" y="243"/>
                  </a:lnTo>
                  <a:lnTo>
                    <a:pt x="1712" y="251"/>
                  </a:lnTo>
                  <a:lnTo>
                    <a:pt x="1722" y="281"/>
                  </a:lnTo>
                  <a:lnTo>
                    <a:pt x="1661" y="374"/>
                  </a:lnTo>
                  <a:lnTo>
                    <a:pt x="1627" y="372"/>
                  </a:lnTo>
                  <a:lnTo>
                    <a:pt x="1606" y="391"/>
                  </a:lnTo>
                  <a:lnTo>
                    <a:pt x="1613" y="437"/>
                  </a:lnTo>
                  <a:lnTo>
                    <a:pt x="1610" y="448"/>
                  </a:lnTo>
                  <a:lnTo>
                    <a:pt x="1594" y="467"/>
                  </a:lnTo>
                  <a:lnTo>
                    <a:pt x="1604" y="483"/>
                  </a:lnTo>
                  <a:lnTo>
                    <a:pt x="1579" y="458"/>
                  </a:lnTo>
                  <a:lnTo>
                    <a:pt x="1568" y="475"/>
                  </a:lnTo>
                  <a:lnTo>
                    <a:pt x="1537" y="498"/>
                  </a:lnTo>
                  <a:lnTo>
                    <a:pt x="1536" y="528"/>
                  </a:lnTo>
                  <a:lnTo>
                    <a:pt x="1503" y="511"/>
                  </a:lnTo>
                  <a:lnTo>
                    <a:pt x="1492" y="517"/>
                  </a:lnTo>
                  <a:lnTo>
                    <a:pt x="1471" y="549"/>
                  </a:lnTo>
                  <a:lnTo>
                    <a:pt x="1460" y="551"/>
                  </a:lnTo>
                  <a:lnTo>
                    <a:pt x="1416" y="578"/>
                  </a:lnTo>
                  <a:lnTo>
                    <a:pt x="1416" y="583"/>
                  </a:lnTo>
                  <a:lnTo>
                    <a:pt x="1378" y="595"/>
                  </a:lnTo>
                  <a:lnTo>
                    <a:pt x="1355" y="621"/>
                  </a:lnTo>
                  <a:lnTo>
                    <a:pt x="1328" y="621"/>
                  </a:lnTo>
                  <a:lnTo>
                    <a:pt x="1351" y="600"/>
                  </a:lnTo>
                  <a:lnTo>
                    <a:pt x="1327" y="595"/>
                  </a:lnTo>
                  <a:lnTo>
                    <a:pt x="1347" y="580"/>
                  </a:lnTo>
                  <a:lnTo>
                    <a:pt x="1361" y="557"/>
                  </a:lnTo>
                  <a:lnTo>
                    <a:pt x="1346" y="542"/>
                  </a:lnTo>
                  <a:lnTo>
                    <a:pt x="1328" y="547"/>
                  </a:lnTo>
                  <a:lnTo>
                    <a:pt x="1328" y="555"/>
                  </a:lnTo>
                  <a:lnTo>
                    <a:pt x="1296" y="583"/>
                  </a:lnTo>
                  <a:lnTo>
                    <a:pt x="1283" y="610"/>
                  </a:lnTo>
                  <a:lnTo>
                    <a:pt x="1245" y="618"/>
                  </a:lnTo>
                  <a:lnTo>
                    <a:pt x="1231" y="633"/>
                  </a:lnTo>
                  <a:lnTo>
                    <a:pt x="1266" y="663"/>
                  </a:lnTo>
                  <a:lnTo>
                    <a:pt x="1260" y="669"/>
                  </a:lnTo>
                  <a:lnTo>
                    <a:pt x="1283" y="682"/>
                  </a:lnTo>
                  <a:lnTo>
                    <a:pt x="1321" y="659"/>
                  </a:lnTo>
                  <a:lnTo>
                    <a:pt x="1380" y="676"/>
                  </a:lnTo>
                  <a:lnTo>
                    <a:pt x="1366" y="697"/>
                  </a:lnTo>
                  <a:lnTo>
                    <a:pt x="1330" y="705"/>
                  </a:lnTo>
                  <a:lnTo>
                    <a:pt x="1317" y="724"/>
                  </a:lnTo>
                  <a:lnTo>
                    <a:pt x="1292" y="739"/>
                  </a:lnTo>
                  <a:lnTo>
                    <a:pt x="1285" y="764"/>
                  </a:lnTo>
                  <a:lnTo>
                    <a:pt x="1315" y="762"/>
                  </a:lnTo>
                  <a:lnTo>
                    <a:pt x="1328" y="794"/>
                  </a:lnTo>
                  <a:lnTo>
                    <a:pt x="1328" y="834"/>
                  </a:lnTo>
                  <a:lnTo>
                    <a:pt x="1351" y="855"/>
                  </a:lnTo>
                  <a:lnTo>
                    <a:pt x="1346" y="870"/>
                  </a:lnTo>
                  <a:lnTo>
                    <a:pt x="1315" y="861"/>
                  </a:lnTo>
                  <a:lnTo>
                    <a:pt x="1355" y="889"/>
                  </a:lnTo>
                  <a:lnTo>
                    <a:pt x="1330" y="912"/>
                  </a:lnTo>
                  <a:lnTo>
                    <a:pt x="1308" y="921"/>
                  </a:lnTo>
                  <a:lnTo>
                    <a:pt x="1365" y="927"/>
                  </a:lnTo>
                  <a:lnTo>
                    <a:pt x="1347" y="944"/>
                  </a:lnTo>
                  <a:lnTo>
                    <a:pt x="1347" y="986"/>
                  </a:lnTo>
                  <a:lnTo>
                    <a:pt x="1323" y="1003"/>
                  </a:lnTo>
                  <a:lnTo>
                    <a:pt x="1328" y="1018"/>
                  </a:lnTo>
                  <a:lnTo>
                    <a:pt x="1308" y="1041"/>
                  </a:lnTo>
                  <a:lnTo>
                    <a:pt x="1292" y="1028"/>
                  </a:lnTo>
                  <a:lnTo>
                    <a:pt x="1298" y="1073"/>
                  </a:lnTo>
                  <a:lnTo>
                    <a:pt x="1266" y="1092"/>
                  </a:lnTo>
                  <a:lnTo>
                    <a:pt x="1260" y="1109"/>
                  </a:lnTo>
                  <a:lnTo>
                    <a:pt x="1245" y="1106"/>
                  </a:lnTo>
                  <a:lnTo>
                    <a:pt x="1226" y="1130"/>
                  </a:lnTo>
                  <a:lnTo>
                    <a:pt x="1214" y="1132"/>
                  </a:lnTo>
                  <a:lnTo>
                    <a:pt x="1207" y="1151"/>
                  </a:lnTo>
                  <a:lnTo>
                    <a:pt x="1182" y="1157"/>
                  </a:lnTo>
                  <a:lnTo>
                    <a:pt x="1169" y="1151"/>
                  </a:lnTo>
                  <a:lnTo>
                    <a:pt x="1163" y="1161"/>
                  </a:lnTo>
                  <a:lnTo>
                    <a:pt x="1155" y="1153"/>
                  </a:lnTo>
                  <a:lnTo>
                    <a:pt x="1144" y="1166"/>
                  </a:lnTo>
                  <a:lnTo>
                    <a:pt x="1125" y="1170"/>
                  </a:lnTo>
                  <a:lnTo>
                    <a:pt x="1123" y="1151"/>
                  </a:lnTo>
                  <a:lnTo>
                    <a:pt x="1119" y="1170"/>
                  </a:lnTo>
                  <a:lnTo>
                    <a:pt x="1091" y="1193"/>
                  </a:lnTo>
                  <a:lnTo>
                    <a:pt x="1074" y="1187"/>
                  </a:lnTo>
                  <a:lnTo>
                    <a:pt x="1041" y="1206"/>
                  </a:lnTo>
                  <a:lnTo>
                    <a:pt x="1032" y="1203"/>
                  </a:lnTo>
                  <a:lnTo>
                    <a:pt x="1032" y="1220"/>
                  </a:lnTo>
                  <a:lnTo>
                    <a:pt x="1041" y="1229"/>
                  </a:lnTo>
                  <a:lnTo>
                    <a:pt x="1021" y="1241"/>
                  </a:lnTo>
                  <a:lnTo>
                    <a:pt x="1011" y="1216"/>
                  </a:lnTo>
                  <a:lnTo>
                    <a:pt x="1015" y="1195"/>
                  </a:lnTo>
                  <a:lnTo>
                    <a:pt x="984" y="1199"/>
                  </a:lnTo>
                  <a:lnTo>
                    <a:pt x="977" y="1189"/>
                  </a:lnTo>
                  <a:lnTo>
                    <a:pt x="962" y="1195"/>
                  </a:lnTo>
                  <a:lnTo>
                    <a:pt x="954" y="1185"/>
                  </a:lnTo>
                  <a:lnTo>
                    <a:pt x="920" y="1185"/>
                  </a:lnTo>
                  <a:lnTo>
                    <a:pt x="931" y="1165"/>
                  </a:lnTo>
                  <a:lnTo>
                    <a:pt x="893" y="1149"/>
                  </a:lnTo>
                  <a:lnTo>
                    <a:pt x="872" y="1153"/>
                  </a:lnTo>
                  <a:lnTo>
                    <a:pt x="855" y="1170"/>
                  </a:lnTo>
                  <a:lnTo>
                    <a:pt x="808" y="1165"/>
                  </a:lnTo>
                  <a:lnTo>
                    <a:pt x="796" y="1174"/>
                  </a:lnTo>
                  <a:lnTo>
                    <a:pt x="787" y="1176"/>
                  </a:lnTo>
                  <a:lnTo>
                    <a:pt x="787" y="1214"/>
                  </a:lnTo>
                  <a:lnTo>
                    <a:pt x="775" y="1216"/>
                  </a:lnTo>
                  <a:lnTo>
                    <a:pt x="770" y="1203"/>
                  </a:lnTo>
                  <a:lnTo>
                    <a:pt x="772" y="1191"/>
                  </a:lnTo>
                  <a:lnTo>
                    <a:pt x="762" y="1189"/>
                  </a:lnTo>
                  <a:lnTo>
                    <a:pt x="751" y="1203"/>
                  </a:lnTo>
                  <a:lnTo>
                    <a:pt x="707" y="1185"/>
                  </a:lnTo>
                  <a:lnTo>
                    <a:pt x="728" y="1155"/>
                  </a:lnTo>
                  <a:lnTo>
                    <a:pt x="705" y="1144"/>
                  </a:lnTo>
                  <a:lnTo>
                    <a:pt x="701" y="1117"/>
                  </a:lnTo>
                  <a:lnTo>
                    <a:pt x="677" y="1127"/>
                  </a:lnTo>
                  <a:lnTo>
                    <a:pt x="671" y="1090"/>
                  </a:lnTo>
                  <a:lnTo>
                    <a:pt x="698" y="1062"/>
                  </a:lnTo>
                  <a:lnTo>
                    <a:pt x="692" y="999"/>
                  </a:lnTo>
                  <a:lnTo>
                    <a:pt x="679" y="984"/>
                  </a:lnTo>
                  <a:lnTo>
                    <a:pt x="652" y="997"/>
                  </a:lnTo>
                  <a:lnTo>
                    <a:pt x="646" y="980"/>
                  </a:lnTo>
                  <a:lnTo>
                    <a:pt x="622" y="971"/>
                  </a:lnTo>
                  <a:lnTo>
                    <a:pt x="599" y="978"/>
                  </a:lnTo>
                  <a:lnTo>
                    <a:pt x="595" y="961"/>
                  </a:lnTo>
                  <a:lnTo>
                    <a:pt x="570" y="961"/>
                  </a:lnTo>
                  <a:lnTo>
                    <a:pt x="536" y="994"/>
                  </a:lnTo>
                  <a:lnTo>
                    <a:pt x="509" y="1001"/>
                  </a:lnTo>
                  <a:lnTo>
                    <a:pt x="500" y="995"/>
                  </a:lnTo>
                  <a:lnTo>
                    <a:pt x="481" y="994"/>
                  </a:lnTo>
                  <a:lnTo>
                    <a:pt x="452" y="1005"/>
                  </a:lnTo>
                  <a:lnTo>
                    <a:pt x="430" y="1032"/>
                  </a:lnTo>
                  <a:lnTo>
                    <a:pt x="426" y="1018"/>
                  </a:lnTo>
                  <a:lnTo>
                    <a:pt x="435" y="1001"/>
                  </a:lnTo>
                  <a:lnTo>
                    <a:pt x="431" y="994"/>
                  </a:lnTo>
                  <a:lnTo>
                    <a:pt x="411" y="1007"/>
                  </a:lnTo>
                  <a:lnTo>
                    <a:pt x="333" y="1001"/>
                  </a:lnTo>
                  <a:lnTo>
                    <a:pt x="289" y="961"/>
                  </a:lnTo>
                  <a:lnTo>
                    <a:pt x="274" y="961"/>
                  </a:lnTo>
                  <a:lnTo>
                    <a:pt x="236" y="931"/>
                  </a:lnTo>
                  <a:lnTo>
                    <a:pt x="203" y="916"/>
                  </a:lnTo>
                  <a:lnTo>
                    <a:pt x="173" y="891"/>
                  </a:lnTo>
                  <a:lnTo>
                    <a:pt x="156" y="906"/>
                  </a:lnTo>
                  <a:lnTo>
                    <a:pt x="139" y="849"/>
                  </a:lnTo>
                  <a:lnTo>
                    <a:pt x="154" y="802"/>
                  </a:lnTo>
                  <a:lnTo>
                    <a:pt x="156" y="779"/>
                  </a:lnTo>
                  <a:lnTo>
                    <a:pt x="143" y="754"/>
                  </a:lnTo>
                  <a:lnTo>
                    <a:pt x="137" y="722"/>
                  </a:lnTo>
                  <a:lnTo>
                    <a:pt x="103" y="712"/>
                  </a:lnTo>
                  <a:lnTo>
                    <a:pt x="80" y="714"/>
                  </a:lnTo>
                  <a:lnTo>
                    <a:pt x="63" y="695"/>
                  </a:lnTo>
                  <a:lnTo>
                    <a:pt x="27" y="68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4" name="Freeform 90"/>
            <p:cNvSpPr>
              <a:spLocks/>
            </p:cNvSpPr>
            <p:nvPr/>
          </p:nvSpPr>
          <p:spPr bwMode="auto">
            <a:xfrm>
              <a:off x="4608922" y="3948832"/>
              <a:ext cx="37486" cy="36084"/>
            </a:xfrm>
            <a:custGeom>
              <a:avLst/>
              <a:gdLst>
                <a:gd name="T0" fmla="*/ 2147483647 w 69"/>
                <a:gd name="T1" fmla="*/ 2147483647 h 57"/>
                <a:gd name="T2" fmla="*/ 2147483647 w 69"/>
                <a:gd name="T3" fmla="*/ 2147483647 h 57"/>
                <a:gd name="T4" fmla="*/ 2147483647 w 69"/>
                <a:gd name="T5" fmla="*/ 2147483647 h 57"/>
                <a:gd name="T6" fmla="*/ 2147483647 w 69"/>
                <a:gd name="T7" fmla="*/ 0 h 57"/>
                <a:gd name="T8" fmla="*/ 2147483647 w 69"/>
                <a:gd name="T9" fmla="*/ 2147483647 h 57"/>
                <a:gd name="T10" fmla="*/ 2147483647 w 69"/>
                <a:gd name="T11" fmla="*/ 2147483647 h 57"/>
                <a:gd name="T12" fmla="*/ 2147483647 w 69"/>
                <a:gd name="T13" fmla="*/ 2147483647 h 57"/>
                <a:gd name="T14" fmla="*/ 2147483647 w 69"/>
                <a:gd name="T15" fmla="*/ 2147483647 h 57"/>
                <a:gd name="T16" fmla="*/ 2147483647 w 69"/>
                <a:gd name="T17" fmla="*/ 2147483647 h 57"/>
                <a:gd name="T18" fmla="*/ 2147483647 w 69"/>
                <a:gd name="T19" fmla="*/ 2147483647 h 57"/>
                <a:gd name="T20" fmla="*/ 0 w 69"/>
                <a:gd name="T21" fmla="*/ 2147483647 h 57"/>
                <a:gd name="T22" fmla="*/ 2147483647 w 69"/>
                <a:gd name="T23" fmla="*/ 2147483647 h 57"/>
                <a:gd name="T24" fmla="*/ 2147483647 w 69"/>
                <a:gd name="T25" fmla="*/ 214748364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9"/>
                <a:gd name="T40" fmla="*/ 0 h 57"/>
                <a:gd name="T41" fmla="*/ 69 w 69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9" h="57">
                  <a:moveTo>
                    <a:pt x="8" y="14"/>
                  </a:moveTo>
                  <a:lnTo>
                    <a:pt x="23" y="4"/>
                  </a:lnTo>
                  <a:lnTo>
                    <a:pt x="33" y="10"/>
                  </a:lnTo>
                  <a:lnTo>
                    <a:pt x="48" y="0"/>
                  </a:lnTo>
                  <a:lnTo>
                    <a:pt x="59" y="2"/>
                  </a:lnTo>
                  <a:lnTo>
                    <a:pt x="69" y="10"/>
                  </a:lnTo>
                  <a:lnTo>
                    <a:pt x="57" y="33"/>
                  </a:lnTo>
                  <a:lnTo>
                    <a:pt x="31" y="46"/>
                  </a:lnTo>
                  <a:lnTo>
                    <a:pt x="19" y="57"/>
                  </a:lnTo>
                  <a:lnTo>
                    <a:pt x="2" y="46"/>
                  </a:lnTo>
                  <a:lnTo>
                    <a:pt x="0" y="29"/>
                  </a:lnTo>
                  <a:lnTo>
                    <a:pt x="12" y="19"/>
                  </a:lnTo>
                  <a:lnTo>
                    <a:pt x="8" y="1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5" name="Freeform 91"/>
            <p:cNvSpPr>
              <a:spLocks/>
            </p:cNvSpPr>
            <p:nvPr/>
          </p:nvSpPr>
          <p:spPr bwMode="auto">
            <a:xfrm>
              <a:off x="4683895" y="3901106"/>
              <a:ext cx="11025" cy="8148"/>
            </a:xfrm>
            <a:custGeom>
              <a:avLst/>
              <a:gdLst>
                <a:gd name="T0" fmla="*/ 0 w 19"/>
                <a:gd name="T1" fmla="*/ 2147483647 h 14"/>
                <a:gd name="T2" fmla="*/ 2147483647 w 19"/>
                <a:gd name="T3" fmla="*/ 0 h 14"/>
                <a:gd name="T4" fmla="*/ 2147483647 w 19"/>
                <a:gd name="T5" fmla="*/ 2147483647 h 14"/>
                <a:gd name="T6" fmla="*/ 0 w 19"/>
                <a:gd name="T7" fmla="*/ 2147483647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4"/>
                <a:gd name="T14" fmla="*/ 19 w 19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4">
                  <a:moveTo>
                    <a:pt x="0" y="4"/>
                  </a:moveTo>
                  <a:lnTo>
                    <a:pt x="19" y="0"/>
                  </a:lnTo>
                  <a:lnTo>
                    <a:pt x="6" y="1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6" name="Freeform 92"/>
            <p:cNvSpPr>
              <a:spLocks/>
            </p:cNvSpPr>
            <p:nvPr/>
          </p:nvSpPr>
          <p:spPr bwMode="auto">
            <a:xfrm>
              <a:off x="3988195" y="3617083"/>
              <a:ext cx="436604" cy="559897"/>
            </a:xfrm>
            <a:custGeom>
              <a:avLst/>
              <a:gdLst>
                <a:gd name="T0" fmla="*/ 2147483647 w 804"/>
                <a:gd name="T1" fmla="*/ 2147483647 h 899"/>
                <a:gd name="T2" fmla="*/ 2147483647 w 804"/>
                <a:gd name="T3" fmla="*/ 2147483647 h 899"/>
                <a:gd name="T4" fmla="*/ 2147483647 w 804"/>
                <a:gd name="T5" fmla="*/ 2147483647 h 899"/>
                <a:gd name="T6" fmla="*/ 2147483647 w 804"/>
                <a:gd name="T7" fmla="*/ 2147483647 h 899"/>
                <a:gd name="T8" fmla="*/ 2147483647 w 804"/>
                <a:gd name="T9" fmla="*/ 2147483647 h 899"/>
                <a:gd name="T10" fmla="*/ 2147483647 w 804"/>
                <a:gd name="T11" fmla="*/ 2147483647 h 899"/>
                <a:gd name="T12" fmla="*/ 2147483647 w 804"/>
                <a:gd name="T13" fmla="*/ 2147483647 h 899"/>
                <a:gd name="T14" fmla="*/ 2147483647 w 804"/>
                <a:gd name="T15" fmla="*/ 2147483647 h 899"/>
                <a:gd name="T16" fmla="*/ 2147483647 w 804"/>
                <a:gd name="T17" fmla="*/ 2147483647 h 899"/>
                <a:gd name="T18" fmla="*/ 2147483647 w 804"/>
                <a:gd name="T19" fmla="*/ 2147483647 h 899"/>
                <a:gd name="T20" fmla="*/ 2147483647 w 804"/>
                <a:gd name="T21" fmla="*/ 2147483647 h 899"/>
                <a:gd name="T22" fmla="*/ 2147483647 w 804"/>
                <a:gd name="T23" fmla="*/ 2147483647 h 899"/>
                <a:gd name="T24" fmla="*/ 2147483647 w 804"/>
                <a:gd name="T25" fmla="*/ 2147483647 h 899"/>
                <a:gd name="T26" fmla="*/ 2147483647 w 804"/>
                <a:gd name="T27" fmla="*/ 2147483647 h 899"/>
                <a:gd name="T28" fmla="*/ 2147483647 w 804"/>
                <a:gd name="T29" fmla="*/ 2147483647 h 899"/>
                <a:gd name="T30" fmla="*/ 2147483647 w 804"/>
                <a:gd name="T31" fmla="*/ 2147483647 h 899"/>
                <a:gd name="T32" fmla="*/ 2147483647 w 804"/>
                <a:gd name="T33" fmla="*/ 2147483647 h 899"/>
                <a:gd name="T34" fmla="*/ 2147483647 w 804"/>
                <a:gd name="T35" fmla="*/ 2147483647 h 899"/>
                <a:gd name="T36" fmla="*/ 2147483647 w 804"/>
                <a:gd name="T37" fmla="*/ 2147483647 h 899"/>
                <a:gd name="T38" fmla="*/ 2147483647 w 804"/>
                <a:gd name="T39" fmla="*/ 2147483647 h 899"/>
                <a:gd name="T40" fmla="*/ 2147483647 w 804"/>
                <a:gd name="T41" fmla="*/ 2147483647 h 899"/>
                <a:gd name="T42" fmla="*/ 2147483647 w 804"/>
                <a:gd name="T43" fmla="*/ 2147483647 h 899"/>
                <a:gd name="T44" fmla="*/ 2147483647 w 804"/>
                <a:gd name="T45" fmla="*/ 2147483647 h 899"/>
                <a:gd name="T46" fmla="*/ 2147483647 w 804"/>
                <a:gd name="T47" fmla="*/ 2147483647 h 899"/>
                <a:gd name="T48" fmla="*/ 2147483647 w 804"/>
                <a:gd name="T49" fmla="*/ 2147483647 h 899"/>
                <a:gd name="T50" fmla="*/ 2147483647 w 804"/>
                <a:gd name="T51" fmla="*/ 2147483647 h 899"/>
                <a:gd name="T52" fmla="*/ 2147483647 w 804"/>
                <a:gd name="T53" fmla="*/ 2147483647 h 899"/>
                <a:gd name="T54" fmla="*/ 2147483647 w 804"/>
                <a:gd name="T55" fmla="*/ 2147483647 h 899"/>
                <a:gd name="T56" fmla="*/ 2147483647 w 804"/>
                <a:gd name="T57" fmla="*/ 2147483647 h 899"/>
                <a:gd name="T58" fmla="*/ 2147483647 w 804"/>
                <a:gd name="T59" fmla="*/ 2147483647 h 899"/>
                <a:gd name="T60" fmla="*/ 2147483647 w 804"/>
                <a:gd name="T61" fmla="*/ 2147483647 h 899"/>
                <a:gd name="T62" fmla="*/ 2147483647 w 804"/>
                <a:gd name="T63" fmla="*/ 2147483647 h 899"/>
                <a:gd name="T64" fmla="*/ 2147483647 w 804"/>
                <a:gd name="T65" fmla="*/ 2147483647 h 899"/>
                <a:gd name="T66" fmla="*/ 2147483647 w 804"/>
                <a:gd name="T67" fmla="*/ 2147483647 h 899"/>
                <a:gd name="T68" fmla="*/ 2147483647 w 804"/>
                <a:gd name="T69" fmla="*/ 2147483647 h 899"/>
                <a:gd name="T70" fmla="*/ 2147483647 w 804"/>
                <a:gd name="T71" fmla="*/ 2147483647 h 899"/>
                <a:gd name="T72" fmla="*/ 2147483647 w 804"/>
                <a:gd name="T73" fmla="*/ 2147483647 h 899"/>
                <a:gd name="T74" fmla="*/ 2147483647 w 804"/>
                <a:gd name="T75" fmla="*/ 2147483647 h 899"/>
                <a:gd name="T76" fmla="*/ 2147483647 w 804"/>
                <a:gd name="T77" fmla="*/ 2147483647 h 899"/>
                <a:gd name="T78" fmla="*/ 2147483647 w 804"/>
                <a:gd name="T79" fmla="*/ 2147483647 h 899"/>
                <a:gd name="T80" fmla="*/ 2147483647 w 804"/>
                <a:gd name="T81" fmla="*/ 2147483647 h 899"/>
                <a:gd name="T82" fmla="*/ 2147483647 w 804"/>
                <a:gd name="T83" fmla="*/ 2147483647 h 899"/>
                <a:gd name="T84" fmla="*/ 2147483647 w 804"/>
                <a:gd name="T85" fmla="*/ 2147483647 h 899"/>
                <a:gd name="T86" fmla="*/ 2147483647 w 804"/>
                <a:gd name="T87" fmla="*/ 2147483647 h 899"/>
                <a:gd name="T88" fmla="*/ 2147483647 w 804"/>
                <a:gd name="T89" fmla="*/ 2147483647 h 899"/>
                <a:gd name="T90" fmla="*/ 2147483647 w 804"/>
                <a:gd name="T91" fmla="*/ 2147483647 h 89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04"/>
                <a:gd name="T139" fmla="*/ 0 h 899"/>
                <a:gd name="T140" fmla="*/ 804 w 804"/>
                <a:gd name="T141" fmla="*/ 899 h 89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04" h="899">
                  <a:moveTo>
                    <a:pt x="690" y="487"/>
                  </a:moveTo>
                  <a:lnTo>
                    <a:pt x="682" y="475"/>
                  </a:lnTo>
                  <a:lnTo>
                    <a:pt x="680" y="418"/>
                  </a:lnTo>
                  <a:lnTo>
                    <a:pt x="671" y="418"/>
                  </a:lnTo>
                  <a:lnTo>
                    <a:pt x="665" y="437"/>
                  </a:lnTo>
                  <a:lnTo>
                    <a:pt x="652" y="437"/>
                  </a:lnTo>
                  <a:lnTo>
                    <a:pt x="659" y="418"/>
                  </a:lnTo>
                  <a:lnTo>
                    <a:pt x="682" y="401"/>
                  </a:lnTo>
                  <a:lnTo>
                    <a:pt x="686" y="378"/>
                  </a:lnTo>
                  <a:lnTo>
                    <a:pt x="614" y="369"/>
                  </a:lnTo>
                  <a:lnTo>
                    <a:pt x="608" y="356"/>
                  </a:lnTo>
                  <a:lnTo>
                    <a:pt x="572" y="335"/>
                  </a:lnTo>
                  <a:lnTo>
                    <a:pt x="564" y="342"/>
                  </a:lnTo>
                  <a:lnTo>
                    <a:pt x="557" y="365"/>
                  </a:lnTo>
                  <a:lnTo>
                    <a:pt x="585" y="378"/>
                  </a:lnTo>
                  <a:lnTo>
                    <a:pt x="570" y="388"/>
                  </a:lnTo>
                  <a:lnTo>
                    <a:pt x="564" y="397"/>
                  </a:lnTo>
                  <a:lnTo>
                    <a:pt x="574" y="405"/>
                  </a:lnTo>
                  <a:lnTo>
                    <a:pt x="576" y="422"/>
                  </a:lnTo>
                  <a:lnTo>
                    <a:pt x="597" y="487"/>
                  </a:lnTo>
                  <a:lnTo>
                    <a:pt x="561" y="487"/>
                  </a:lnTo>
                  <a:lnTo>
                    <a:pt x="555" y="466"/>
                  </a:lnTo>
                  <a:lnTo>
                    <a:pt x="544" y="487"/>
                  </a:lnTo>
                  <a:lnTo>
                    <a:pt x="519" y="504"/>
                  </a:lnTo>
                  <a:lnTo>
                    <a:pt x="525" y="517"/>
                  </a:lnTo>
                  <a:lnTo>
                    <a:pt x="506" y="544"/>
                  </a:lnTo>
                  <a:lnTo>
                    <a:pt x="485" y="549"/>
                  </a:lnTo>
                  <a:lnTo>
                    <a:pt x="479" y="542"/>
                  </a:lnTo>
                  <a:lnTo>
                    <a:pt x="466" y="551"/>
                  </a:lnTo>
                  <a:lnTo>
                    <a:pt x="466" y="566"/>
                  </a:lnTo>
                  <a:lnTo>
                    <a:pt x="393" y="627"/>
                  </a:lnTo>
                  <a:lnTo>
                    <a:pt x="395" y="641"/>
                  </a:lnTo>
                  <a:lnTo>
                    <a:pt x="367" y="660"/>
                  </a:lnTo>
                  <a:lnTo>
                    <a:pt x="342" y="663"/>
                  </a:lnTo>
                  <a:lnTo>
                    <a:pt x="338" y="677"/>
                  </a:lnTo>
                  <a:lnTo>
                    <a:pt x="346" y="741"/>
                  </a:lnTo>
                  <a:lnTo>
                    <a:pt x="329" y="779"/>
                  </a:lnTo>
                  <a:lnTo>
                    <a:pt x="333" y="823"/>
                  </a:lnTo>
                  <a:lnTo>
                    <a:pt x="317" y="825"/>
                  </a:lnTo>
                  <a:lnTo>
                    <a:pt x="306" y="855"/>
                  </a:lnTo>
                  <a:lnTo>
                    <a:pt x="319" y="861"/>
                  </a:lnTo>
                  <a:lnTo>
                    <a:pt x="319" y="868"/>
                  </a:lnTo>
                  <a:lnTo>
                    <a:pt x="293" y="863"/>
                  </a:lnTo>
                  <a:lnTo>
                    <a:pt x="287" y="886"/>
                  </a:lnTo>
                  <a:lnTo>
                    <a:pt x="266" y="899"/>
                  </a:lnTo>
                  <a:lnTo>
                    <a:pt x="228" y="861"/>
                  </a:lnTo>
                  <a:lnTo>
                    <a:pt x="221" y="838"/>
                  </a:lnTo>
                  <a:lnTo>
                    <a:pt x="215" y="796"/>
                  </a:lnTo>
                  <a:lnTo>
                    <a:pt x="183" y="745"/>
                  </a:lnTo>
                  <a:lnTo>
                    <a:pt x="179" y="698"/>
                  </a:lnTo>
                  <a:lnTo>
                    <a:pt x="141" y="620"/>
                  </a:lnTo>
                  <a:lnTo>
                    <a:pt x="135" y="593"/>
                  </a:lnTo>
                  <a:lnTo>
                    <a:pt x="127" y="530"/>
                  </a:lnTo>
                  <a:lnTo>
                    <a:pt x="131" y="506"/>
                  </a:lnTo>
                  <a:lnTo>
                    <a:pt x="122" y="500"/>
                  </a:lnTo>
                  <a:lnTo>
                    <a:pt x="127" y="466"/>
                  </a:lnTo>
                  <a:lnTo>
                    <a:pt x="116" y="464"/>
                  </a:lnTo>
                  <a:lnTo>
                    <a:pt x="112" y="477"/>
                  </a:lnTo>
                  <a:lnTo>
                    <a:pt x="107" y="506"/>
                  </a:lnTo>
                  <a:lnTo>
                    <a:pt x="78" y="525"/>
                  </a:lnTo>
                  <a:lnTo>
                    <a:pt x="46" y="504"/>
                  </a:lnTo>
                  <a:lnTo>
                    <a:pt x="19" y="468"/>
                  </a:lnTo>
                  <a:lnTo>
                    <a:pt x="53" y="462"/>
                  </a:lnTo>
                  <a:lnTo>
                    <a:pt x="70" y="437"/>
                  </a:lnTo>
                  <a:lnTo>
                    <a:pt x="48" y="441"/>
                  </a:lnTo>
                  <a:lnTo>
                    <a:pt x="29" y="451"/>
                  </a:lnTo>
                  <a:lnTo>
                    <a:pt x="0" y="428"/>
                  </a:lnTo>
                  <a:lnTo>
                    <a:pt x="10" y="411"/>
                  </a:lnTo>
                  <a:lnTo>
                    <a:pt x="59" y="401"/>
                  </a:lnTo>
                  <a:lnTo>
                    <a:pt x="84" y="401"/>
                  </a:lnTo>
                  <a:lnTo>
                    <a:pt x="70" y="361"/>
                  </a:lnTo>
                  <a:lnTo>
                    <a:pt x="44" y="350"/>
                  </a:lnTo>
                  <a:lnTo>
                    <a:pt x="53" y="331"/>
                  </a:lnTo>
                  <a:lnTo>
                    <a:pt x="30" y="331"/>
                  </a:lnTo>
                  <a:lnTo>
                    <a:pt x="32" y="316"/>
                  </a:lnTo>
                  <a:lnTo>
                    <a:pt x="55" y="291"/>
                  </a:lnTo>
                  <a:lnTo>
                    <a:pt x="72" y="299"/>
                  </a:lnTo>
                  <a:lnTo>
                    <a:pt x="101" y="283"/>
                  </a:lnTo>
                  <a:lnTo>
                    <a:pt x="110" y="264"/>
                  </a:lnTo>
                  <a:lnTo>
                    <a:pt x="146" y="245"/>
                  </a:lnTo>
                  <a:lnTo>
                    <a:pt x="165" y="200"/>
                  </a:lnTo>
                  <a:lnTo>
                    <a:pt x="184" y="164"/>
                  </a:lnTo>
                  <a:lnTo>
                    <a:pt x="205" y="141"/>
                  </a:lnTo>
                  <a:lnTo>
                    <a:pt x="158" y="114"/>
                  </a:lnTo>
                  <a:lnTo>
                    <a:pt x="148" y="82"/>
                  </a:lnTo>
                  <a:lnTo>
                    <a:pt x="160" y="54"/>
                  </a:lnTo>
                  <a:lnTo>
                    <a:pt x="221" y="52"/>
                  </a:lnTo>
                  <a:lnTo>
                    <a:pt x="247" y="59"/>
                  </a:lnTo>
                  <a:lnTo>
                    <a:pt x="253" y="0"/>
                  </a:lnTo>
                  <a:lnTo>
                    <a:pt x="287" y="10"/>
                  </a:lnTo>
                  <a:lnTo>
                    <a:pt x="295" y="44"/>
                  </a:lnTo>
                  <a:lnTo>
                    <a:pt x="308" y="69"/>
                  </a:lnTo>
                  <a:lnTo>
                    <a:pt x="304" y="92"/>
                  </a:lnTo>
                  <a:lnTo>
                    <a:pt x="289" y="139"/>
                  </a:lnTo>
                  <a:lnTo>
                    <a:pt x="308" y="194"/>
                  </a:lnTo>
                  <a:lnTo>
                    <a:pt x="323" y="179"/>
                  </a:lnTo>
                  <a:lnTo>
                    <a:pt x="354" y="206"/>
                  </a:lnTo>
                  <a:lnTo>
                    <a:pt x="335" y="228"/>
                  </a:lnTo>
                  <a:lnTo>
                    <a:pt x="333" y="263"/>
                  </a:lnTo>
                  <a:lnTo>
                    <a:pt x="355" y="264"/>
                  </a:lnTo>
                  <a:lnTo>
                    <a:pt x="355" y="282"/>
                  </a:lnTo>
                  <a:lnTo>
                    <a:pt x="401" y="308"/>
                  </a:lnTo>
                  <a:lnTo>
                    <a:pt x="428" y="312"/>
                  </a:lnTo>
                  <a:lnTo>
                    <a:pt x="449" y="302"/>
                  </a:lnTo>
                  <a:lnTo>
                    <a:pt x="468" y="327"/>
                  </a:lnTo>
                  <a:lnTo>
                    <a:pt x="483" y="323"/>
                  </a:lnTo>
                  <a:lnTo>
                    <a:pt x="487" y="335"/>
                  </a:lnTo>
                  <a:lnTo>
                    <a:pt x="545" y="344"/>
                  </a:lnTo>
                  <a:lnTo>
                    <a:pt x="561" y="335"/>
                  </a:lnTo>
                  <a:lnTo>
                    <a:pt x="561" y="295"/>
                  </a:lnTo>
                  <a:lnTo>
                    <a:pt x="582" y="282"/>
                  </a:lnTo>
                  <a:lnTo>
                    <a:pt x="585" y="291"/>
                  </a:lnTo>
                  <a:lnTo>
                    <a:pt x="576" y="306"/>
                  </a:lnTo>
                  <a:lnTo>
                    <a:pt x="582" y="321"/>
                  </a:lnTo>
                  <a:lnTo>
                    <a:pt x="578" y="331"/>
                  </a:lnTo>
                  <a:lnTo>
                    <a:pt x="591" y="337"/>
                  </a:lnTo>
                  <a:lnTo>
                    <a:pt x="618" y="329"/>
                  </a:lnTo>
                  <a:lnTo>
                    <a:pt x="625" y="321"/>
                  </a:lnTo>
                  <a:lnTo>
                    <a:pt x="659" y="323"/>
                  </a:lnTo>
                  <a:lnTo>
                    <a:pt x="661" y="291"/>
                  </a:lnTo>
                  <a:lnTo>
                    <a:pt x="686" y="282"/>
                  </a:lnTo>
                  <a:lnTo>
                    <a:pt x="722" y="249"/>
                  </a:lnTo>
                  <a:lnTo>
                    <a:pt x="745" y="251"/>
                  </a:lnTo>
                  <a:lnTo>
                    <a:pt x="751" y="266"/>
                  </a:lnTo>
                  <a:lnTo>
                    <a:pt x="774" y="261"/>
                  </a:lnTo>
                  <a:lnTo>
                    <a:pt x="798" y="270"/>
                  </a:lnTo>
                  <a:lnTo>
                    <a:pt x="804" y="287"/>
                  </a:lnTo>
                  <a:lnTo>
                    <a:pt x="802" y="306"/>
                  </a:lnTo>
                  <a:lnTo>
                    <a:pt x="789" y="304"/>
                  </a:lnTo>
                  <a:lnTo>
                    <a:pt x="766" y="316"/>
                  </a:lnTo>
                  <a:lnTo>
                    <a:pt x="737" y="358"/>
                  </a:lnTo>
                  <a:lnTo>
                    <a:pt x="737" y="380"/>
                  </a:lnTo>
                  <a:lnTo>
                    <a:pt x="722" y="403"/>
                  </a:lnTo>
                  <a:lnTo>
                    <a:pt x="705" y="409"/>
                  </a:lnTo>
                  <a:lnTo>
                    <a:pt x="707" y="451"/>
                  </a:lnTo>
                  <a:lnTo>
                    <a:pt x="699" y="453"/>
                  </a:lnTo>
                  <a:lnTo>
                    <a:pt x="699" y="477"/>
                  </a:lnTo>
                  <a:lnTo>
                    <a:pt x="690" y="48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7" name="Freeform 93"/>
            <p:cNvSpPr>
              <a:spLocks/>
            </p:cNvSpPr>
            <p:nvPr/>
          </p:nvSpPr>
          <p:spPr bwMode="auto">
            <a:xfrm>
              <a:off x="4399440" y="4213065"/>
              <a:ext cx="167585" cy="217673"/>
            </a:xfrm>
            <a:custGeom>
              <a:avLst/>
              <a:gdLst>
                <a:gd name="T0" fmla="*/ 0 w 307"/>
                <a:gd name="T1" fmla="*/ 2147483647 h 349"/>
                <a:gd name="T2" fmla="*/ 2147483647 w 307"/>
                <a:gd name="T3" fmla="*/ 0 h 349"/>
                <a:gd name="T4" fmla="*/ 2147483647 w 307"/>
                <a:gd name="T5" fmla="*/ 2147483647 h 349"/>
                <a:gd name="T6" fmla="*/ 2147483647 w 307"/>
                <a:gd name="T7" fmla="*/ 2147483647 h 349"/>
                <a:gd name="T8" fmla="*/ 2147483647 w 307"/>
                <a:gd name="T9" fmla="*/ 2147483647 h 349"/>
                <a:gd name="T10" fmla="*/ 2147483647 w 307"/>
                <a:gd name="T11" fmla="*/ 2147483647 h 349"/>
                <a:gd name="T12" fmla="*/ 2147483647 w 307"/>
                <a:gd name="T13" fmla="*/ 2147483647 h 349"/>
                <a:gd name="T14" fmla="*/ 2147483647 w 307"/>
                <a:gd name="T15" fmla="*/ 2147483647 h 349"/>
                <a:gd name="T16" fmla="*/ 2147483647 w 307"/>
                <a:gd name="T17" fmla="*/ 2147483647 h 349"/>
                <a:gd name="T18" fmla="*/ 2147483647 w 307"/>
                <a:gd name="T19" fmla="*/ 2147483647 h 349"/>
                <a:gd name="T20" fmla="*/ 2147483647 w 307"/>
                <a:gd name="T21" fmla="*/ 2147483647 h 349"/>
                <a:gd name="T22" fmla="*/ 2147483647 w 307"/>
                <a:gd name="T23" fmla="*/ 2147483647 h 349"/>
                <a:gd name="T24" fmla="*/ 2147483647 w 307"/>
                <a:gd name="T25" fmla="*/ 2147483647 h 349"/>
                <a:gd name="T26" fmla="*/ 2147483647 w 307"/>
                <a:gd name="T27" fmla="*/ 2147483647 h 349"/>
                <a:gd name="T28" fmla="*/ 2147483647 w 307"/>
                <a:gd name="T29" fmla="*/ 2147483647 h 349"/>
                <a:gd name="T30" fmla="*/ 2147483647 w 307"/>
                <a:gd name="T31" fmla="*/ 2147483647 h 349"/>
                <a:gd name="T32" fmla="*/ 2147483647 w 307"/>
                <a:gd name="T33" fmla="*/ 2147483647 h 349"/>
                <a:gd name="T34" fmla="*/ 2147483647 w 307"/>
                <a:gd name="T35" fmla="*/ 2147483647 h 349"/>
                <a:gd name="T36" fmla="*/ 2147483647 w 307"/>
                <a:gd name="T37" fmla="*/ 2147483647 h 349"/>
                <a:gd name="T38" fmla="*/ 2147483647 w 307"/>
                <a:gd name="T39" fmla="*/ 2147483647 h 349"/>
                <a:gd name="T40" fmla="*/ 2147483647 w 307"/>
                <a:gd name="T41" fmla="*/ 2147483647 h 349"/>
                <a:gd name="T42" fmla="*/ 2147483647 w 307"/>
                <a:gd name="T43" fmla="*/ 2147483647 h 349"/>
                <a:gd name="T44" fmla="*/ 2147483647 w 307"/>
                <a:gd name="T45" fmla="*/ 2147483647 h 349"/>
                <a:gd name="T46" fmla="*/ 2147483647 w 307"/>
                <a:gd name="T47" fmla="*/ 2147483647 h 349"/>
                <a:gd name="T48" fmla="*/ 2147483647 w 307"/>
                <a:gd name="T49" fmla="*/ 2147483647 h 349"/>
                <a:gd name="T50" fmla="*/ 2147483647 w 307"/>
                <a:gd name="T51" fmla="*/ 2147483647 h 349"/>
                <a:gd name="T52" fmla="*/ 2147483647 w 307"/>
                <a:gd name="T53" fmla="*/ 2147483647 h 349"/>
                <a:gd name="T54" fmla="*/ 2147483647 w 307"/>
                <a:gd name="T55" fmla="*/ 2147483647 h 349"/>
                <a:gd name="T56" fmla="*/ 2147483647 w 307"/>
                <a:gd name="T57" fmla="*/ 2147483647 h 349"/>
                <a:gd name="T58" fmla="*/ 2147483647 w 307"/>
                <a:gd name="T59" fmla="*/ 2147483647 h 349"/>
                <a:gd name="T60" fmla="*/ 2147483647 w 307"/>
                <a:gd name="T61" fmla="*/ 2147483647 h 349"/>
                <a:gd name="T62" fmla="*/ 2147483647 w 307"/>
                <a:gd name="T63" fmla="*/ 2147483647 h 349"/>
                <a:gd name="T64" fmla="*/ 2147483647 w 307"/>
                <a:gd name="T65" fmla="*/ 2147483647 h 349"/>
                <a:gd name="T66" fmla="*/ 2147483647 w 307"/>
                <a:gd name="T67" fmla="*/ 2147483647 h 349"/>
                <a:gd name="T68" fmla="*/ 2147483647 w 307"/>
                <a:gd name="T69" fmla="*/ 2147483647 h 349"/>
                <a:gd name="T70" fmla="*/ 2147483647 w 307"/>
                <a:gd name="T71" fmla="*/ 2147483647 h 349"/>
                <a:gd name="T72" fmla="*/ 2147483647 w 307"/>
                <a:gd name="T73" fmla="*/ 2147483647 h 349"/>
                <a:gd name="T74" fmla="*/ 2147483647 w 307"/>
                <a:gd name="T75" fmla="*/ 2147483647 h 349"/>
                <a:gd name="T76" fmla="*/ 2147483647 w 307"/>
                <a:gd name="T77" fmla="*/ 2147483647 h 349"/>
                <a:gd name="T78" fmla="*/ 2147483647 w 307"/>
                <a:gd name="T79" fmla="*/ 2147483647 h 349"/>
                <a:gd name="T80" fmla="*/ 2147483647 w 307"/>
                <a:gd name="T81" fmla="*/ 2147483647 h 349"/>
                <a:gd name="T82" fmla="*/ 2147483647 w 307"/>
                <a:gd name="T83" fmla="*/ 2147483647 h 349"/>
                <a:gd name="T84" fmla="*/ 0 w 307"/>
                <a:gd name="T85" fmla="*/ 2147483647 h 349"/>
                <a:gd name="T86" fmla="*/ 0 w 307"/>
                <a:gd name="T87" fmla="*/ 2147483647 h 34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07"/>
                <a:gd name="T133" fmla="*/ 0 h 349"/>
                <a:gd name="T134" fmla="*/ 307 w 307"/>
                <a:gd name="T135" fmla="*/ 349 h 34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07" h="349">
                  <a:moveTo>
                    <a:pt x="0" y="6"/>
                  </a:moveTo>
                  <a:lnTo>
                    <a:pt x="11" y="0"/>
                  </a:lnTo>
                  <a:lnTo>
                    <a:pt x="39" y="15"/>
                  </a:lnTo>
                  <a:lnTo>
                    <a:pt x="55" y="9"/>
                  </a:lnTo>
                  <a:lnTo>
                    <a:pt x="70" y="9"/>
                  </a:lnTo>
                  <a:lnTo>
                    <a:pt x="136" y="82"/>
                  </a:lnTo>
                  <a:lnTo>
                    <a:pt x="136" y="93"/>
                  </a:lnTo>
                  <a:lnTo>
                    <a:pt x="144" y="85"/>
                  </a:lnTo>
                  <a:lnTo>
                    <a:pt x="165" y="104"/>
                  </a:lnTo>
                  <a:lnTo>
                    <a:pt x="193" y="108"/>
                  </a:lnTo>
                  <a:lnTo>
                    <a:pt x="195" y="125"/>
                  </a:lnTo>
                  <a:lnTo>
                    <a:pt x="209" y="123"/>
                  </a:lnTo>
                  <a:lnTo>
                    <a:pt x="228" y="140"/>
                  </a:lnTo>
                  <a:lnTo>
                    <a:pt x="222" y="156"/>
                  </a:lnTo>
                  <a:lnTo>
                    <a:pt x="229" y="152"/>
                  </a:lnTo>
                  <a:lnTo>
                    <a:pt x="245" y="161"/>
                  </a:lnTo>
                  <a:lnTo>
                    <a:pt x="247" y="167"/>
                  </a:lnTo>
                  <a:lnTo>
                    <a:pt x="241" y="177"/>
                  </a:lnTo>
                  <a:lnTo>
                    <a:pt x="243" y="184"/>
                  </a:lnTo>
                  <a:lnTo>
                    <a:pt x="231" y="197"/>
                  </a:lnTo>
                  <a:lnTo>
                    <a:pt x="266" y="207"/>
                  </a:lnTo>
                  <a:lnTo>
                    <a:pt x="271" y="235"/>
                  </a:lnTo>
                  <a:lnTo>
                    <a:pt x="279" y="230"/>
                  </a:lnTo>
                  <a:lnTo>
                    <a:pt x="296" y="239"/>
                  </a:lnTo>
                  <a:lnTo>
                    <a:pt x="307" y="266"/>
                  </a:lnTo>
                  <a:lnTo>
                    <a:pt x="305" y="342"/>
                  </a:lnTo>
                  <a:lnTo>
                    <a:pt x="288" y="321"/>
                  </a:lnTo>
                  <a:lnTo>
                    <a:pt x="290" y="346"/>
                  </a:lnTo>
                  <a:lnTo>
                    <a:pt x="260" y="328"/>
                  </a:lnTo>
                  <a:lnTo>
                    <a:pt x="267" y="349"/>
                  </a:lnTo>
                  <a:lnTo>
                    <a:pt x="237" y="315"/>
                  </a:lnTo>
                  <a:lnTo>
                    <a:pt x="216" y="306"/>
                  </a:lnTo>
                  <a:lnTo>
                    <a:pt x="169" y="245"/>
                  </a:lnTo>
                  <a:lnTo>
                    <a:pt x="167" y="224"/>
                  </a:lnTo>
                  <a:lnTo>
                    <a:pt x="131" y="169"/>
                  </a:lnTo>
                  <a:lnTo>
                    <a:pt x="114" y="165"/>
                  </a:lnTo>
                  <a:lnTo>
                    <a:pt x="104" y="127"/>
                  </a:lnTo>
                  <a:lnTo>
                    <a:pt x="108" y="118"/>
                  </a:lnTo>
                  <a:lnTo>
                    <a:pt x="89" y="104"/>
                  </a:lnTo>
                  <a:lnTo>
                    <a:pt x="70" y="104"/>
                  </a:lnTo>
                  <a:lnTo>
                    <a:pt x="45" y="61"/>
                  </a:lnTo>
                  <a:lnTo>
                    <a:pt x="17" y="40"/>
                  </a:lnTo>
                  <a:lnTo>
                    <a:pt x="0" y="15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8" name="Freeform 94"/>
            <p:cNvSpPr>
              <a:spLocks/>
            </p:cNvSpPr>
            <p:nvPr/>
          </p:nvSpPr>
          <p:spPr bwMode="auto">
            <a:xfrm>
              <a:off x="4424799" y="4289891"/>
              <a:ext cx="17641" cy="22116"/>
            </a:xfrm>
            <a:custGeom>
              <a:avLst/>
              <a:gdLst>
                <a:gd name="T0" fmla="*/ 2147483647 w 32"/>
                <a:gd name="T1" fmla="*/ 0 h 36"/>
                <a:gd name="T2" fmla="*/ 2147483647 w 32"/>
                <a:gd name="T3" fmla="*/ 2147483647 h 36"/>
                <a:gd name="T4" fmla="*/ 2147483647 w 32"/>
                <a:gd name="T5" fmla="*/ 2147483647 h 36"/>
                <a:gd name="T6" fmla="*/ 2147483647 w 32"/>
                <a:gd name="T7" fmla="*/ 2147483647 h 36"/>
                <a:gd name="T8" fmla="*/ 0 w 32"/>
                <a:gd name="T9" fmla="*/ 2147483647 h 36"/>
                <a:gd name="T10" fmla="*/ 2147483647 w 32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36"/>
                <a:gd name="T20" fmla="*/ 32 w 32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36">
                  <a:moveTo>
                    <a:pt x="15" y="0"/>
                  </a:moveTo>
                  <a:lnTo>
                    <a:pt x="30" y="17"/>
                  </a:lnTo>
                  <a:lnTo>
                    <a:pt x="32" y="33"/>
                  </a:lnTo>
                  <a:lnTo>
                    <a:pt x="25" y="36"/>
                  </a:lnTo>
                  <a:lnTo>
                    <a:pt x="0" y="4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19" name="Freeform 95"/>
            <p:cNvSpPr>
              <a:spLocks/>
            </p:cNvSpPr>
            <p:nvPr/>
          </p:nvSpPr>
          <p:spPr bwMode="auto">
            <a:xfrm>
              <a:off x="4452362" y="4334124"/>
              <a:ext cx="13230" cy="19788"/>
            </a:xfrm>
            <a:custGeom>
              <a:avLst/>
              <a:gdLst>
                <a:gd name="T0" fmla="*/ 2147483647 w 23"/>
                <a:gd name="T1" fmla="*/ 0 h 32"/>
                <a:gd name="T2" fmla="*/ 2147483647 w 23"/>
                <a:gd name="T3" fmla="*/ 2147483647 h 32"/>
                <a:gd name="T4" fmla="*/ 2147483647 w 23"/>
                <a:gd name="T5" fmla="*/ 2147483647 h 32"/>
                <a:gd name="T6" fmla="*/ 0 w 23"/>
                <a:gd name="T7" fmla="*/ 2147483647 h 32"/>
                <a:gd name="T8" fmla="*/ 0 w 23"/>
                <a:gd name="T9" fmla="*/ 2147483647 h 32"/>
                <a:gd name="T10" fmla="*/ 2147483647 w 23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32"/>
                <a:gd name="T20" fmla="*/ 23 w 23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32">
                  <a:moveTo>
                    <a:pt x="12" y="0"/>
                  </a:moveTo>
                  <a:lnTo>
                    <a:pt x="23" y="28"/>
                  </a:lnTo>
                  <a:lnTo>
                    <a:pt x="14" y="32"/>
                  </a:lnTo>
                  <a:lnTo>
                    <a:pt x="0" y="21"/>
                  </a:lnTo>
                  <a:lnTo>
                    <a:pt x="0" y="3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0" name="Freeform 96"/>
            <p:cNvSpPr>
              <a:spLocks/>
            </p:cNvSpPr>
            <p:nvPr/>
          </p:nvSpPr>
          <p:spPr bwMode="auto">
            <a:xfrm>
              <a:off x="4467798" y="4356241"/>
              <a:ext cx="19846" cy="24444"/>
            </a:xfrm>
            <a:custGeom>
              <a:avLst/>
              <a:gdLst>
                <a:gd name="T0" fmla="*/ 2147483647 w 36"/>
                <a:gd name="T1" fmla="*/ 0 h 40"/>
                <a:gd name="T2" fmla="*/ 2147483647 w 36"/>
                <a:gd name="T3" fmla="*/ 2147483647 h 40"/>
                <a:gd name="T4" fmla="*/ 2147483647 w 36"/>
                <a:gd name="T5" fmla="*/ 2147483647 h 40"/>
                <a:gd name="T6" fmla="*/ 2147483647 w 36"/>
                <a:gd name="T7" fmla="*/ 2147483647 h 40"/>
                <a:gd name="T8" fmla="*/ 2147483647 w 36"/>
                <a:gd name="T9" fmla="*/ 2147483647 h 40"/>
                <a:gd name="T10" fmla="*/ 2147483647 w 36"/>
                <a:gd name="T11" fmla="*/ 2147483647 h 40"/>
                <a:gd name="T12" fmla="*/ 2147483647 w 36"/>
                <a:gd name="T13" fmla="*/ 2147483647 h 40"/>
                <a:gd name="T14" fmla="*/ 2147483647 w 36"/>
                <a:gd name="T15" fmla="*/ 2147483647 h 40"/>
                <a:gd name="T16" fmla="*/ 2147483647 w 36"/>
                <a:gd name="T17" fmla="*/ 2147483647 h 40"/>
                <a:gd name="T18" fmla="*/ 0 w 36"/>
                <a:gd name="T19" fmla="*/ 2147483647 h 40"/>
                <a:gd name="T20" fmla="*/ 2147483647 w 36"/>
                <a:gd name="T21" fmla="*/ 0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40"/>
                <a:gd name="T35" fmla="*/ 36 w 36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40">
                  <a:moveTo>
                    <a:pt x="4" y="0"/>
                  </a:moveTo>
                  <a:lnTo>
                    <a:pt x="21" y="15"/>
                  </a:lnTo>
                  <a:lnTo>
                    <a:pt x="23" y="22"/>
                  </a:lnTo>
                  <a:lnTo>
                    <a:pt x="36" y="32"/>
                  </a:lnTo>
                  <a:lnTo>
                    <a:pt x="30" y="40"/>
                  </a:lnTo>
                  <a:lnTo>
                    <a:pt x="23" y="26"/>
                  </a:lnTo>
                  <a:lnTo>
                    <a:pt x="17" y="24"/>
                  </a:lnTo>
                  <a:lnTo>
                    <a:pt x="15" y="13"/>
                  </a:lnTo>
                  <a:lnTo>
                    <a:pt x="7" y="1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1" name="Freeform 97"/>
            <p:cNvSpPr>
              <a:spLocks/>
            </p:cNvSpPr>
            <p:nvPr/>
          </p:nvSpPr>
          <p:spPr bwMode="auto">
            <a:xfrm>
              <a:off x="4557103" y="4344601"/>
              <a:ext cx="22051" cy="29100"/>
            </a:xfrm>
            <a:custGeom>
              <a:avLst/>
              <a:gdLst>
                <a:gd name="T0" fmla="*/ 2147483647 w 40"/>
                <a:gd name="T1" fmla="*/ 0 h 45"/>
                <a:gd name="T2" fmla="*/ 2147483647 w 40"/>
                <a:gd name="T3" fmla="*/ 2147483647 h 45"/>
                <a:gd name="T4" fmla="*/ 2147483647 w 40"/>
                <a:gd name="T5" fmla="*/ 2147483647 h 45"/>
                <a:gd name="T6" fmla="*/ 2147483647 w 40"/>
                <a:gd name="T7" fmla="*/ 2147483647 h 45"/>
                <a:gd name="T8" fmla="*/ 2147483647 w 40"/>
                <a:gd name="T9" fmla="*/ 2147483647 h 45"/>
                <a:gd name="T10" fmla="*/ 2147483647 w 40"/>
                <a:gd name="T11" fmla="*/ 2147483647 h 45"/>
                <a:gd name="T12" fmla="*/ 2147483647 w 40"/>
                <a:gd name="T13" fmla="*/ 2147483647 h 45"/>
                <a:gd name="T14" fmla="*/ 2147483647 w 40"/>
                <a:gd name="T15" fmla="*/ 2147483647 h 45"/>
                <a:gd name="T16" fmla="*/ 0 w 40"/>
                <a:gd name="T17" fmla="*/ 2147483647 h 45"/>
                <a:gd name="T18" fmla="*/ 2147483647 w 40"/>
                <a:gd name="T19" fmla="*/ 0 h 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5"/>
                <a:gd name="T32" fmla="*/ 40 w 40"/>
                <a:gd name="T33" fmla="*/ 45 h 4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5">
                  <a:moveTo>
                    <a:pt x="2" y="0"/>
                  </a:moveTo>
                  <a:lnTo>
                    <a:pt x="15" y="2"/>
                  </a:lnTo>
                  <a:lnTo>
                    <a:pt x="29" y="20"/>
                  </a:lnTo>
                  <a:lnTo>
                    <a:pt x="40" y="28"/>
                  </a:lnTo>
                  <a:lnTo>
                    <a:pt x="36" y="41"/>
                  </a:lnTo>
                  <a:lnTo>
                    <a:pt x="38" y="45"/>
                  </a:lnTo>
                  <a:lnTo>
                    <a:pt x="23" y="41"/>
                  </a:lnTo>
                  <a:lnTo>
                    <a:pt x="15" y="17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2" name="Freeform 98"/>
            <p:cNvSpPr>
              <a:spLocks/>
            </p:cNvSpPr>
            <p:nvPr/>
          </p:nvSpPr>
          <p:spPr bwMode="auto">
            <a:xfrm>
              <a:off x="4584666" y="4363225"/>
              <a:ext cx="17641" cy="16296"/>
            </a:xfrm>
            <a:custGeom>
              <a:avLst/>
              <a:gdLst>
                <a:gd name="T0" fmla="*/ 0 w 32"/>
                <a:gd name="T1" fmla="*/ 2147483647 h 27"/>
                <a:gd name="T2" fmla="*/ 2147483647 w 32"/>
                <a:gd name="T3" fmla="*/ 0 h 27"/>
                <a:gd name="T4" fmla="*/ 2147483647 w 32"/>
                <a:gd name="T5" fmla="*/ 2147483647 h 27"/>
                <a:gd name="T6" fmla="*/ 2147483647 w 32"/>
                <a:gd name="T7" fmla="*/ 2147483647 h 27"/>
                <a:gd name="T8" fmla="*/ 2147483647 w 32"/>
                <a:gd name="T9" fmla="*/ 2147483647 h 27"/>
                <a:gd name="T10" fmla="*/ 2147483647 w 32"/>
                <a:gd name="T11" fmla="*/ 2147483647 h 27"/>
                <a:gd name="T12" fmla="*/ 0 w 32"/>
                <a:gd name="T13" fmla="*/ 2147483647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27"/>
                <a:gd name="T23" fmla="*/ 32 w 32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27">
                  <a:moveTo>
                    <a:pt x="0" y="6"/>
                  </a:moveTo>
                  <a:lnTo>
                    <a:pt x="22" y="0"/>
                  </a:lnTo>
                  <a:lnTo>
                    <a:pt x="32" y="6"/>
                  </a:lnTo>
                  <a:lnTo>
                    <a:pt x="30" y="21"/>
                  </a:lnTo>
                  <a:lnTo>
                    <a:pt x="15" y="27"/>
                  </a:lnTo>
                  <a:lnTo>
                    <a:pt x="9" y="13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3" name="Freeform 99"/>
            <p:cNvSpPr>
              <a:spLocks/>
            </p:cNvSpPr>
            <p:nvPr/>
          </p:nvSpPr>
          <p:spPr bwMode="auto">
            <a:xfrm>
              <a:off x="4553795" y="4420262"/>
              <a:ext cx="148843" cy="52381"/>
            </a:xfrm>
            <a:custGeom>
              <a:avLst/>
              <a:gdLst>
                <a:gd name="T0" fmla="*/ 2147483647 w 271"/>
                <a:gd name="T1" fmla="*/ 2147483647 h 84"/>
                <a:gd name="T2" fmla="*/ 2147483647 w 271"/>
                <a:gd name="T3" fmla="*/ 2147483647 h 84"/>
                <a:gd name="T4" fmla="*/ 2147483647 w 271"/>
                <a:gd name="T5" fmla="*/ 2147483647 h 84"/>
                <a:gd name="T6" fmla="*/ 2147483647 w 271"/>
                <a:gd name="T7" fmla="*/ 0 h 84"/>
                <a:gd name="T8" fmla="*/ 2147483647 w 271"/>
                <a:gd name="T9" fmla="*/ 2147483647 h 84"/>
                <a:gd name="T10" fmla="*/ 2147483647 w 271"/>
                <a:gd name="T11" fmla="*/ 2147483647 h 84"/>
                <a:gd name="T12" fmla="*/ 2147483647 w 271"/>
                <a:gd name="T13" fmla="*/ 2147483647 h 84"/>
                <a:gd name="T14" fmla="*/ 2147483647 w 271"/>
                <a:gd name="T15" fmla="*/ 2147483647 h 84"/>
                <a:gd name="T16" fmla="*/ 2147483647 w 271"/>
                <a:gd name="T17" fmla="*/ 2147483647 h 84"/>
                <a:gd name="T18" fmla="*/ 2147483647 w 271"/>
                <a:gd name="T19" fmla="*/ 2147483647 h 84"/>
                <a:gd name="T20" fmla="*/ 2147483647 w 271"/>
                <a:gd name="T21" fmla="*/ 2147483647 h 84"/>
                <a:gd name="T22" fmla="*/ 2147483647 w 271"/>
                <a:gd name="T23" fmla="*/ 2147483647 h 84"/>
                <a:gd name="T24" fmla="*/ 2147483647 w 271"/>
                <a:gd name="T25" fmla="*/ 2147483647 h 84"/>
                <a:gd name="T26" fmla="*/ 2147483647 w 271"/>
                <a:gd name="T27" fmla="*/ 2147483647 h 84"/>
                <a:gd name="T28" fmla="*/ 2147483647 w 271"/>
                <a:gd name="T29" fmla="*/ 2147483647 h 84"/>
                <a:gd name="T30" fmla="*/ 2147483647 w 271"/>
                <a:gd name="T31" fmla="*/ 2147483647 h 84"/>
                <a:gd name="T32" fmla="*/ 2147483647 w 271"/>
                <a:gd name="T33" fmla="*/ 2147483647 h 84"/>
                <a:gd name="T34" fmla="*/ 2147483647 w 271"/>
                <a:gd name="T35" fmla="*/ 2147483647 h 84"/>
                <a:gd name="T36" fmla="*/ 2147483647 w 271"/>
                <a:gd name="T37" fmla="*/ 2147483647 h 84"/>
                <a:gd name="T38" fmla="*/ 2147483647 w 271"/>
                <a:gd name="T39" fmla="*/ 2147483647 h 84"/>
                <a:gd name="T40" fmla="*/ 2147483647 w 271"/>
                <a:gd name="T41" fmla="*/ 2147483647 h 84"/>
                <a:gd name="T42" fmla="*/ 2147483647 w 271"/>
                <a:gd name="T43" fmla="*/ 2147483647 h 84"/>
                <a:gd name="T44" fmla="*/ 2147483647 w 271"/>
                <a:gd name="T45" fmla="*/ 2147483647 h 84"/>
                <a:gd name="T46" fmla="*/ 2147483647 w 271"/>
                <a:gd name="T47" fmla="*/ 2147483647 h 84"/>
                <a:gd name="T48" fmla="*/ 2147483647 w 271"/>
                <a:gd name="T49" fmla="*/ 2147483647 h 84"/>
                <a:gd name="T50" fmla="*/ 2147483647 w 271"/>
                <a:gd name="T51" fmla="*/ 2147483647 h 84"/>
                <a:gd name="T52" fmla="*/ 2147483647 w 271"/>
                <a:gd name="T53" fmla="*/ 2147483647 h 84"/>
                <a:gd name="T54" fmla="*/ 0 w 271"/>
                <a:gd name="T55" fmla="*/ 2147483647 h 84"/>
                <a:gd name="T56" fmla="*/ 2147483647 w 271"/>
                <a:gd name="T57" fmla="*/ 2147483647 h 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71"/>
                <a:gd name="T88" fmla="*/ 0 h 84"/>
                <a:gd name="T89" fmla="*/ 271 w 271"/>
                <a:gd name="T90" fmla="*/ 84 h 8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71" h="84">
                  <a:moveTo>
                    <a:pt x="15" y="21"/>
                  </a:moveTo>
                  <a:lnTo>
                    <a:pt x="22" y="25"/>
                  </a:lnTo>
                  <a:lnTo>
                    <a:pt x="26" y="6"/>
                  </a:lnTo>
                  <a:lnTo>
                    <a:pt x="64" y="0"/>
                  </a:lnTo>
                  <a:lnTo>
                    <a:pt x="100" y="12"/>
                  </a:lnTo>
                  <a:lnTo>
                    <a:pt x="102" y="27"/>
                  </a:lnTo>
                  <a:lnTo>
                    <a:pt x="123" y="27"/>
                  </a:lnTo>
                  <a:lnTo>
                    <a:pt x="148" y="36"/>
                  </a:lnTo>
                  <a:lnTo>
                    <a:pt x="167" y="12"/>
                  </a:lnTo>
                  <a:lnTo>
                    <a:pt x="180" y="12"/>
                  </a:lnTo>
                  <a:lnTo>
                    <a:pt x="220" y="34"/>
                  </a:lnTo>
                  <a:lnTo>
                    <a:pt x="260" y="31"/>
                  </a:lnTo>
                  <a:lnTo>
                    <a:pt x="260" y="38"/>
                  </a:lnTo>
                  <a:lnTo>
                    <a:pt x="233" y="42"/>
                  </a:lnTo>
                  <a:lnTo>
                    <a:pt x="220" y="36"/>
                  </a:lnTo>
                  <a:lnTo>
                    <a:pt x="228" y="50"/>
                  </a:lnTo>
                  <a:lnTo>
                    <a:pt x="264" y="50"/>
                  </a:lnTo>
                  <a:lnTo>
                    <a:pt x="260" y="72"/>
                  </a:lnTo>
                  <a:lnTo>
                    <a:pt x="271" y="84"/>
                  </a:lnTo>
                  <a:lnTo>
                    <a:pt x="256" y="84"/>
                  </a:lnTo>
                  <a:lnTo>
                    <a:pt x="229" y="71"/>
                  </a:lnTo>
                  <a:lnTo>
                    <a:pt x="212" y="78"/>
                  </a:lnTo>
                  <a:lnTo>
                    <a:pt x="91" y="53"/>
                  </a:lnTo>
                  <a:lnTo>
                    <a:pt x="87" y="61"/>
                  </a:lnTo>
                  <a:lnTo>
                    <a:pt x="34" y="50"/>
                  </a:lnTo>
                  <a:lnTo>
                    <a:pt x="41" y="34"/>
                  </a:lnTo>
                  <a:lnTo>
                    <a:pt x="1" y="40"/>
                  </a:lnTo>
                  <a:lnTo>
                    <a:pt x="0" y="23"/>
                  </a:lnTo>
                  <a:lnTo>
                    <a:pt x="15" y="2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4" name="Freeform 100"/>
            <p:cNvSpPr>
              <a:spLocks/>
            </p:cNvSpPr>
            <p:nvPr/>
          </p:nvSpPr>
          <p:spPr bwMode="auto">
            <a:xfrm>
              <a:off x="4719176" y="4459839"/>
              <a:ext cx="14333" cy="15132"/>
            </a:xfrm>
            <a:custGeom>
              <a:avLst/>
              <a:gdLst>
                <a:gd name="T0" fmla="*/ 2147483647 w 24"/>
                <a:gd name="T1" fmla="*/ 0 h 23"/>
                <a:gd name="T2" fmla="*/ 2147483647 w 24"/>
                <a:gd name="T3" fmla="*/ 2147483647 h 23"/>
                <a:gd name="T4" fmla="*/ 2147483647 w 24"/>
                <a:gd name="T5" fmla="*/ 2147483647 h 23"/>
                <a:gd name="T6" fmla="*/ 0 w 24"/>
                <a:gd name="T7" fmla="*/ 2147483647 h 23"/>
                <a:gd name="T8" fmla="*/ 2147483647 w 24"/>
                <a:gd name="T9" fmla="*/ 2147483647 h 23"/>
                <a:gd name="T10" fmla="*/ 2147483647 w 24"/>
                <a:gd name="T11" fmla="*/ 2147483647 h 23"/>
                <a:gd name="T12" fmla="*/ 2147483647 w 24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3"/>
                <a:gd name="T23" fmla="*/ 24 w 24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3">
                  <a:moveTo>
                    <a:pt x="11" y="0"/>
                  </a:moveTo>
                  <a:lnTo>
                    <a:pt x="24" y="7"/>
                  </a:lnTo>
                  <a:lnTo>
                    <a:pt x="15" y="21"/>
                  </a:lnTo>
                  <a:lnTo>
                    <a:pt x="0" y="23"/>
                  </a:lnTo>
                  <a:lnTo>
                    <a:pt x="5" y="17"/>
                  </a:lnTo>
                  <a:lnTo>
                    <a:pt x="3" y="9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5" name="Freeform 101"/>
            <p:cNvSpPr>
              <a:spLocks/>
            </p:cNvSpPr>
            <p:nvPr/>
          </p:nvSpPr>
          <p:spPr bwMode="auto">
            <a:xfrm>
              <a:off x="4733509" y="4458675"/>
              <a:ext cx="106946" cy="19788"/>
            </a:xfrm>
            <a:custGeom>
              <a:avLst/>
              <a:gdLst>
                <a:gd name="T0" fmla="*/ 2147483647 w 196"/>
                <a:gd name="T1" fmla="*/ 2147483647 h 30"/>
                <a:gd name="T2" fmla="*/ 2147483647 w 196"/>
                <a:gd name="T3" fmla="*/ 2147483647 h 30"/>
                <a:gd name="T4" fmla="*/ 2147483647 w 196"/>
                <a:gd name="T5" fmla="*/ 2147483647 h 30"/>
                <a:gd name="T6" fmla="*/ 2147483647 w 196"/>
                <a:gd name="T7" fmla="*/ 2147483647 h 30"/>
                <a:gd name="T8" fmla="*/ 2147483647 w 196"/>
                <a:gd name="T9" fmla="*/ 2147483647 h 30"/>
                <a:gd name="T10" fmla="*/ 2147483647 w 196"/>
                <a:gd name="T11" fmla="*/ 2147483647 h 30"/>
                <a:gd name="T12" fmla="*/ 2147483647 w 196"/>
                <a:gd name="T13" fmla="*/ 2147483647 h 30"/>
                <a:gd name="T14" fmla="*/ 2147483647 w 196"/>
                <a:gd name="T15" fmla="*/ 2147483647 h 30"/>
                <a:gd name="T16" fmla="*/ 2147483647 w 196"/>
                <a:gd name="T17" fmla="*/ 2147483647 h 30"/>
                <a:gd name="T18" fmla="*/ 2147483647 w 196"/>
                <a:gd name="T19" fmla="*/ 0 h 30"/>
                <a:gd name="T20" fmla="*/ 2147483647 w 196"/>
                <a:gd name="T21" fmla="*/ 2147483647 h 30"/>
                <a:gd name="T22" fmla="*/ 2147483647 w 196"/>
                <a:gd name="T23" fmla="*/ 2147483647 h 30"/>
                <a:gd name="T24" fmla="*/ 2147483647 w 196"/>
                <a:gd name="T25" fmla="*/ 2147483647 h 30"/>
                <a:gd name="T26" fmla="*/ 2147483647 w 196"/>
                <a:gd name="T27" fmla="*/ 2147483647 h 30"/>
                <a:gd name="T28" fmla="*/ 2147483647 w 196"/>
                <a:gd name="T29" fmla="*/ 2147483647 h 30"/>
                <a:gd name="T30" fmla="*/ 2147483647 w 196"/>
                <a:gd name="T31" fmla="*/ 2147483647 h 30"/>
                <a:gd name="T32" fmla="*/ 2147483647 w 196"/>
                <a:gd name="T33" fmla="*/ 2147483647 h 30"/>
                <a:gd name="T34" fmla="*/ 2147483647 w 196"/>
                <a:gd name="T35" fmla="*/ 2147483647 h 30"/>
                <a:gd name="T36" fmla="*/ 2147483647 w 196"/>
                <a:gd name="T37" fmla="*/ 2147483647 h 30"/>
                <a:gd name="T38" fmla="*/ 0 w 196"/>
                <a:gd name="T39" fmla="*/ 2147483647 h 30"/>
                <a:gd name="T40" fmla="*/ 2147483647 w 196"/>
                <a:gd name="T41" fmla="*/ 2147483647 h 3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96"/>
                <a:gd name="T64" fmla="*/ 0 h 30"/>
                <a:gd name="T65" fmla="*/ 196 w 196"/>
                <a:gd name="T66" fmla="*/ 30 h 3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96" h="30">
                  <a:moveTo>
                    <a:pt x="8" y="13"/>
                  </a:moveTo>
                  <a:lnTo>
                    <a:pt x="33" y="19"/>
                  </a:lnTo>
                  <a:lnTo>
                    <a:pt x="34" y="4"/>
                  </a:lnTo>
                  <a:lnTo>
                    <a:pt x="55" y="4"/>
                  </a:lnTo>
                  <a:lnTo>
                    <a:pt x="69" y="13"/>
                  </a:lnTo>
                  <a:lnTo>
                    <a:pt x="82" y="15"/>
                  </a:lnTo>
                  <a:lnTo>
                    <a:pt x="101" y="6"/>
                  </a:lnTo>
                  <a:lnTo>
                    <a:pt x="118" y="13"/>
                  </a:lnTo>
                  <a:lnTo>
                    <a:pt x="149" y="11"/>
                  </a:lnTo>
                  <a:lnTo>
                    <a:pt x="168" y="0"/>
                  </a:lnTo>
                  <a:lnTo>
                    <a:pt x="179" y="8"/>
                  </a:lnTo>
                  <a:lnTo>
                    <a:pt x="196" y="6"/>
                  </a:lnTo>
                  <a:lnTo>
                    <a:pt x="183" y="21"/>
                  </a:lnTo>
                  <a:lnTo>
                    <a:pt x="171" y="19"/>
                  </a:lnTo>
                  <a:lnTo>
                    <a:pt x="169" y="13"/>
                  </a:lnTo>
                  <a:lnTo>
                    <a:pt x="101" y="28"/>
                  </a:lnTo>
                  <a:lnTo>
                    <a:pt x="82" y="19"/>
                  </a:lnTo>
                  <a:lnTo>
                    <a:pt x="69" y="19"/>
                  </a:lnTo>
                  <a:lnTo>
                    <a:pt x="61" y="27"/>
                  </a:lnTo>
                  <a:lnTo>
                    <a:pt x="0" y="30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6" name="Freeform 102"/>
            <p:cNvSpPr>
              <a:spLocks/>
            </p:cNvSpPr>
            <p:nvPr/>
          </p:nvSpPr>
          <p:spPr bwMode="auto">
            <a:xfrm>
              <a:off x="4766585" y="4479628"/>
              <a:ext cx="33076" cy="23281"/>
            </a:xfrm>
            <a:custGeom>
              <a:avLst/>
              <a:gdLst>
                <a:gd name="T0" fmla="*/ 0 w 59"/>
                <a:gd name="T1" fmla="*/ 2147483647 h 38"/>
                <a:gd name="T2" fmla="*/ 2147483647 w 59"/>
                <a:gd name="T3" fmla="*/ 0 h 38"/>
                <a:gd name="T4" fmla="*/ 2147483647 w 59"/>
                <a:gd name="T5" fmla="*/ 2147483647 h 38"/>
                <a:gd name="T6" fmla="*/ 2147483647 w 59"/>
                <a:gd name="T7" fmla="*/ 2147483647 h 38"/>
                <a:gd name="T8" fmla="*/ 2147483647 w 59"/>
                <a:gd name="T9" fmla="*/ 2147483647 h 38"/>
                <a:gd name="T10" fmla="*/ 0 w 59"/>
                <a:gd name="T11" fmla="*/ 2147483647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"/>
                <a:gd name="T19" fmla="*/ 0 h 38"/>
                <a:gd name="T20" fmla="*/ 59 w 59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" h="38">
                  <a:moveTo>
                    <a:pt x="0" y="8"/>
                  </a:moveTo>
                  <a:lnTo>
                    <a:pt x="12" y="0"/>
                  </a:lnTo>
                  <a:lnTo>
                    <a:pt x="31" y="4"/>
                  </a:lnTo>
                  <a:lnTo>
                    <a:pt x="59" y="27"/>
                  </a:lnTo>
                  <a:lnTo>
                    <a:pt x="42" y="3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7" name="Freeform 103"/>
            <p:cNvSpPr>
              <a:spLocks/>
            </p:cNvSpPr>
            <p:nvPr/>
          </p:nvSpPr>
          <p:spPr bwMode="auto">
            <a:xfrm>
              <a:off x="4820609" y="4464495"/>
              <a:ext cx="74972" cy="48889"/>
            </a:xfrm>
            <a:custGeom>
              <a:avLst/>
              <a:gdLst>
                <a:gd name="T0" fmla="*/ 2147483647 w 135"/>
                <a:gd name="T1" fmla="*/ 2147483647 h 78"/>
                <a:gd name="T2" fmla="*/ 2147483647 w 135"/>
                <a:gd name="T3" fmla="*/ 2147483647 h 78"/>
                <a:gd name="T4" fmla="*/ 2147483647 w 135"/>
                <a:gd name="T5" fmla="*/ 2147483647 h 78"/>
                <a:gd name="T6" fmla="*/ 2147483647 w 135"/>
                <a:gd name="T7" fmla="*/ 0 h 78"/>
                <a:gd name="T8" fmla="*/ 2147483647 w 135"/>
                <a:gd name="T9" fmla="*/ 2147483647 h 78"/>
                <a:gd name="T10" fmla="*/ 2147483647 w 135"/>
                <a:gd name="T11" fmla="*/ 2147483647 h 78"/>
                <a:gd name="T12" fmla="*/ 2147483647 w 135"/>
                <a:gd name="T13" fmla="*/ 2147483647 h 78"/>
                <a:gd name="T14" fmla="*/ 2147483647 w 135"/>
                <a:gd name="T15" fmla="*/ 2147483647 h 78"/>
                <a:gd name="T16" fmla="*/ 0 w 135"/>
                <a:gd name="T17" fmla="*/ 2147483647 h 78"/>
                <a:gd name="T18" fmla="*/ 2147483647 w 135"/>
                <a:gd name="T19" fmla="*/ 2147483647 h 78"/>
                <a:gd name="T20" fmla="*/ 2147483647 w 135"/>
                <a:gd name="T21" fmla="*/ 2147483647 h 78"/>
                <a:gd name="T22" fmla="*/ 2147483647 w 135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5"/>
                <a:gd name="T37" fmla="*/ 0 h 78"/>
                <a:gd name="T38" fmla="*/ 135 w 135"/>
                <a:gd name="T39" fmla="*/ 78 h 7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5" h="78">
                  <a:moveTo>
                    <a:pt x="36" y="27"/>
                  </a:moveTo>
                  <a:lnTo>
                    <a:pt x="63" y="23"/>
                  </a:lnTo>
                  <a:lnTo>
                    <a:pt x="72" y="14"/>
                  </a:lnTo>
                  <a:lnTo>
                    <a:pt x="129" y="0"/>
                  </a:lnTo>
                  <a:lnTo>
                    <a:pt x="135" y="4"/>
                  </a:lnTo>
                  <a:lnTo>
                    <a:pt x="57" y="56"/>
                  </a:lnTo>
                  <a:lnTo>
                    <a:pt x="28" y="61"/>
                  </a:lnTo>
                  <a:lnTo>
                    <a:pt x="23" y="76"/>
                  </a:lnTo>
                  <a:lnTo>
                    <a:pt x="0" y="78"/>
                  </a:lnTo>
                  <a:lnTo>
                    <a:pt x="17" y="65"/>
                  </a:lnTo>
                  <a:lnTo>
                    <a:pt x="21" y="50"/>
                  </a:lnTo>
                  <a:lnTo>
                    <a:pt x="36" y="2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8" name="Freeform 104"/>
            <p:cNvSpPr>
              <a:spLocks/>
            </p:cNvSpPr>
            <p:nvPr/>
          </p:nvSpPr>
          <p:spPr bwMode="auto">
            <a:xfrm>
              <a:off x="4843763" y="4455183"/>
              <a:ext cx="44101" cy="16296"/>
            </a:xfrm>
            <a:custGeom>
              <a:avLst/>
              <a:gdLst>
                <a:gd name="T0" fmla="*/ 2147483647 w 79"/>
                <a:gd name="T1" fmla="*/ 2147483647 h 27"/>
                <a:gd name="T2" fmla="*/ 2147483647 w 79"/>
                <a:gd name="T3" fmla="*/ 2147483647 h 27"/>
                <a:gd name="T4" fmla="*/ 2147483647 w 79"/>
                <a:gd name="T5" fmla="*/ 0 h 27"/>
                <a:gd name="T6" fmla="*/ 2147483647 w 79"/>
                <a:gd name="T7" fmla="*/ 0 h 27"/>
                <a:gd name="T8" fmla="*/ 2147483647 w 79"/>
                <a:gd name="T9" fmla="*/ 2147483647 h 27"/>
                <a:gd name="T10" fmla="*/ 2147483647 w 79"/>
                <a:gd name="T11" fmla="*/ 2147483647 h 27"/>
                <a:gd name="T12" fmla="*/ 2147483647 w 79"/>
                <a:gd name="T13" fmla="*/ 2147483647 h 27"/>
                <a:gd name="T14" fmla="*/ 0 w 79"/>
                <a:gd name="T15" fmla="*/ 2147483647 h 27"/>
                <a:gd name="T16" fmla="*/ 2147483647 w 79"/>
                <a:gd name="T17" fmla="*/ 2147483647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9"/>
                <a:gd name="T28" fmla="*/ 0 h 27"/>
                <a:gd name="T29" fmla="*/ 79 w 79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9" h="27">
                  <a:moveTo>
                    <a:pt x="11" y="10"/>
                  </a:moveTo>
                  <a:lnTo>
                    <a:pt x="38" y="17"/>
                  </a:lnTo>
                  <a:lnTo>
                    <a:pt x="53" y="0"/>
                  </a:lnTo>
                  <a:lnTo>
                    <a:pt x="79" y="0"/>
                  </a:lnTo>
                  <a:lnTo>
                    <a:pt x="78" y="8"/>
                  </a:lnTo>
                  <a:lnTo>
                    <a:pt x="55" y="10"/>
                  </a:lnTo>
                  <a:lnTo>
                    <a:pt x="34" y="23"/>
                  </a:lnTo>
                  <a:lnTo>
                    <a:pt x="0" y="27"/>
                  </a:lnTo>
                  <a:lnTo>
                    <a:pt x="11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29" name="Freeform 105"/>
            <p:cNvSpPr>
              <a:spLocks/>
            </p:cNvSpPr>
            <p:nvPr/>
          </p:nvSpPr>
          <p:spPr bwMode="auto">
            <a:xfrm>
              <a:off x="4945196" y="4443543"/>
              <a:ext cx="18743" cy="27937"/>
            </a:xfrm>
            <a:custGeom>
              <a:avLst/>
              <a:gdLst>
                <a:gd name="T0" fmla="*/ 2147483647 w 32"/>
                <a:gd name="T1" fmla="*/ 0 h 44"/>
                <a:gd name="T2" fmla="*/ 2147483647 w 32"/>
                <a:gd name="T3" fmla="*/ 2147483647 h 44"/>
                <a:gd name="T4" fmla="*/ 2147483647 w 32"/>
                <a:gd name="T5" fmla="*/ 2147483647 h 44"/>
                <a:gd name="T6" fmla="*/ 2147483647 w 32"/>
                <a:gd name="T7" fmla="*/ 2147483647 h 44"/>
                <a:gd name="T8" fmla="*/ 0 w 32"/>
                <a:gd name="T9" fmla="*/ 2147483647 h 44"/>
                <a:gd name="T10" fmla="*/ 2147483647 w 32"/>
                <a:gd name="T11" fmla="*/ 2147483647 h 44"/>
                <a:gd name="T12" fmla="*/ 2147483647 w 32"/>
                <a:gd name="T13" fmla="*/ 2147483647 h 44"/>
                <a:gd name="T14" fmla="*/ 2147483647 w 32"/>
                <a:gd name="T15" fmla="*/ 0 h 4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2"/>
                <a:gd name="T25" fmla="*/ 0 h 44"/>
                <a:gd name="T26" fmla="*/ 32 w 32"/>
                <a:gd name="T27" fmla="*/ 44 h 4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2" h="44">
                  <a:moveTo>
                    <a:pt x="32" y="0"/>
                  </a:moveTo>
                  <a:lnTo>
                    <a:pt x="15" y="23"/>
                  </a:lnTo>
                  <a:lnTo>
                    <a:pt x="19" y="33"/>
                  </a:lnTo>
                  <a:lnTo>
                    <a:pt x="4" y="44"/>
                  </a:lnTo>
                  <a:lnTo>
                    <a:pt x="0" y="34"/>
                  </a:lnTo>
                  <a:lnTo>
                    <a:pt x="11" y="25"/>
                  </a:lnTo>
                  <a:lnTo>
                    <a:pt x="19" y="2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0" name="Freeform 106"/>
            <p:cNvSpPr>
              <a:spLocks/>
            </p:cNvSpPr>
            <p:nvPr/>
          </p:nvSpPr>
          <p:spPr bwMode="auto">
            <a:xfrm>
              <a:off x="4997015" y="4409786"/>
              <a:ext cx="14333" cy="34921"/>
            </a:xfrm>
            <a:custGeom>
              <a:avLst/>
              <a:gdLst>
                <a:gd name="T0" fmla="*/ 2147483647 w 28"/>
                <a:gd name="T1" fmla="*/ 0 h 57"/>
                <a:gd name="T2" fmla="*/ 2147483647 w 28"/>
                <a:gd name="T3" fmla="*/ 2147483647 h 57"/>
                <a:gd name="T4" fmla="*/ 2147483647 w 28"/>
                <a:gd name="T5" fmla="*/ 2147483647 h 57"/>
                <a:gd name="T6" fmla="*/ 2147483647 w 28"/>
                <a:gd name="T7" fmla="*/ 2147483647 h 57"/>
                <a:gd name="T8" fmla="*/ 0 w 28"/>
                <a:gd name="T9" fmla="*/ 2147483647 h 57"/>
                <a:gd name="T10" fmla="*/ 2147483647 w 28"/>
                <a:gd name="T11" fmla="*/ 2147483647 h 57"/>
                <a:gd name="T12" fmla="*/ 2147483647 w 28"/>
                <a:gd name="T13" fmla="*/ 2147483647 h 57"/>
                <a:gd name="T14" fmla="*/ 2147483647 w 28"/>
                <a:gd name="T15" fmla="*/ 0 h 5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57"/>
                <a:gd name="T26" fmla="*/ 28 w 28"/>
                <a:gd name="T27" fmla="*/ 57 h 5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57">
                  <a:moveTo>
                    <a:pt x="19" y="0"/>
                  </a:moveTo>
                  <a:lnTo>
                    <a:pt x="28" y="6"/>
                  </a:lnTo>
                  <a:lnTo>
                    <a:pt x="27" y="36"/>
                  </a:lnTo>
                  <a:lnTo>
                    <a:pt x="13" y="57"/>
                  </a:lnTo>
                  <a:lnTo>
                    <a:pt x="0" y="53"/>
                  </a:lnTo>
                  <a:lnTo>
                    <a:pt x="6" y="31"/>
                  </a:lnTo>
                  <a:lnTo>
                    <a:pt x="15" y="2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1" name="Freeform 107"/>
            <p:cNvSpPr>
              <a:spLocks/>
            </p:cNvSpPr>
            <p:nvPr/>
          </p:nvSpPr>
          <p:spPr bwMode="auto">
            <a:xfrm>
              <a:off x="4901095" y="4364389"/>
              <a:ext cx="48512" cy="20952"/>
            </a:xfrm>
            <a:custGeom>
              <a:avLst/>
              <a:gdLst>
                <a:gd name="T0" fmla="*/ 2147483647 w 91"/>
                <a:gd name="T1" fmla="*/ 2147483647 h 30"/>
                <a:gd name="T2" fmla="*/ 2147483647 w 91"/>
                <a:gd name="T3" fmla="*/ 2147483647 h 30"/>
                <a:gd name="T4" fmla="*/ 2147483647 w 91"/>
                <a:gd name="T5" fmla="*/ 2147483647 h 30"/>
                <a:gd name="T6" fmla="*/ 2147483647 w 91"/>
                <a:gd name="T7" fmla="*/ 2147483647 h 30"/>
                <a:gd name="T8" fmla="*/ 2147483647 w 91"/>
                <a:gd name="T9" fmla="*/ 2147483647 h 30"/>
                <a:gd name="T10" fmla="*/ 0 w 91"/>
                <a:gd name="T11" fmla="*/ 2147483647 h 30"/>
                <a:gd name="T12" fmla="*/ 2147483647 w 91"/>
                <a:gd name="T13" fmla="*/ 2147483647 h 30"/>
                <a:gd name="T14" fmla="*/ 2147483647 w 91"/>
                <a:gd name="T15" fmla="*/ 0 h 30"/>
                <a:gd name="T16" fmla="*/ 2147483647 w 91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1"/>
                <a:gd name="T28" fmla="*/ 0 h 30"/>
                <a:gd name="T29" fmla="*/ 91 w 91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1" h="30">
                  <a:moveTo>
                    <a:pt x="76" y="4"/>
                  </a:moveTo>
                  <a:lnTo>
                    <a:pt x="91" y="30"/>
                  </a:lnTo>
                  <a:lnTo>
                    <a:pt x="67" y="17"/>
                  </a:lnTo>
                  <a:lnTo>
                    <a:pt x="33" y="17"/>
                  </a:lnTo>
                  <a:lnTo>
                    <a:pt x="21" y="26"/>
                  </a:lnTo>
                  <a:lnTo>
                    <a:pt x="0" y="17"/>
                  </a:lnTo>
                  <a:lnTo>
                    <a:pt x="10" y="4"/>
                  </a:lnTo>
                  <a:lnTo>
                    <a:pt x="48" y="0"/>
                  </a:lnTo>
                  <a:lnTo>
                    <a:pt x="76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2" name="Freeform 108"/>
            <p:cNvSpPr>
              <a:spLocks/>
            </p:cNvSpPr>
            <p:nvPr/>
          </p:nvSpPr>
          <p:spPr bwMode="auto">
            <a:xfrm>
              <a:off x="4872429" y="4370209"/>
              <a:ext cx="16538" cy="17460"/>
            </a:xfrm>
            <a:custGeom>
              <a:avLst/>
              <a:gdLst>
                <a:gd name="T0" fmla="*/ 0 w 30"/>
                <a:gd name="T1" fmla="*/ 0 h 29"/>
                <a:gd name="T2" fmla="*/ 2147483647 w 30"/>
                <a:gd name="T3" fmla="*/ 2147483647 h 29"/>
                <a:gd name="T4" fmla="*/ 2147483647 w 30"/>
                <a:gd name="T5" fmla="*/ 2147483647 h 29"/>
                <a:gd name="T6" fmla="*/ 2147483647 w 30"/>
                <a:gd name="T7" fmla="*/ 2147483647 h 29"/>
                <a:gd name="T8" fmla="*/ 0 w 30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29"/>
                <a:gd name="T17" fmla="*/ 30 w 30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29">
                  <a:moveTo>
                    <a:pt x="0" y="0"/>
                  </a:moveTo>
                  <a:lnTo>
                    <a:pt x="23" y="4"/>
                  </a:lnTo>
                  <a:lnTo>
                    <a:pt x="30" y="16"/>
                  </a:lnTo>
                  <a:lnTo>
                    <a:pt x="15" y="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3" name="Freeform 109"/>
            <p:cNvSpPr>
              <a:spLocks/>
            </p:cNvSpPr>
            <p:nvPr/>
          </p:nvSpPr>
          <p:spPr bwMode="auto">
            <a:xfrm>
              <a:off x="4765482" y="4277087"/>
              <a:ext cx="98126" cy="145503"/>
            </a:xfrm>
            <a:custGeom>
              <a:avLst/>
              <a:gdLst>
                <a:gd name="T0" fmla="*/ 2147483647 w 181"/>
                <a:gd name="T1" fmla="*/ 2147483647 h 232"/>
                <a:gd name="T2" fmla="*/ 2147483647 w 181"/>
                <a:gd name="T3" fmla="*/ 2147483647 h 232"/>
                <a:gd name="T4" fmla="*/ 2147483647 w 181"/>
                <a:gd name="T5" fmla="*/ 0 h 232"/>
                <a:gd name="T6" fmla="*/ 2147483647 w 181"/>
                <a:gd name="T7" fmla="*/ 2147483647 h 232"/>
                <a:gd name="T8" fmla="*/ 2147483647 w 181"/>
                <a:gd name="T9" fmla="*/ 2147483647 h 232"/>
                <a:gd name="T10" fmla="*/ 2147483647 w 181"/>
                <a:gd name="T11" fmla="*/ 2147483647 h 232"/>
                <a:gd name="T12" fmla="*/ 2147483647 w 181"/>
                <a:gd name="T13" fmla="*/ 2147483647 h 232"/>
                <a:gd name="T14" fmla="*/ 2147483647 w 181"/>
                <a:gd name="T15" fmla="*/ 2147483647 h 232"/>
                <a:gd name="T16" fmla="*/ 2147483647 w 181"/>
                <a:gd name="T17" fmla="*/ 2147483647 h 232"/>
                <a:gd name="T18" fmla="*/ 2147483647 w 181"/>
                <a:gd name="T19" fmla="*/ 2147483647 h 232"/>
                <a:gd name="T20" fmla="*/ 2147483647 w 181"/>
                <a:gd name="T21" fmla="*/ 2147483647 h 232"/>
                <a:gd name="T22" fmla="*/ 2147483647 w 181"/>
                <a:gd name="T23" fmla="*/ 2147483647 h 232"/>
                <a:gd name="T24" fmla="*/ 2147483647 w 181"/>
                <a:gd name="T25" fmla="*/ 2147483647 h 232"/>
                <a:gd name="T26" fmla="*/ 2147483647 w 181"/>
                <a:gd name="T27" fmla="*/ 2147483647 h 232"/>
                <a:gd name="T28" fmla="*/ 2147483647 w 181"/>
                <a:gd name="T29" fmla="*/ 2147483647 h 232"/>
                <a:gd name="T30" fmla="*/ 2147483647 w 181"/>
                <a:gd name="T31" fmla="*/ 2147483647 h 232"/>
                <a:gd name="T32" fmla="*/ 2147483647 w 181"/>
                <a:gd name="T33" fmla="*/ 2147483647 h 232"/>
                <a:gd name="T34" fmla="*/ 2147483647 w 181"/>
                <a:gd name="T35" fmla="*/ 2147483647 h 232"/>
                <a:gd name="T36" fmla="*/ 2147483647 w 181"/>
                <a:gd name="T37" fmla="*/ 2147483647 h 232"/>
                <a:gd name="T38" fmla="*/ 2147483647 w 181"/>
                <a:gd name="T39" fmla="*/ 2147483647 h 232"/>
                <a:gd name="T40" fmla="*/ 2147483647 w 181"/>
                <a:gd name="T41" fmla="*/ 2147483647 h 232"/>
                <a:gd name="T42" fmla="*/ 2147483647 w 181"/>
                <a:gd name="T43" fmla="*/ 2147483647 h 232"/>
                <a:gd name="T44" fmla="*/ 2147483647 w 181"/>
                <a:gd name="T45" fmla="*/ 2147483647 h 232"/>
                <a:gd name="T46" fmla="*/ 2147483647 w 181"/>
                <a:gd name="T47" fmla="*/ 2147483647 h 232"/>
                <a:gd name="T48" fmla="*/ 2147483647 w 181"/>
                <a:gd name="T49" fmla="*/ 2147483647 h 232"/>
                <a:gd name="T50" fmla="*/ 2147483647 w 181"/>
                <a:gd name="T51" fmla="*/ 2147483647 h 232"/>
                <a:gd name="T52" fmla="*/ 2147483647 w 181"/>
                <a:gd name="T53" fmla="*/ 2147483647 h 232"/>
                <a:gd name="T54" fmla="*/ 2147483647 w 181"/>
                <a:gd name="T55" fmla="*/ 2147483647 h 232"/>
                <a:gd name="T56" fmla="*/ 2147483647 w 181"/>
                <a:gd name="T57" fmla="*/ 2147483647 h 232"/>
                <a:gd name="T58" fmla="*/ 2147483647 w 181"/>
                <a:gd name="T59" fmla="*/ 2147483647 h 232"/>
                <a:gd name="T60" fmla="*/ 2147483647 w 181"/>
                <a:gd name="T61" fmla="*/ 2147483647 h 232"/>
                <a:gd name="T62" fmla="*/ 2147483647 w 181"/>
                <a:gd name="T63" fmla="*/ 2147483647 h 232"/>
                <a:gd name="T64" fmla="*/ 2147483647 w 181"/>
                <a:gd name="T65" fmla="*/ 2147483647 h 232"/>
                <a:gd name="T66" fmla="*/ 2147483647 w 181"/>
                <a:gd name="T67" fmla="*/ 2147483647 h 232"/>
                <a:gd name="T68" fmla="*/ 2147483647 w 181"/>
                <a:gd name="T69" fmla="*/ 2147483647 h 232"/>
                <a:gd name="T70" fmla="*/ 2147483647 w 181"/>
                <a:gd name="T71" fmla="*/ 2147483647 h 232"/>
                <a:gd name="T72" fmla="*/ 2147483647 w 181"/>
                <a:gd name="T73" fmla="*/ 2147483647 h 232"/>
                <a:gd name="T74" fmla="*/ 2147483647 w 181"/>
                <a:gd name="T75" fmla="*/ 2147483647 h 232"/>
                <a:gd name="T76" fmla="*/ 2147483647 w 181"/>
                <a:gd name="T77" fmla="*/ 2147483647 h 232"/>
                <a:gd name="T78" fmla="*/ 0 w 181"/>
                <a:gd name="T79" fmla="*/ 2147483647 h 232"/>
                <a:gd name="T80" fmla="*/ 2147483647 w 181"/>
                <a:gd name="T81" fmla="*/ 2147483647 h 232"/>
                <a:gd name="T82" fmla="*/ 2147483647 w 181"/>
                <a:gd name="T83" fmla="*/ 2147483647 h 232"/>
                <a:gd name="T84" fmla="*/ 2147483647 w 181"/>
                <a:gd name="T85" fmla="*/ 2147483647 h 232"/>
                <a:gd name="T86" fmla="*/ 2147483647 w 181"/>
                <a:gd name="T87" fmla="*/ 2147483647 h 232"/>
                <a:gd name="T88" fmla="*/ 2147483647 w 181"/>
                <a:gd name="T89" fmla="*/ 2147483647 h 232"/>
                <a:gd name="T90" fmla="*/ 2147483647 w 181"/>
                <a:gd name="T91" fmla="*/ 2147483647 h 23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1"/>
                <a:gd name="T139" fmla="*/ 0 h 232"/>
                <a:gd name="T140" fmla="*/ 181 w 181"/>
                <a:gd name="T141" fmla="*/ 232 h 23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1" h="232">
                  <a:moveTo>
                    <a:pt x="55" y="25"/>
                  </a:moveTo>
                  <a:lnTo>
                    <a:pt x="139" y="33"/>
                  </a:lnTo>
                  <a:lnTo>
                    <a:pt x="175" y="0"/>
                  </a:lnTo>
                  <a:lnTo>
                    <a:pt x="181" y="16"/>
                  </a:lnTo>
                  <a:lnTo>
                    <a:pt x="160" y="44"/>
                  </a:lnTo>
                  <a:lnTo>
                    <a:pt x="126" y="59"/>
                  </a:lnTo>
                  <a:lnTo>
                    <a:pt x="46" y="52"/>
                  </a:lnTo>
                  <a:lnTo>
                    <a:pt x="33" y="78"/>
                  </a:lnTo>
                  <a:lnTo>
                    <a:pt x="55" y="103"/>
                  </a:lnTo>
                  <a:lnTo>
                    <a:pt x="76" y="92"/>
                  </a:lnTo>
                  <a:lnTo>
                    <a:pt x="105" y="84"/>
                  </a:lnTo>
                  <a:lnTo>
                    <a:pt x="128" y="84"/>
                  </a:lnTo>
                  <a:lnTo>
                    <a:pt x="124" y="95"/>
                  </a:lnTo>
                  <a:lnTo>
                    <a:pt x="112" y="93"/>
                  </a:lnTo>
                  <a:lnTo>
                    <a:pt x="78" y="118"/>
                  </a:lnTo>
                  <a:lnTo>
                    <a:pt x="61" y="116"/>
                  </a:lnTo>
                  <a:lnTo>
                    <a:pt x="80" y="131"/>
                  </a:lnTo>
                  <a:lnTo>
                    <a:pt x="99" y="154"/>
                  </a:lnTo>
                  <a:lnTo>
                    <a:pt x="93" y="169"/>
                  </a:lnTo>
                  <a:lnTo>
                    <a:pt x="110" y="185"/>
                  </a:lnTo>
                  <a:lnTo>
                    <a:pt x="112" y="205"/>
                  </a:lnTo>
                  <a:lnTo>
                    <a:pt x="118" y="223"/>
                  </a:lnTo>
                  <a:lnTo>
                    <a:pt x="109" y="232"/>
                  </a:lnTo>
                  <a:lnTo>
                    <a:pt x="95" y="224"/>
                  </a:lnTo>
                  <a:lnTo>
                    <a:pt x="91" y="205"/>
                  </a:lnTo>
                  <a:lnTo>
                    <a:pt x="105" y="196"/>
                  </a:lnTo>
                  <a:lnTo>
                    <a:pt x="86" y="196"/>
                  </a:lnTo>
                  <a:lnTo>
                    <a:pt x="82" y="204"/>
                  </a:lnTo>
                  <a:lnTo>
                    <a:pt x="69" y="196"/>
                  </a:lnTo>
                  <a:lnTo>
                    <a:pt x="74" y="179"/>
                  </a:lnTo>
                  <a:lnTo>
                    <a:pt x="55" y="166"/>
                  </a:lnTo>
                  <a:lnTo>
                    <a:pt x="59" y="145"/>
                  </a:lnTo>
                  <a:lnTo>
                    <a:pt x="42" y="145"/>
                  </a:lnTo>
                  <a:lnTo>
                    <a:pt x="48" y="221"/>
                  </a:lnTo>
                  <a:lnTo>
                    <a:pt x="25" y="228"/>
                  </a:lnTo>
                  <a:lnTo>
                    <a:pt x="15" y="219"/>
                  </a:lnTo>
                  <a:lnTo>
                    <a:pt x="23" y="179"/>
                  </a:lnTo>
                  <a:lnTo>
                    <a:pt x="15" y="162"/>
                  </a:lnTo>
                  <a:lnTo>
                    <a:pt x="4" y="167"/>
                  </a:lnTo>
                  <a:lnTo>
                    <a:pt x="0" y="133"/>
                  </a:lnTo>
                  <a:lnTo>
                    <a:pt x="19" y="80"/>
                  </a:lnTo>
                  <a:lnTo>
                    <a:pt x="12" y="71"/>
                  </a:lnTo>
                  <a:lnTo>
                    <a:pt x="21" y="67"/>
                  </a:lnTo>
                  <a:lnTo>
                    <a:pt x="31" y="44"/>
                  </a:lnTo>
                  <a:lnTo>
                    <a:pt x="53" y="38"/>
                  </a:lnTo>
                  <a:lnTo>
                    <a:pt x="55" y="2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4" name="Freeform 110"/>
            <p:cNvSpPr>
              <a:spLocks/>
            </p:cNvSpPr>
            <p:nvPr/>
          </p:nvSpPr>
          <p:spPr bwMode="auto">
            <a:xfrm>
              <a:off x="4887864" y="4266611"/>
              <a:ext cx="34179" cy="75661"/>
            </a:xfrm>
            <a:custGeom>
              <a:avLst/>
              <a:gdLst>
                <a:gd name="T0" fmla="*/ 2147483647 w 63"/>
                <a:gd name="T1" fmla="*/ 2147483647 h 124"/>
                <a:gd name="T2" fmla="*/ 2147483647 w 63"/>
                <a:gd name="T3" fmla="*/ 2147483647 h 124"/>
                <a:gd name="T4" fmla="*/ 2147483647 w 63"/>
                <a:gd name="T5" fmla="*/ 2147483647 h 124"/>
                <a:gd name="T6" fmla="*/ 2147483647 w 63"/>
                <a:gd name="T7" fmla="*/ 2147483647 h 124"/>
                <a:gd name="T8" fmla="*/ 2147483647 w 63"/>
                <a:gd name="T9" fmla="*/ 2147483647 h 124"/>
                <a:gd name="T10" fmla="*/ 2147483647 w 63"/>
                <a:gd name="T11" fmla="*/ 2147483647 h 124"/>
                <a:gd name="T12" fmla="*/ 2147483647 w 63"/>
                <a:gd name="T13" fmla="*/ 2147483647 h 124"/>
                <a:gd name="T14" fmla="*/ 0 w 63"/>
                <a:gd name="T15" fmla="*/ 2147483647 h 124"/>
                <a:gd name="T16" fmla="*/ 2147483647 w 63"/>
                <a:gd name="T17" fmla="*/ 2147483647 h 124"/>
                <a:gd name="T18" fmla="*/ 2147483647 w 63"/>
                <a:gd name="T19" fmla="*/ 2147483647 h 124"/>
                <a:gd name="T20" fmla="*/ 2147483647 w 63"/>
                <a:gd name="T21" fmla="*/ 2147483647 h 124"/>
                <a:gd name="T22" fmla="*/ 2147483647 w 63"/>
                <a:gd name="T23" fmla="*/ 2147483647 h 124"/>
                <a:gd name="T24" fmla="*/ 2147483647 w 63"/>
                <a:gd name="T25" fmla="*/ 2147483647 h 124"/>
                <a:gd name="T26" fmla="*/ 2147483647 w 63"/>
                <a:gd name="T27" fmla="*/ 2147483647 h 124"/>
                <a:gd name="T28" fmla="*/ 2147483647 w 63"/>
                <a:gd name="T29" fmla="*/ 2147483647 h 124"/>
                <a:gd name="T30" fmla="*/ 2147483647 w 63"/>
                <a:gd name="T31" fmla="*/ 0 h 124"/>
                <a:gd name="T32" fmla="*/ 2147483647 w 63"/>
                <a:gd name="T33" fmla="*/ 2147483647 h 124"/>
                <a:gd name="T34" fmla="*/ 2147483647 w 63"/>
                <a:gd name="T35" fmla="*/ 2147483647 h 124"/>
                <a:gd name="T36" fmla="*/ 2147483647 w 63"/>
                <a:gd name="T37" fmla="*/ 2147483647 h 124"/>
                <a:gd name="T38" fmla="*/ 2147483647 w 63"/>
                <a:gd name="T39" fmla="*/ 2147483647 h 124"/>
                <a:gd name="T40" fmla="*/ 2147483647 w 63"/>
                <a:gd name="T41" fmla="*/ 2147483647 h 124"/>
                <a:gd name="T42" fmla="*/ 2147483647 w 63"/>
                <a:gd name="T43" fmla="*/ 2147483647 h 124"/>
                <a:gd name="T44" fmla="*/ 2147483647 w 63"/>
                <a:gd name="T45" fmla="*/ 2147483647 h 124"/>
                <a:gd name="T46" fmla="*/ 2147483647 w 63"/>
                <a:gd name="T47" fmla="*/ 2147483647 h 124"/>
                <a:gd name="T48" fmla="*/ 2147483647 w 63"/>
                <a:gd name="T49" fmla="*/ 2147483647 h 124"/>
                <a:gd name="T50" fmla="*/ 2147483647 w 63"/>
                <a:gd name="T51" fmla="*/ 2147483647 h 12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"/>
                <a:gd name="T79" fmla="*/ 0 h 124"/>
                <a:gd name="T80" fmla="*/ 63 w 63"/>
                <a:gd name="T81" fmla="*/ 124 h 12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" h="124">
                  <a:moveTo>
                    <a:pt x="31" y="69"/>
                  </a:moveTo>
                  <a:lnTo>
                    <a:pt x="27" y="88"/>
                  </a:lnTo>
                  <a:lnTo>
                    <a:pt x="42" y="109"/>
                  </a:lnTo>
                  <a:lnTo>
                    <a:pt x="46" y="122"/>
                  </a:lnTo>
                  <a:lnTo>
                    <a:pt x="40" y="124"/>
                  </a:lnTo>
                  <a:lnTo>
                    <a:pt x="35" y="109"/>
                  </a:lnTo>
                  <a:lnTo>
                    <a:pt x="18" y="114"/>
                  </a:lnTo>
                  <a:lnTo>
                    <a:pt x="0" y="105"/>
                  </a:lnTo>
                  <a:lnTo>
                    <a:pt x="16" y="97"/>
                  </a:lnTo>
                  <a:lnTo>
                    <a:pt x="29" y="107"/>
                  </a:lnTo>
                  <a:lnTo>
                    <a:pt x="18" y="90"/>
                  </a:lnTo>
                  <a:lnTo>
                    <a:pt x="19" y="67"/>
                  </a:lnTo>
                  <a:lnTo>
                    <a:pt x="10" y="69"/>
                  </a:lnTo>
                  <a:lnTo>
                    <a:pt x="8" y="46"/>
                  </a:lnTo>
                  <a:lnTo>
                    <a:pt x="23" y="10"/>
                  </a:lnTo>
                  <a:lnTo>
                    <a:pt x="46" y="0"/>
                  </a:lnTo>
                  <a:lnTo>
                    <a:pt x="46" y="16"/>
                  </a:lnTo>
                  <a:lnTo>
                    <a:pt x="31" y="23"/>
                  </a:lnTo>
                  <a:lnTo>
                    <a:pt x="31" y="40"/>
                  </a:lnTo>
                  <a:lnTo>
                    <a:pt x="25" y="52"/>
                  </a:lnTo>
                  <a:lnTo>
                    <a:pt x="46" y="31"/>
                  </a:lnTo>
                  <a:lnTo>
                    <a:pt x="56" y="36"/>
                  </a:lnTo>
                  <a:lnTo>
                    <a:pt x="35" y="59"/>
                  </a:lnTo>
                  <a:lnTo>
                    <a:pt x="54" y="65"/>
                  </a:lnTo>
                  <a:lnTo>
                    <a:pt x="63" y="76"/>
                  </a:lnTo>
                  <a:lnTo>
                    <a:pt x="31" y="6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5" name="Freeform 111"/>
            <p:cNvSpPr>
              <a:spLocks/>
            </p:cNvSpPr>
            <p:nvPr/>
          </p:nvSpPr>
          <p:spPr bwMode="auto">
            <a:xfrm>
              <a:off x="4608922" y="4232854"/>
              <a:ext cx="162073" cy="161799"/>
            </a:xfrm>
            <a:custGeom>
              <a:avLst/>
              <a:gdLst>
                <a:gd name="T0" fmla="*/ 2147483647 w 297"/>
                <a:gd name="T1" fmla="*/ 2147483647 h 260"/>
                <a:gd name="T2" fmla="*/ 2147483647 w 297"/>
                <a:gd name="T3" fmla="*/ 2147483647 h 260"/>
                <a:gd name="T4" fmla="*/ 2147483647 w 297"/>
                <a:gd name="T5" fmla="*/ 2147483647 h 260"/>
                <a:gd name="T6" fmla="*/ 2147483647 w 297"/>
                <a:gd name="T7" fmla="*/ 2147483647 h 260"/>
                <a:gd name="T8" fmla="*/ 2147483647 w 297"/>
                <a:gd name="T9" fmla="*/ 2147483647 h 260"/>
                <a:gd name="T10" fmla="*/ 2147483647 w 297"/>
                <a:gd name="T11" fmla="*/ 2147483647 h 260"/>
                <a:gd name="T12" fmla="*/ 2147483647 w 297"/>
                <a:gd name="T13" fmla="*/ 2147483647 h 260"/>
                <a:gd name="T14" fmla="*/ 2147483647 w 297"/>
                <a:gd name="T15" fmla="*/ 2147483647 h 260"/>
                <a:gd name="T16" fmla="*/ 2147483647 w 297"/>
                <a:gd name="T17" fmla="*/ 2147483647 h 260"/>
                <a:gd name="T18" fmla="*/ 2147483647 w 297"/>
                <a:gd name="T19" fmla="*/ 2147483647 h 260"/>
                <a:gd name="T20" fmla="*/ 2147483647 w 297"/>
                <a:gd name="T21" fmla="*/ 2147483647 h 260"/>
                <a:gd name="T22" fmla="*/ 2147483647 w 297"/>
                <a:gd name="T23" fmla="*/ 2147483647 h 260"/>
                <a:gd name="T24" fmla="*/ 2147483647 w 297"/>
                <a:gd name="T25" fmla="*/ 2147483647 h 260"/>
                <a:gd name="T26" fmla="*/ 2147483647 w 297"/>
                <a:gd name="T27" fmla="*/ 2147483647 h 260"/>
                <a:gd name="T28" fmla="*/ 2147483647 w 297"/>
                <a:gd name="T29" fmla="*/ 2147483647 h 260"/>
                <a:gd name="T30" fmla="*/ 2147483647 w 297"/>
                <a:gd name="T31" fmla="*/ 2147483647 h 260"/>
                <a:gd name="T32" fmla="*/ 2147483647 w 297"/>
                <a:gd name="T33" fmla="*/ 2147483647 h 260"/>
                <a:gd name="T34" fmla="*/ 2147483647 w 297"/>
                <a:gd name="T35" fmla="*/ 2147483647 h 260"/>
                <a:gd name="T36" fmla="*/ 2147483647 w 297"/>
                <a:gd name="T37" fmla="*/ 2147483647 h 260"/>
                <a:gd name="T38" fmla="*/ 2147483647 w 297"/>
                <a:gd name="T39" fmla="*/ 2147483647 h 260"/>
                <a:gd name="T40" fmla="*/ 2147483647 w 297"/>
                <a:gd name="T41" fmla="*/ 2147483647 h 260"/>
                <a:gd name="T42" fmla="*/ 2147483647 w 297"/>
                <a:gd name="T43" fmla="*/ 2147483647 h 260"/>
                <a:gd name="T44" fmla="*/ 2147483647 w 297"/>
                <a:gd name="T45" fmla="*/ 2147483647 h 260"/>
                <a:gd name="T46" fmla="*/ 2147483647 w 297"/>
                <a:gd name="T47" fmla="*/ 2147483647 h 260"/>
                <a:gd name="T48" fmla="*/ 2147483647 w 297"/>
                <a:gd name="T49" fmla="*/ 2147483647 h 260"/>
                <a:gd name="T50" fmla="*/ 2147483647 w 297"/>
                <a:gd name="T51" fmla="*/ 2147483647 h 260"/>
                <a:gd name="T52" fmla="*/ 2147483647 w 297"/>
                <a:gd name="T53" fmla="*/ 2147483647 h 260"/>
                <a:gd name="T54" fmla="*/ 2147483647 w 297"/>
                <a:gd name="T55" fmla="*/ 2147483647 h 260"/>
                <a:gd name="T56" fmla="*/ 0 w 297"/>
                <a:gd name="T57" fmla="*/ 2147483647 h 260"/>
                <a:gd name="T58" fmla="*/ 2147483647 w 297"/>
                <a:gd name="T59" fmla="*/ 2147483647 h 260"/>
                <a:gd name="T60" fmla="*/ 2147483647 w 297"/>
                <a:gd name="T61" fmla="*/ 2147483647 h 260"/>
                <a:gd name="T62" fmla="*/ 2147483647 w 297"/>
                <a:gd name="T63" fmla="*/ 2147483647 h 260"/>
                <a:gd name="T64" fmla="*/ 2147483647 w 297"/>
                <a:gd name="T65" fmla="*/ 2147483647 h 260"/>
                <a:gd name="T66" fmla="*/ 2147483647 w 297"/>
                <a:gd name="T67" fmla="*/ 2147483647 h 260"/>
                <a:gd name="T68" fmla="*/ 2147483647 w 297"/>
                <a:gd name="T69" fmla="*/ 2147483647 h 260"/>
                <a:gd name="T70" fmla="*/ 2147483647 w 297"/>
                <a:gd name="T71" fmla="*/ 2147483647 h 260"/>
                <a:gd name="T72" fmla="*/ 2147483647 w 297"/>
                <a:gd name="T73" fmla="*/ 2147483647 h 260"/>
                <a:gd name="T74" fmla="*/ 2147483647 w 297"/>
                <a:gd name="T75" fmla="*/ 2147483647 h 260"/>
                <a:gd name="T76" fmla="*/ 2147483647 w 297"/>
                <a:gd name="T77" fmla="*/ 0 h 260"/>
                <a:gd name="T78" fmla="*/ 2147483647 w 297"/>
                <a:gd name="T79" fmla="*/ 2147483647 h 2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7"/>
                <a:gd name="T121" fmla="*/ 0 h 260"/>
                <a:gd name="T122" fmla="*/ 297 w 297"/>
                <a:gd name="T123" fmla="*/ 260 h 2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7" h="260">
                  <a:moveTo>
                    <a:pt x="247" y="6"/>
                  </a:moveTo>
                  <a:lnTo>
                    <a:pt x="257" y="19"/>
                  </a:lnTo>
                  <a:lnTo>
                    <a:pt x="249" y="36"/>
                  </a:lnTo>
                  <a:lnTo>
                    <a:pt x="262" y="69"/>
                  </a:lnTo>
                  <a:lnTo>
                    <a:pt x="251" y="76"/>
                  </a:lnTo>
                  <a:lnTo>
                    <a:pt x="297" y="103"/>
                  </a:lnTo>
                  <a:lnTo>
                    <a:pt x="262" y="110"/>
                  </a:lnTo>
                  <a:lnTo>
                    <a:pt x="247" y="135"/>
                  </a:lnTo>
                  <a:lnTo>
                    <a:pt x="249" y="154"/>
                  </a:lnTo>
                  <a:lnTo>
                    <a:pt x="213" y="186"/>
                  </a:lnTo>
                  <a:lnTo>
                    <a:pt x="219" y="196"/>
                  </a:lnTo>
                  <a:lnTo>
                    <a:pt x="213" y="224"/>
                  </a:lnTo>
                  <a:lnTo>
                    <a:pt x="219" y="236"/>
                  </a:lnTo>
                  <a:lnTo>
                    <a:pt x="207" y="253"/>
                  </a:lnTo>
                  <a:lnTo>
                    <a:pt x="202" y="232"/>
                  </a:lnTo>
                  <a:lnTo>
                    <a:pt x="169" y="260"/>
                  </a:lnTo>
                  <a:lnTo>
                    <a:pt x="167" y="239"/>
                  </a:lnTo>
                  <a:lnTo>
                    <a:pt x="128" y="219"/>
                  </a:lnTo>
                  <a:lnTo>
                    <a:pt x="88" y="243"/>
                  </a:lnTo>
                  <a:lnTo>
                    <a:pt x="91" y="219"/>
                  </a:lnTo>
                  <a:lnTo>
                    <a:pt x="44" y="226"/>
                  </a:lnTo>
                  <a:lnTo>
                    <a:pt x="38" y="190"/>
                  </a:lnTo>
                  <a:lnTo>
                    <a:pt x="42" y="173"/>
                  </a:lnTo>
                  <a:lnTo>
                    <a:pt x="36" y="164"/>
                  </a:lnTo>
                  <a:lnTo>
                    <a:pt x="19" y="177"/>
                  </a:lnTo>
                  <a:lnTo>
                    <a:pt x="12" y="156"/>
                  </a:lnTo>
                  <a:lnTo>
                    <a:pt x="15" y="135"/>
                  </a:lnTo>
                  <a:lnTo>
                    <a:pt x="4" y="129"/>
                  </a:lnTo>
                  <a:lnTo>
                    <a:pt x="0" y="107"/>
                  </a:lnTo>
                  <a:lnTo>
                    <a:pt x="14" y="76"/>
                  </a:lnTo>
                  <a:lnTo>
                    <a:pt x="23" y="72"/>
                  </a:lnTo>
                  <a:lnTo>
                    <a:pt x="33" y="86"/>
                  </a:lnTo>
                  <a:lnTo>
                    <a:pt x="65" y="110"/>
                  </a:lnTo>
                  <a:lnTo>
                    <a:pt x="99" y="107"/>
                  </a:lnTo>
                  <a:lnTo>
                    <a:pt x="118" y="86"/>
                  </a:lnTo>
                  <a:lnTo>
                    <a:pt x="167" y="93"/>
                  </a:lnTo>
                  <a:lnTo>
                    <a:pt x="171" y="63"/>
                  </a:lnTo>
                  <a:lnTo>
                    <a:pt x="194" y="10"/>
                  </a:lnTo>
                  <a:lnTo>
                    <a:pt x="217" y="0"/>
                  </a:lnTo>
                  <a:lnTo>
                    <a:pt x="247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6" name="Freeform 112"/>
            <p:cNvSpPr>
              <a:spLocks/>
            </p:cNvSpPr>
            <p:nvPr/>
          </p:nvSpPr>
          <p:spPr bwMode="auto">
            <a:xfrm>
              <a:off x="4596795" y="4235182"/>
              <a:ext cx="8820" cy="13968"/>
            </a:xfrm>
            <a:custGeom>
              <a:avLst/>
              <a:gdLst>
                <a:gd name="T0" fmla="*/ 0 w 18"/>
                <a:gd name="T1" fmla="*/ 2147483647 h 23"/>
                <a:gd name="T2" fmla="*/ 2147483647 w 18"/>
                <a:gd name="T3" fmla="*/ 0 h 23"/>
                <a:gd name="T4" fmla="*/ 2147483647 w 18"/>
                <a:gd name="T5" fmla="*/ 2147483647 h 23"/>
                <a:gd name="T6" fmla="*/ 2147483647 w 18"/>
                <a:gd name="T7" fmla="*/ 2147483647 h 23"/>
                <a:gd name="T8" fmla="*/ 0 w 18"/>
                <a:gd name="T9" fmla="*/ 2147483647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3"/>
                <a:gd name="T17" fmla="*/ 18 w 18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3">
                  <a:moveTo>
                    <a:pt x="0" y="6"/>
                  </a:moveTo>
                  <a:lnTo>
                    <a:pt x="8" y="0"/>
                  </a:lnTo>
                  <a:lnTo>
                    <a:pt x="18" y="13"/>
                  </a:lnTo>
                  <a:lnTo>
                    <a:pt x="6" y="23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7" name="Freeform 113"/>
            <p:cNvSpPr>
              <a:spLocks/>
            </p:cNvSpPr>
            <p:nvPr/>
          </p:nvSpPr>
          <p:spPr bwMode="auto">
            <a:xfrm>
              <a:off x="4700433" y="4461003"/>
              <a:ext cx="15436" cy="17460"/>
            </a:xfrm>
            <a:custGeom>
              <a:avLst/>
              <a:gdLst>
                <a:gd name="T0" fmla="*/ 0 w 31"/>
                <a:gd name="T1" fmla="*/ 2147483647 h 26"/>
                <a:gd name="T2" fmla="*/ 2147483647 w 31"/>
                <a:gd name="T3" fmla="*/ 0 h 26"/>
                <a:gd name="T4" fmla="*/ 2147483647 w 31"/>
                <a:gd name="T5" fmla="*/ 2147483647 h 26"/>
                <a:gd name="T6" fmla="*/ 2147483647 w 31"/>
                <a:gd name="T7" fmla="*/ 2147483647 h 26"/>
                <a:gd name="T8" fmla="*/ 0 w 31"/>
                <a:gd name="T9" fmla="*/ 2147483647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26"/>
                <a:gd name="T17" fmla="*/ 31 w 31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26">
                  <a:moveTo>
                    <a:pt x="0" y="4"/>
                  </a:moveTo>
                  <a:lnTo>
                    <a:pt x="21" y="0"/>
                  </a:lnTo>
                  <a:lnTo>
                    <a:pt x="31" y="15"/>
                  </a:lnTo>
                  <a:lnTo>
                    <a:pt x="19" y="26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8" name="Freeform 114"/>
            <p:cNvSpPr>
              <a:spLocks/>
            </p:cNvSpPr>
            <p:nvPr/>
          </p:nvSpPr>
          <p:spPr bwMode="auto">
            <a:xfrm>
              <a:off x="4938581" y="4321320"/>
              <a:ext cx="168688" cy="157143"/>
            </a:xfrm>
            <a:custGeom>
              <a:avLst/>
              <a:gdLst>
                <a:gd name="T0" fmla="*/ 2147483647 w 307"/>
                <a:gd name="T1" fmla="*/ 2147483647 h 250"/>
                <a:gd name="T2" fmla="*/ 2147483647 w 307"/>
                <a:gd name="T3" fmla="*/ 2147483647 h 250"/>
                <a:gd name="T4" fmla="*/ 2147483647 w 307"/>
                <a:gd name="T5" fmla="*/ 2147483647 h 250"/>
                <a:gd name="T6" fmla="*/ 2147483647 w 307"/>
                <a:gd name="T7" fmla="*/ 2147483647 h 250"/>
                <a:gd name="T8" fmla="*/ 2147483647 w 307"/>
                <a:gd name="T9" fmla="*/ 2147483647 h 250"/>
                <a:gd name="T10" fmla="*/ 2147483647 w 307"/>
                <a:gd name="T11" fmla="*/ 2147483647 h 250"/>
                <a:gd name="T12" fmla="*/ 2147483647 w 307"/>
                <a:gd name="T13" fmla="*/ 2147483647 h 250"/>
                <a:gd name="T14" fmla="*/ 2147483647 w 307"/>
                <a:gd name="T15" fmla="*/ 2147483647 h 250"/>
                <a:gd name="T16" fmla="*/ 2147483647 w 307"/>
                <a:gd name="T17" fmla="*/ 2147483647 h 250"/>
                <a:gd name="T18" fmla="*/ 2147483647 w 307"/>
                <a:gd name="T19" fmla="*/ 2147483647 h 250"/>
                <a:gd name="T20" fmla="*/ 2147483647 w 307"/>
                <a:gd name="T21" fmla="*/ 2147483647 h 250"/>
                <a:gd name="T22" fmla="*/ 2147483647 w 307"/>
                <a:gd name="T23" fmla="*/ 2147483647 h 250"/>
                <a:gd name="T24" fmla="*/ 2147483647 w 307"/>
                <a:gd name="T25" fmla="*/ 2147483647 h 250"/>
                <a:gd name="T26" fmla="*/ 2147483647 w 307"/>
                <a:gd name="T27" fmla="*/ 2147483647 h 250"/>
                <a:gd name="T28" fmla="*/ 2147483647 w 307"/>
                <a:gd name="T29" fmla="*/ 2147483647 h 250"/>
                <a:gd name="T30" fmla="*/ 2147483647 w 307"/>
                <a:gd name="T31" fmla="*/ 2147483647 h 250"/>
                <a:gd name="T32" fmla="*/ 2147483647 w 307"/>
                <a:gd name="T33" fmla="*/ 2147483647 h 250"/>
                <a:gd name="T34" fmla="*/ 2147483647 w 307"/>
                <a:gd name="T35" fmla="*/ 2147483647 h 250"/>
                <a:gd name="T36" fmla="*/ 2147483647 w 307"/>
                <a:gd name="T37" fmla="*/ 2147483647 h 250"/>
                <a:gd name="T38" fmla="*/ 2147483647 w 307"/>
                <a:gd name="T39" fmla="*/ 2147483647 h 250"/>
                <a:gd name="T40" fmla="*/ 2147483647 w 307"/>
                <a:gd name="T41" fmla="*/ 2147483647 h 250"/>
                <a:gd name="T42" fmla="*/ 2147483647 w 307"/>
                <a:gd name="T43" fmla="*/ 2147483647 h 250"/>
                <a:gd name="T44" fmla="*/ 2147483647 w 307"/>
                <a:gd name="T45" fmla="*/ 2147483647 h 250"/>
                <a:gd name="T46" fmla="*/ 2147483647 w 307"/>
                <a:gd name="T47" fmla="*/ 2147483647 h 250"/>
                <a:gd name="T48" fmla="*/ 2147483647 w 307"/>
                <a:gd name="T49" fmla="*/ 2147483647 h 250"/>
                <a:gd name="T50" fmla="*/ 2147483647 w 307"/>
                <a:gd name="T51" fmla="*/ 2147483647 h 250"/>
                <a:gd name="T52" fmla="*/ 0 w 307"/>
                <a:gd name="T53" fmla="*/ 2147483647 h 250"/>
                <a:gd name="T54" fmla="*/ 2147483647 w 307"/>
                <a:gd name="T55" fmla="*/ 2147483647 h 250"/>
                <a:gd name="T56" fmla="*/ 2147483647 w 307"/>
                <a:gd name="T57" fmla="*/ 2147483647 h 250"/>
                <a:gd name="T58" fmla="*/ 2147483647 w 307"/>
                <a:gd name="T59" fmla="*/ 2147483647 h 250"/>
                <a:gd name="T60" fmla="*/ 2147483647 w 307"/>
                <a:gd name="T61" fmla="*/ 0 h 250"/>
                <a:gd name="T62" fmla="*/ 2147483647 w 307"/>
                <a:gd name="T63" fmla="*/ 2147483647 h 250"/>
                <a:gd name="T64" fmla="*/ 2147483647 w 307"/>
                <a:gd name="T65" fmla="*/ 2147483647 h 250"/>
                <a:gd name="T66" fmla="*/ 2147483647 w 307"/>
                <a:gd name="T67" fmla="*/ 2147483647 h 250"/>
                <a:gd name="T68" fmla="*/ 2147483647 w 307"/>
                <a:gd name="T69" fmla="*/ 2147483647 h 250"/>
                <a:gd name="T70" fmla="*/ 2147483647 w 307"/>
                <a:gd name="T71" fmla="*/ 2147483647 h 250"/>
                <a:gd name="T72" fmla="*/ 2147483647 w 307"/>
                <a:gd name="T73" fmla="*/ 2147483647 h 250"/>
                <a:gd name="T74" fmla="*/ 2147483647 w 307"/>
                <a:gd name="T75" fmla="*/ 2147483647 h 250"/>
                <a:gd name="T76" fmla="*/ 2147483647 w 307"/>
                <a:gd name="T77" fmla="*/ 2147483647 h 250"/>
                <a:gd name="T78" fmla="*/ 2147483647 w 307"/>
                <a:gd name="T79" fmla="*/ 2147483647 h 250"/>
                <a:gd name="T80" fmla="*/ 2147483647 w 307"/>
                <a:gd name="T81" fmla="*/ 2147483647 h 250"/>
                <a:gd name="T82" fmla="*/ 2147483647 w 307"/>
                <a:gd name="T83" fmla="*/ 2147483647 h 250"/>
                <a:gd name="T84" fmla="*/ 2147483647 w 307"/>
                <a:gd name="T85" fmla="*/ 2147483647 h 250"/>
                <a:gd name="T86" fmla="*/ 2147483647 w 307"/>
                <a:gd name="T87" fmla="*/ 2147483647 h 2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07"/>
                <a:gd name="T133" fmla="*/ 0 h 250"/>
                <a:gd name="T134" fmla="*/ 307 w 307"/>
                <a:gd name="T135" fmla="*/ 250 h 2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07" h="250">
                  <a:moveTo>
                    <a:pt x="307" y="250"/>
                  </a:moveTo>
                  <a:lnTo>
                    <a:pt x="296" y="248"/>
                  </a:lnTo>
                  <a:lnTo>
                    <a:pt x="277" y="222"/>
                  </a:lnTo>
                  <a:lnTo>
                    <a:pt x="250" y="222"/>
                  </a:lnTo>
                  <a:lnTo>
                    <a:pt x="243" y="235"/>
                  </a:lnTo>
                  <a:lnTo>
                    <a:pt x="214" y="233"/>
                  </a:lnTo>
                  <a:lnTo>
                    <a:pt x="235" y="203"/>
                  </a:lnTo>
                  <a:lnTo>
                    <a:pt x="247" y="209"/>
                  </a:lnTo>
                  <a:lnTo>
                    <a:pt x="250" y="201"/>
                  </a:lnTo>
                  <a:lnTo>
                    <a:pt x="241" y="190"/>
                  </a:lnTo>
                  <a:lnTo>
                    <a:pt x="218" y="152"/>
                  </a:lnTo>
                  <a:lnTo>
                    <a:pt x="102" y="100"/>
                  </a:lnTo>
                  <a:lnTo>
                    <a:pt x="98" y="79"/>
                  </a:lnTo>
                  <a:lnTo>
                    <a:pt x="87" y="110"/>
                  </a:lnTo>
                  <a:lnTo>
                    <a:pt x="77" y="110"/>
                  </a:lnTo>
                  <a:lnTo>
                    <a:pt x="70" y="96"/>
                  </a:lnTo>
                  <a:lnTo>
                    <a:pt x="74" y="81"/>
                  </a:lnTo>
                  <a:lnTo>
                    <a:pt x="45" y="77"/>
                  </a:lnTo>
                  <a:lnTo>
                    <a:pt x="53" y="64"/>
                  </a:lnTo>
                  <a:lnTo>
                    <a:pt x="70" y="68"/>
                  </a:lnTo>
                  <a:lnTo>
                    <a:pt x="79" y="58"/>
                  </a:lnTo>
                  <a:lnTo>
                    <a:pt x="102" y="58"/>
                  </a:lnTo>
                  <a:lnTo>
                    <a:pt x="96" y="49"/>
                  </a:lnTo>
                  <a:lnTo>
                    <a:pt x="45" y="55"/>
                  </a:lnTo>
                  <a:lnTo>
                    <a:pt x="36" y="36"/>
                  </a:lnTo>
                  <a:lnTo>
                    <a:pt x="17" y="36"/>
                  </a:lnTo>
                  <a:lnTo>
                    <a:pt x="0" y="17"/>
                  </a:lnTo>
                  <a:lnTo>
                    <a:pt x="13" y="17"/>
                  </a:lnTo>
                  <a:lnTo>
                    <a:pt x="20" y="26"/>
                  </a:lnTo>
                  <a:lnTo>
                    <a:pt x="49" y="3"/>
                  </a:lnTo>
                  <a:lnTo>
                    <a:pt x="62" y="0"/>
                  </a:lnTo>
                  <a:lnTo>
                    <a:pt x="102" y="13"/>
                  </a:lnTo>
                  <a:lnTo>
                    <a:pt x="112" y="30"/>
                  </a:lnTo>
                  <a:lnTo>
                    <a:pt x="114" y="64"/>
                  </a:lnTo>
                  <a:lnTo>
                    <a:pt x="123" y="57"/>
                  </a:lnTo>
                  <a:lnTo>
                    <a:pt x="142" y="89"/>
                  </a:lnTo>
                  <a:lnTo>
                    <a:pt x="159" y="85"/>
                  </a:lnTo>
                  <a:lnTo>
                    <a:pt x="176" y="57"/>
                  </a:lnTo>
                  <a:lnTo>
                    <a:pt x="197" y="57"/>
                  </a:lnTo>
                  <a:lnTo>
                    <a:pt x="197" y="47"/>
                  </a:lnTo>
                  <a:lnTo>
                    <a:pt x="218" y="32"/>
                  </a:lnTo>
                  <a:lnTo>
                    <a:pt x="256" y="53"/>
                  </a:lnTo>
                  <a:lnTo>
                    <a:pt x="305" y="66"/>
                  </a:lnTo>
                  <a:lnTo>
                    <a:pt x="307" y="25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39" name="Freeform 115"/>
            <p:cNvSpPr>
              <a:spLocks/>
            </p:cNvSpPr>
            <p:nvPr/>
          </p:nvSpPr>
          <p:spPr bwMode="auto">
            <a:xfrm>
              <a:off x="3531745" y="3596131"/>
              <a:ext cx="147740" cy="179260"/>
            </a:xfrm>
            <a:custGeom>
              <a:avLst/>
              <a:gdLst>
                <a:gd name="T0" fmla="*/ 2147483647 w 270"/>
                <a:gd name="T1" fmla="*/ 2147483647 h 287"/>
                <a:gd name="T2" fmla="*/ 2147483647 w 270"/>
                <a:gd name="T3" fmla="*/ 0 h 287"/>
                <a:gd name="T4" fmla="*/ 2147483647 w 270"/>
                <a:gd name="T5" fmla="*/ 2147483647 h 287"/>
                <a:gd name="T6" fmla="*/ 2147483647 w 270"/>
                <a:gd name="T7" fmla="*/ 2147483647 h 287"/>
                <a:gd name="T8" fmla="*/ 2147483647 w 270"/>
                <a:gd name="T9" fmla="*/ 2147483647 h 287"/>
                <a:gd name="T10" fmla="*/ 2147483647 w 270"/>
                <a:gd name="T11" fmla="*/ 2147483647 h 287"/>
                <a:gd name="T12" fmla="*/ 2147483647 w 270"/>
                <a:gd name="T13" fmla="*/ 2147483647 h 287"/>
                <a:gd name="T14" fmla="*/ 2147483647 w 270"/>
                <a:gd name="T15" fmla="*/ 2147483647 h 287"/>
                <a:gd name="T16" fmla="*/ 2147483647 w 270"/>
                <a:gd name="T17" fmla="*/ 2147483647 h 287"/>
                <a:gd name="T18" fmla="*/ 2147483647 w 270"/>
                <a:gd name="T19" fmla="*/ 2147483647 h 287"/>
                <a:gd name="T20" fmla="*/ 2147483647 w 270"/>
                <a:gd name="T21" fmla="*/ 2147483647 h 287"/>
                <a:gd name="T22" fmla="*/ 2147483647 w 270"/>
                <a:gd name="T23" fmla="*/ 2147483647 h 287"/>
                <a:gd name="T24" fmla="*/ 2147483647 w 270"/>
                <a:gd name="T25" fmla="*/ 2147483647 h 287"/>
                <a:gd name="T26" fmla="*/ 2147483647 w 270"/>
                <a:gd name="T27" fmla="*/ 2147483647 h 287"/>
                <a:gd name="T28" fmla="*/ 2147483647 w 270"/>
                <a:gd name="T29" fmla="*/ 2147483647 h 287"/>
                <a:gd name="T30" fmla="*/ 2147483647 w 270"/>
                <a:gd name="T31" fmla="*/ 2147483647 h 287"/>
                <a:gd name="T32" fmla="*/ 2147483647 w 270"/>
                <a:gd name="T33" fmla="*/ 2147483647 h 287"/>
                <a:gd name="T34" fmla="*/ 2147483647 w 270"/>
                <a:gd name="T35" fmla="*/ 2147483647 h 287"/>
                <a:gd name="T36" fmla="*/ 2147483647 w 270"/>
                <a:gd name="T37" fmla="*/ 2147483647 h 287"/>
                <a:gd name="T38" fmla="*/ 2147483647 w 270"/>
                <a:gd name="T39" fmla="*/ 2147483647 h 287"/>
                <a:gd name="T40" fmla="*/ 2147483647 w 270"/>
                <a:gd name="T41" fmla="*/ 2147483647 h 287"/>
                <a:gd name="T42" fmla="*/ 2147483647 w 270"/>
                <a:gd name="T43" fmla="*/ 2147483647 h 287"/>
                <a:gd name="T44" fmla="*/ 2147483647 w 270"/>
                <a:gd name="T45" fmla="*/ 2147483647 h 287"/>
                <a:gd name="T46" fmla="*/ 2147483647 w 270"/>
                <a:gd name="T47" fmla="*/ 2147483647 h 287"/>
                <a:gd name="T48" fmla="*/ 2147483647 w 270"/>
                <a:gd name="T49" fmla="*/ 2147483647 h 287"/>
                <a:gd name="T50" fmla="*/ 2147483647 w 270"/>
                <a:gd name="T51" fmla="*/ 2147483647 h 287"/>
                <a:gd name="T52" fmla="*/ 0 w 270"/>
                <a:gd name="T53" fmla="*/ 2147483647 h 287"/>
                <a:gd name="T54" fmla="*/ 2147483647 w 270"/>
                <a:gd name="T55" fmla="*/ 2147483647 h 287"/>
                <a:gd name="T56" fmla="*/ 2147483647 w 270"/>
                <a:gd name="T57" fmla="*/ 2147483647 h 287"/>
                <a:gd name="T58" fmla="*/ 2147483647 w 270"/>
                <a:gd name="T59" fmla="*/ 2147483647 h 287"/>
                <a:gd name="T60" fmla="*/ 2147483647 w 270"/>
                <a:gd name="T61" fmla="*/ 2147483647 h 28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70"/>
                <a:gd name="T94" fmla="*/ 0 h 287"/>
                <a:gd name="T95" fmla="*/ 270 w 270"/>
                <a:gd name="T96" fmla="*/ 287 h 28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70" h="287">
                  <a:moveTo>
                    <a:pt x="106" y="10"/>
                  </a:moveTo>
                  <a:lnTo>
                    <a:pt x="116" y="0"/>
                  </a:lnTo>
                  <a:lnTo>
                    <a:pt x="154" y="12"/>
                  </a:lnTo>
                  <a:lnTo>
                    <a:pt x="169" y="8"/>
                  </a:lnTo>
                  <a:lnTo>
                    <a:pt x="190" y="59"/>
                  </a:lnTo>
                  <a:lnTo>
                    <a:pt x="207" y="55"/>
                  </a:lnTo>
                  <a:lnTo>
                    <a:pt x="203" y="76"/>
                  </a:lnTo>
                  <a:lnTo>
                    <a:pt x="188" y="112"/>
                  </a:lnTo>
                  <a:lnTo>
                    <a:pt x="205" y="148"/>
                  </a:lnTo>
                  <a:lnTo>
                    <a:pt x="249" y="184"/>
                  </a:lnTo>
                  <a:lnTo>
                    <a:pt x="251" y="211"/>
                  </a:lnTo>
                  <a:lnTo>
                    <a:pt x="258" y="219"/>
                  </a:lnTo>
                  <a:lnTo>
                    <a:pt x="270" y="240"/>
                  </a:lnTo>
                  <a:lnTo>
                    <a:pt x="270" y="249"/>
                  </a:lnTo>
                  <a:lnTo>
                    <a:pt x="256" y="249"/>
                  </a:lnTo>
                  <a:lnTo>
                    <a:pt x="258" y="253"/>
                  </a:lnTo>
                  <a:lnTo>
                    <a:pt x="236" y="255"/>
                  </a:lnTo>
                  <a:lnTo>
                    <a:pt x="230" y="276"/>
                  </a:lnTo>
                  <a:lnTo>
                    <a:pt x="215" y="287"/>
                  </a:lnTo>
                  <a:lnTo>
                    <a:pt x="167" y="287"/>
                  </a:lnTo>
                  <a:lnTo>
                    <a:pt x="139" y="274"/>
                  </a:lnTo>
                  <a:lnTo>
                    <a:pt x="140" y="251"/>
                  </a:lnTo>
                  <a:lnTo>
                    <a:pt x="121" y="249"/>
                  </a:lnTo>
                  <a:lnTo>
                    <a:pt x="116" y="228"/>
                  </a:lnTo>
                  <a:lnTo>
                    <a:pt x="53" y="190"/>
                  </a:lnTo>
                  <a:lnTo>
                    <a:pt x="11" y="181"/>
                  </a:lnTo>
                  <a:lnTo>
                    <a:pt x="0" y="139"/>
                  </a:lnTo>
                  <a:lnTo>
                    <a:pt x="66" y="89"/>
                  </a:lnTo>
                  <a:lnTo>
                    <a:pt x="76" y="36"/>
                  </a:lnTo>
                  <a:lnTo>
                    <a:pt x="99" y="25"/>
                  </a:lnTo>
                  <a:lnTo>
                    <a:pt x="106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0" name="Freeform 116"/>
            <p:cNvSpPr>
              <a:spLocks/>
            </p:cNvSpPr>
            <p:nvPr/>
          </p:nvSpPr>
          <p:spPr bwMode="auto">
            <a:xfrm>
              <a:off x="3613333" y="3542586"/>
              <a:ext cx="296582" cy="307303"/>
            </a:xfrm>
            <a:custGeom>
              <a:avLst/>
              <a:gdLst>
                <a:gd name="T0" fmla="*/ 2147483647 w 543"/>
                <a:gd name="T1" fmla="*/ 2147483647 h 492"/>
                <a:gd name="T2" fmla="*/ 0 w 543"/>
                <a:gd name="T3" fmla="*/ 2147483647 h 492"/>
                <a:gd name="T4" fmla="*/ 2147483647 w 543"/>
                <a:gd name="T5" fmla="*/ 2147483647 h 492"/>
                <a:gd name="T6" fmla="*/ 2147483647 w 543"/>
                <a:gd name="T7" fmla="*/ 2147483647 h 492"/>
                <a:gd name="T8" fmla="*/ 2147483647 w 543"/>
                <a:gd name="T9" fmla="*/ 2147483647 h 492"/>
                <a:gd name="T10" fmla="*/ 2147483647 w 543"/>
                <a:gd name="T11" fmla="*/ 2147483647 h 492"/>
                <a:gd name="T12" fmla="*/ 2147483647 w 543"/>
                <a:gd name="T13" fmla="*/ 2147483647 h 492"/>
                <a:gd name="T14" fmla="*/ 2147483647 w 543"/>
                <a:gd name="T15" fmla="*/ 2147483647 h 492"/>
                <a:gd name="T16" fmla="*/ 2147483647 w 543"/>
                <a:gd name="T17" fmla="*/ 2147483647 h 492"/>
                <a:gd name="T18" fmla="*/ 2147483647 w 543"/>
                <a:gd name="T19" fmla="*/ 2147483647 h 492"/>
                <a:gd name="T20" fmla="*/ 2147483647 w 543"/>
                <a:gd name="T21" fmla="*/ 2147483647 h 492"/>
                <a:gd name="T22" fmla="*/ 2147483647 w 543"/>
                <a:gd name="T23" fmla="*/ 2147483647 h 492"/>
                <a:gd name="T24" fmla="*/ 2147483647 w 543"/>
                <a:gd name="T25" fmla="*/ 2147483647 h 492"/>
                <a:gd name="T26" fmla="*/ 2147483647 w 543"/>
                <a:gd name="T27" fmla="*/ 2147483647 h 492"/>
                <a:gd name="T28" fmla="*/ 2147483647 w 543"/>
                <a:gd name="T29" fmla="*/ 2147483647 h 492"/>
                <a:gd name="T30" fmla="*/ 2147483647 w 543"/>
                <a:gd name="T31" fmla="*/ 2147483647 h 492"/>
                <a:gd name="T32" fmla="*/ 2147483647 w 543"/>
                <a:gd name="T33" fmla="*/ 2147483647 h 492"/>
                <a:gd name="T34" fmla="*/ 2147483647 w 543"/>
                <a:gd name="T35" fmla="*/ 2147483647 h 492"/>
                <a:gd name="T36" fmla="*/ 2147483647 w 543"/>
                <a:gd name="T37" fmla="*/ 2147483647 h 492"/>
                <a:gd name="T38" fmla="*/ 2147483647 w 543"/>
                <a:gd name="T39" fmla="*/ 2147483647 h 492"/>
                <a:gd name="T40" fmla="*/ 2147483647 w 543"/>
                <a:gd name="T41" fmla="*/ 2147483647 h 492"/>
                <a:gd name="T42" fmla="*/ 2147483647 w 543"/>
                <a:gd name="T43" fmla="*/ 2147483647 h 492"/>
                <a:gd name="T44" fmla="*/ 2147483647 w 543"/>
                <a:gd name="T45" fmla="*/ 2147483647 h 492"/>
                <a:gd name="T46" fmla="*/ 2147483647 w 543"/>
                <a:gd name="T47" fmla="*/ 2147483647 h 492"/>
                <a:gd name="T48" fmla="*/ 2147483647 w 543"/>
                <a:gd name="T49" fmla="*/ 2147483647 h 492"/>
                <a:gd name="T50" fmla="*/ 2147483647 w 543"/>
                <a:gd name="T51" fmla="*/ 2147483647 h 492"/>
                <a:gd name="T52" fmla="*/ 2147483647 w 543"/>
                <a:gd name="T53" fmla="*/ 2147483647 h 492"/>
                <a:gd name="T54" fmla="*/ 2147483647 w 543"/>
                <a:gd name="T55" fmla="*/ 2147483647 h 492"/>
                <a:gd name="T56" fmla="*/ 2147483647 w 543"/>
                <a:gd name="T57" fmla="*/ 2147483647 h 492"/>
                <a:gd name="T58" fmla="*/ 2147483647 w 543"/>
                <a:gd name="T59" fmla="*/ 2147483647 h 492"/>
                <a:gd name="T60" fmla="*/ 2147483647 w 543"/>
                <a:gd name="T61" fmla="*/ 2147483647 h 492"/>
                <a:gd name="T62" fmla="*/ 2147483647 w 543"/>
                <a:gd name="T63" fmla="*/ 2147483647 h 492"/>
                <a:gd name="T64" fmla="*/ 2147483647 w 543"/>
                <a:gd name="T65" fmla="*/ 2147483647 h 492"/>
                <a:gd name="T66" fmla="*/ 2147483647 w 543"/>
                <a:gd name="T67" fmla="*/ 2147483647 h 492"/>
                <a:gd name="T68" fmla="*/ 2147483647 w 543"/>
                <a:gd name="T69" fmla="*/ 2147483647 h 492"/>
                <a:gd name="T70" fmla="*/ 2147483647 w 543"/>
                <a:gd name="T71" fmla="*/ 2147483647 h 492"/>
                <a:gd name="T72" fmla="*/ 2147483647 w 543"/>
                <a:gd name="T73" fmla="*/ 2147483647 h 492"/>
                <a:gd name="T74" fmla="*/ 2147483647 w 543"/>
                <a:gd name="T75" fmla="*/ 2147483647 h 492"/>
                <a:gd name="T76" fmla="*/ 2147483647 w 543"/>
                <a:gd name="T77" fmla="*/ 2147483647 h 49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43"/>
                <a:gd name="T118" fmla="*/ 0 h 492"/>
                <a:gd name="T119" fmla="*/ 543 w 543"/>
                <a:gd name="T120" fmla="*/ 492 h 49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43" h="492">
                  <a:moveTo>
                    <a:pt x="21" y="93"/>
                  </a:moveTo>
                  <a:lnTo>
                    <a:pt x="21" y="81"/>
                  </a:lnTo>
                  <a:lnTo>
                    <a:pt x="9" y="68"/>
                  </a:lnTo>
                  <a:lnTo>
                    <a:pt x="0" y="15"/>
                  </a:lnTo>
                  <a:lnTo>
                    <a:pt x="13" y="0"/>
                  </a:lnTo>
                  <a:lnTo>
                    <a:pt x="46" y="28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72" y="28"/>
                  </a:lnTo>
                  <a:lnTo>
                    <a:pt x="114" y="2"/>
                  </a:lnTo>
                  <a:lnTo>
                    <a:pt x="122" y="7"/>
                  </a:lnTo>
                  <a:lnTo>
                    <a:pt x="116" y="38"/>
                  </a:lnTo>
                  <a:lnTo>
                    <a:pt x="144" y="51"/>
                  </a:lnTo>
                  <a:lnTo>
                    <a:pt x="150" y="81"/>
                  </a:lnTo>
                  <a:lnTo>
                    <a:pt x="175" y="87"/>
                  </a:lnTo>
                  <a:lnTo>
                    <a:pt x="181" y="102"/>
                  </a:lnTo>
                  <a:lnTo>
                    <a:pt x="213" y="114"/>
                  </a:lnTo>
                  <a:lnTo>
                    <a:pt x="270" y="95"/>
                  </a:lnTo>
                  <a:lnTo>
                    <a:pt x="270" y="104"/>
                  </a:lnTo>
                  <a:lnTo>
                    <a:pt x="287" y="106"/>
                  </a:lnTo>
                  <a:lnTo>
                    <a:pt x="283" y="85"/>
                  </a:lnTo>
                  <a:lnTo>
                    <a:pt x="302" y="83"/>
                  </a:lnTo>
                  <a:lnTo>
                    <a:pt x="323" y="60"/>
                  </a:lnTo>
                  <a:lnTo>
                    <a:pt x="350" y="59"/>
                  </a:lnTo>
                  <a:lnTo>
                    <a:pt x="369" y="47"/>
                  </a:lnTo>
                  <a:lnTo>
                    <a:pt x="380" y="64"/>
                  </a:lnTo>
                  <a:lnTo>
                    <a:pt x="426" y="74"/>
                  </a:lnTo>
                  <a:lnTo>
                    <a:pt x="458" y="106"/>
                  </a:lnTo>
                  <a:lnTo>
                    <a:pt x="483" y="108"/>
                  </a:lnTo>
                  <a:lnTo>
                    <a:pt x="485" y="140"/>
                  </a:lnTo>
                  <a:lnTo>
                    <a:pt x="466" y="197"/>
                  </a:lnTo>
                  <a:lnTo>
                    <a:pt x="473" y="216"/>
                  </a:lnTo>
                  <a:lnTo>
                    <a:pt x="475" y="279"/>
                  </a:lnTo>
                  <a:lnTo>
                    <a:pt x="490" y="285"/>
                  </a:lnTo>
                  <a:lnTo>
                    <a:pt x="500" y="309"/>
                  </a:lnTo>
                  <a:lnTo>
                    <a:pt x="483" y="319"/>
                  </a:lnTo>
                  <a:lnTo>
                    <a:pt x="471" y="340"/>
                  </a:lnTo>
                  <a:lnTo>
                    <a:pt x="471" y="351"/>
                  </a:lnTo>
                  <a:lnTo>
                    <a:pt x="500" y="389"/>
                  </a:lnTo>
                  <a:lnTo>
                    <a:pt x="526" y="393"/>
                  </a:lnTo>
                  <a:lnTo>
                    <a:pt x="524" y="423"/>
                  </a:lnTo>
                  <a:lnTo>
                    <a:pt x="538" y="421"/>
                  </a:lnTo>
                  <a:lnTo>
                    <a:pt x="543" y="442"/>
                  </a:lnTo>
                  <a:lnTo>
                    <a:pt x="513" y="446"/>
                  </a:lnTo>
                  <a:lnTo>
                    <a:pt x="498" y="465"/>
                  </a:lnTo>
                  <a:lnTo>
                    <a:pt x="496" y="484"/>
                  </a:lnTo>
                  <a:lnTo>
                    <a:pt x="486" y="492"/>
                  </a:lnTo>
                  <a:lnTo>
                    <a:pt x="433" y="488"/>
                  </a:lnTo>
                  <a:lnTo>
                    <a:pt x="403" y="482"/>
                  </a:lnTo>
                  <a:lnTo>
                    <a:pt x="380" y="473"/>
                  </a:lnTo>
                  <a:lnTo>
                    <a:pt x="365" y="440"/>
                  </a:lnTo>
                  <a:lnTo>
                    <a:pt x="367" y="431"/>
                  </a:lnTo>
                  <a:lnTo>
                    <a:pt x="340" y="425"/>
                  </a:lnTo>
                  <a:lnTo>
                    <a:pt x="333" y="433"/>
                  </a:lnTo>
                  <a:lnTo>
                    <a:pt x="346" y="435"/>
                  </a:lnTo>
                  <a:lnTo>
                    <a:pt x="314" y="452"/>
                  </a:lnTo>
                  <a:lnTo>
                    <a:pt x="315" y="442"/>
                  </a:lnTo>
                  <a:lnTo>
                    <a:pt x="302" y="446"/>
                  </a:lnTo>
                  <a:lnTo>
                    <a:pt x="272" y="444"/>
                  </a:lnTo>
                  <a:lnTo>
                    <a:pt x="234" y="425"/>
                  </a:lnTo>
                  <a:lnTo>
                    <a:pt x="239" y="418"/>
                  </a:lnTo>
                  <a:lnTo>
                    <a:pt x="209" y="399"/>
                  </a:lnTo>
                  <a:lnTo>
                    <a:pt x="201" y="380"/>
                  </a:lnTo>
                  <a:lnTo>
                    <a:pt x="190" y="374"/>
                  </a:lnTo>
                  <a:lnTo>
                    <a:pt x="196" y="366"/>
                  </a:lnTo>
                  <a:lnTo>
                    <a:pt x="171" y="326"/>
                  </a:lnTo>
                  <a:lnTo>
                    <a:pt x="154" y="334"/>
                  </a:lnTo>
                  <a:lnTo>
                    <a:pt x="141" y="326"/>
                  </a:lnTo>
                  <a:lnTo>
                    <a:pt x="131" y="334"/>
                  </a:lnTo>
                  <a:lnTo>
                    <a:pt x="122" y="326"/>
                  </a:lnTo>
                  <a:lnTo>
                    <a:pt x="110" y="304"/>
                  </a:lnTo>
                  <a:lnTo>
                    <a:pt x="103" y="296"/>
                  </a:lnTo>
                  <a:lnTo>
                    <a:pt x="101" y="269"/>
                  </a:lnTo>
                  <a:lnTo>
                    <a:pt x="59" y="233"/>
                  </a:lnTo>
                  <a:lnTo>
                    <a:pt x="40" y="197"/>
                  </a:lnTo>
                  <a:lnTo>
                    <a:pt x="57" y="161"/>
                  </a:lnTo>
                  <a:lnTo>
                    <a:pt x="59" y="140"/>
                  </a:lnTo>
                  <a:lnTo>
                    <a:pt x="42" y="144"/>
                  </a:lnTo>
                  <a:lnTo>
                    <a:pt x="21" y="9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1" name="Freeform 117"/>
            <p:cNvSpPr>
              <a:spLocks/>
            </p:cNvSpPr>
            <p:nvPr/>
          </p:nvSpPr>
          <p:spPr bwMode="auto">
            <a:xfrm>
              <a:off x="3463388" y="3682269"/>
              <a:ext cx="25359" cy="77989"/>
            </a:xfrm>
            <a:custGeom>
              <a:avLst/>
              <a:gdLst>
                <a:gd name="T0" fmla="*/ 0 w 45"/>
                <a:gd name="T1" fmla="*/ 2147483647 h 123"/>
                <a:gd name="T2" fmla="*/ 2147483647 w 45"/>
                <a:gd name="T3" fmla="*/ 2147483647 h 123"/>
                <a:gd name="T4" fmla="*/ 2147483647 w 45"/>
                <a:gd name="T5" fmla="*/ 2147483647 h 123"/>
                <a:gd name="T6" fmla="*/ 2147483647 w 45"/>
                <a:gd name="T7" fmla="*/ 2147483647 h 123"/>
                <a:gd name="T8" fmla="*/ 2147483647 w 45"/>
                <a:gd name="T9" fmla="*/ 2147483647 h 123"/>
                <a:gd name="T10" fmla="*/ 2147483647 w 45"/>
                <a:gd name="T11" fmla="*/ 0 h 123"/>
                <a:gd name="T12" fmla="*/ 2147483647 w 45"/>
                <a:gd name="T13" fmla="*/ 2147483647 h 123"/>
                <a:gd name="T14" fmla="*/ 2147483647 w 45"/>
                <a:gd name="T15" fmla="*/ 2147483647 h 123"/>
                <a:gd name="T16" fmla="*/ 2147483647 w 45"/>
                <a:gd name="T17" fmla="*/ 2147483647 h 123"/>
                <a:gd name="T18" fmla="*/ 2147483647 w 45"/>
                <a:gd name="T19" fmla="*/ 2147483647 h 123"/>
                <a:gd name="T20" fmla="*/ 2147483647 w 45"/>
                <a:gd name="T21" fmla="*/ 2147483647 h 123"/>
                <a:gd name="T22" fmla="*/ 2147483647 w 45"/>
                <a:gd name="T23" fmla="*/ 2147483647 h 123"/>
                <a:gd name="T24" fmla="*/ 2147483647 w 45"/>
                <a:gd name="T25" fmla="*/ 2147483647 h 123"/>
                <a:gd name="T26" fmla="*/ 0 w 45"/>
                <a:gd name="T27" fmla="*/ 2147483647 h 123"/>
                <a:gd name="T28" fmla="*/ 2147483647 w 45"/>
                <a:gd name="T29" fmla="*/ 2147483647 h 123"/>
                <a:gd name="T30" fmla="*/ 0 w 45"/>
                <a:gd name="T31" fmla="*/ 2147483647 h 1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5"/>
                <a:gd name="T49" fmla="*/ 0 h 123"/>
                <a:gd name="T50" fmla="*/ 45 w 45"/>
                <a:gd name="T51" fmla="*/ 123 h 1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5" h="123">
                  <a:moveTo>
                    <a:pt x="0" y="55"/>
                  </a:moveTo>
                  <a:lnTo>
                    <a:pt x="11" y="17"/>
                  </a:lnTo>
                  <a:lnTo>
                    <a:pt x="9" y="6"/>
                  </a:lnTo>
                  <a:lnTo>
                    <a:pt x="20" y="4"/>
                  </a:lnTo>
                  <a:lnTo>
                    <a:pt x="30" y="4"/>
                  </a:lnTo>
                  <a:lnTo>
                    <a:pt x="43" y="0"/>
                  </a:lnTo>
                  <a:lnTo>
                    <a:pt x="45" y="23"/>
                  </a:lnTo>
                  <a:lnTo>
                    <a:pt x="26" y="36"/>
                  </a:lnTo>
                  <a:lnTo>
                    <a:pt x="24" y="44"/>
                  </a:lnTo>
                  <a:lnTo>
                    <a:pt x="34" y="49"/>
                  </a:lnTo>
                  <a:lnTo>
                    <a:pt x="32" y="76"/>
                  </a:lnTo>
                  <a:lnTo>
                    <a:pt x="24" y="120"/>
                  </a:lnTo>
                  <a:lnTo>
                    <a:pt x="15" y="123"/>
                  </a:lnTo>
                  <a:lnTo>
                    <a:pt x="0" y="82"/>
                  </a:lnTo>
                  <a:lnTo>
                    <a:pt x="9" y="63"/>
                  </a:lnTo>
                  <a:lnTo>
                    <a:pt x="0" y="5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2" name="Freeform 118"/>
            <p:cNvSpPr>
              <a:spLocks/>
            </p:cNvSpPr>
            <p:nvPr/>
          </p:nvSpPr>
          <p:spPr bwMode="auto">
            <a:xfrm>
              <a:off x="5081910" y="3398246"/>
              <a:ext cx="91511" cy="101270"/>
            </a:xfrm>
            <a:custGeom>
              <a:avLst/>
              <a:gdLst>
                <a:gd name="T0" fmla="*/ 2147483647 w 167"/>
                <a:gd name="T1" fmla="*/ 2147483647 h 161"/>
                <a:gd name="T2" fmla="*/ 2147483647 w 167"/>
                <a:gd name="T3" fmla="*/ 2147483647 h 161"/>
                <a:gd name="T4" fmla="*/ 2147483647 w 167"/>
                <a:gd name="T5" fmla="*/ 2147483647 h 161"/>
                <a:gd name="T6" fmla="*/ 2147483647 w 167"/>
                <a:gd name="T7" fmla="*/ 2147483647 h 161"/>
                <a:gd name="T8" fmla="*/ 2147483647 w 167"/>
                <a:gd name="T9" fmla="*/ 2147483647 h 161"/>
                <a:gd name="T10" fmla="*/ 2147483647 w 167"/>
                <a:gd name="T11" fmla="*/ 2147483647 h 161"/>
                <a:gd name="T12" fmla="*/ 2147483647 w 167"/>
                <a:gd name="T13" fmla="*/ 0 h 161"/>
                <a:gd name="T14" fmla="*/ 2147483647 w 167"/>
                <a:gd name="T15" fmla="*/ 2147483647 h 161"/>
                <a:gd name="T16" fmla="*/ 2147483647 w 167"/>
                <a:gd name="T17" fmla="*/ 2147483647 h 161"/>
                <a:gd name="T18" fmla="*/ 2147483647 w 167"/>
                <a:gd name="T19" fmla="*/ 2147483647 h 161"/>
                <a:gd name="T20" fmla="*/ 2147483647 w 167"/>
                <a:gd name="T21" fmla="*/ 2147483647 h 161"/>
                <a:gd name="T22" fmla="*/ 2147483647 w 167"/>
                <a:gd name="T23" fmla="*/ 2147483647 h 161"/>
                <a:gd name="T24" fmla="*/ 2147483647 w 167"/>
                <a:gd name="T25" fmla="*/ 2147483647 h 161"/>
                <a:gd name="T26" fmla="*/ 2147483647 w 167"/>
                <a:gd name="T27" fmla="*/ 2147483647 h 161"/>
                <a:gd name="T28" fmla="*/ 2147483647 w 167"/>
                <a:gd name="T29" fmla="*/ 2147483647 h 161"/>
                <a:gd name="T30" fmla="*/ 2147483647 w 167"/>
                <a:gd name="T31" fmla="*/ 2147483647 h 161"/>
                <a:gd name="T32" fmla="*/ 2147483647 w 167"/>
                <a:gd name="T33" fmla="*/ 2147483647 h 161"/>
                <a:gd name="T34" fmla="*/ 2147483647 w 167"/>
                <a:gd name="T35" fmla="*/ 2147483647 h 161"/>
                <a:gd name="T36" fmla="*/ 2147483647 w 167"/>
                <a:gd name="T37" fmla="*/ 2147483647 h 161"/>
                <a:gd name="T38" fmla="*/ 2147483647 w 167"/>
                <a:gd name="T39" fmla="*/ 2147483647 h 161"/>
                <a:gd name="T40" fmla="*/ 2147483647 w 167"/>
                <a:gd name="T41" fmla="*/ 2147483647 h 161"/>
                <a:gd name="T42" fmla="*/ 2147483647 w 167"/>
                <a:gd name="T43" fmla="*/ 2147483647 h 161"/>
                <a:gd name="T44" fmla="*/ 2147483647 w 167"/>
                <a:gd name="T45" fmla="*/ 2147483647 h 161"/>
                <a:gd name="T46" fmla="*/ 2147483647 w 167"/>
                <a:gd name="T47" fmla="*/ 2147483647 h 161"/>
                <a:gd name="T48" fmla="*/ 2147483647 w 167"/>
                <a:gd name="T49" fmla="*/ 2147483647 h 161"/>
                <a:gd name="T50" fmla="*/ 2147483647 w 167"/>
                <a:gd name="T51" fmla="*/ 2147483647 h 161"/>
                <a:gd name="T52" fmla="*/ 2147483647 w 167"/>
                <a:gd name="T53" fmla="*/ 2147483647 h 161"/>
                <a:gd name="T54" fmla="*/ 2147483647 w 167"/>
                <a:gd name="T55" fmla="*/ 2147483647 h 161"/>
                <a:gd name="T56" fmla="*/ 2147483647 w 167"/>
                <a:gd name="T57" fmla="*/ 2147483647 h 161"/>
                <a:gd name="T58" fmla="*/ 2147483647 w 167"/>
                <a:gd name="T59" fmla="*/ 2147483647 h 161"/>
                <a:gd name="T60" fmla="*/ 2147483647 w 167"/>
                <a:gd name="T61" fmla="*/ 2147483647 h 161"/>
                <a:gd name="T62" fmla="*/ 2147483647 w 167"/>
                <a:gd name="T63" fmla="*/ 2147483647 h 161"/>
                <a:gd name="T64" fmla="*/ 0 w 167"/>
                <a:gd name="T65" fmla="*/ 2147483647 h 161"/>
                <a:gd name="T66" fmla="*/ 2147483647 w 167"/>
                <a:gd name="T67" fmla="*/ 2147483647 h 161"/>
                <a:gd name="T68" fmla="*/ 2147483647 w 167"/>
                <a:gd name="T69" fmla="*/ 2147483647 h 161"/>
                <a:gd name="T70" fmla="*/ 2147483647 w 167"/>
                <a:gd name="T71" fmla="*/ 2147483647 h 161"/>
                <a:gd name="T72" fmla="*/ 2147483647 w 167"/>
                <a:gd name="T73" fmla="*/ 2147483647 h 161"/>
                <a:gd name="T74" fmla="*/ 2147483647 w 167"/>
                <a:gd name="T75" fmla="*/ 2147483647 h 161"/>
                <a:gd name="T76" fmla="*/ 2147483647 w 167"/>
                <a:gd name="T77" fmla="*/ 2147483647 h 16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67"/>
                <a:gd name="T118" fmla="*/ 0 h 161"/>
                <a:gd name="T119" fmla="*/ 167 w 167"/>
                <a:gd name="T120" fmla="*/ 161 h 16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67" h="161">
                  <a:moveTo>
                    <a:pt x="43" y="84"/>
                  </a:moveTo>
                  <a:lnTo>
                    <a:pt x="45" y="65"/>
                  </a:lnTo>
                  <a:lnTo>
                    <a:pt x="55" y="61"/>
                  </a:lnTo>
                  <a:lnTo>
                    <a:pt x="57" y="30"/>
                  </a:lnTo>
                  <a:lnTo>
                    <a:pt x="47" y="25"/>
                  </a:lnTo>
                  <a:lnTo>
                    <a:pt x="47" y="9"/>
                  </a:lnTo>
                  <a:lnTo>
                    <a:pt x="57" y="0"/>
                  </a:lnTo>
                  <a:lnTo>
                    <a:pt x="108" y="47"/>
                  </a:lnTo>
                  <a:lnTo>
                    <a:pt x="137" y="63"/>
                  </a:lnTo>
                  <a:lnTo>
                    <a:pt x="158" y="44"/>
                  </a:lnTo>
                  <a:lnTo>
                    <a:pt x="163" y="46"/>
                  </a:lnTo>
                  <a:lnTo>
                    <a:pt x="152" y="65"/>
                  </a:lnTo>
                  <a:lnTo>
                    <a:pt x="167" y="82"/>
                  </a:lnTo>
                  <a:lnTo>
                    <a:pt x="163" y="89"/>
                  </a:lnTo>
                  <a:lnTo>
                    <a:pt x="146" y="99"/>
                  </a:lnTo>
                  <a:lnTo>
                    <a:pt x="127" y="93"/>
                  </a:lnTo>
                  <a:lnTo>
                    <a:pt x="104" y="118"/>
                  </a:lnTo>
                  <a:lnTo>
                    <a:pt x="102" y="141"/>
                  </a:lnTo>
                  <a:lnTo>
                    <a:pt x="89" y="139"/>
                  </a:lnTo>
                  <a:lnTo>
                    <a:pt x="55" y="108"/>
                  </a:lnTo>
                  <a:lnTo>
                    <a:pt x="47" y="116"/>
                  </a:lnTo>
                  <a:lnTo>
                    <a:pt x="51" y="123"/>
                  </a:lnTo>
                  <a:lnTo>
                    <a:pt x="38" y="123"/>
                  </a:lnTo>
                  <a:lnTo>
                    <a:pt x="30" y="116"/>
                  </a:lnTo>
                  <a:lnTo>
                    <a:pt x="21" y="125"/>
                  </a:lnTo>
                  <a:lnTo>
                    <a:pt x="38" y="133"/>
                  </a:lnTo>
                  <a:lnTo>
                    <a:pt x="43" y="144"/>
                  </a:lnTo>
                  <a:lnTo>
                    <a:pt x="34" y="150"/>
                  </a:lnTo>
                  <a:lnTo>
                    <a:pt x="26" y="139"/>
                  </a:lnTo>
                  <a:lnTo>
                    <a:pt x="15" y="161"/>
                  </a:lnTo>
                  <a:lnTo>
                    <a:pt x="4" y="156"/>
                  </a:lnTo>
                  <a:lnTo>
                    <a:pt x="11" y="137"/>
                  </a:lnTo>
                  <a:lnTo>
                    <a:pt x="0" y="129"/>
                  </a:lnTo>
                  <a:lnTo>
                    <a:pt x="2" y="110"/>
                  </a:lnTo>
                  <a:lnTo>
                    <a:pt x="19" y="97"/>
                  </a:lnTo>
                  <a:lnTo>
                    <a:pt x="13" y="91"/>
                  </a:lnTo>
                  <a:lnTo>
                    <a:pt x="21" y="84"/>
                  </a:lnTo>
                  <a:lnTo>
                    <a:pt x="34" y="87"/>
                  </a:lnTo>
                  <a:lnTo>
                    <a:pt x="43" y="8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3" name="Freeform 119"/>
            <p:cNvSpPr>
              <a:spLocks/>
            </p:cNvSpPr>
            <p:nvPr/>
          </p:nvSpPr>
          <p:spPr bwMode="auto">
            <a:xfrm>
              <a:off x="4945196" y="3497189"/>
              <a:ext cx="168688" cy="196720"/>
            </a:xfrm>
            <a:custGeom>
              <a:avLst/>
              <a:gdLst>
                <a:gd name="T0" fmla="*/ 2147483647 w 310"/>
                <a:gd name="T1" fmla="*/ 2147483647 h 315"/>
                <a:gd name="T2" fmla="*/ 2147483647 w 310"/>
                <a:gd name="T3" fmla="*/ 2147483647 h 315"/>
                <a:gd name="T4" fmla="*/ 2147483647 w 310"/>
                <a:gd name="T5" fmla="*/ 2147483647 h 315"/>
                <a:gd name="T6" fmla="*/ 2147483647 w 310"/>
                <a:gd name="T7" fmla="*/ 2147483647 h 315"/>
                <a:gd name="T8" fmla="*/ 2147483647 w 310"/>
                <a:gd name="T9" fmla="*/ 2147483647 h 315"/>
                <a:gd name="T10" fmla="*/ 2147483647 w 310"/>
                <a:gd name="T11" fmla="*/ 2147483647 h 315"/>
                <a:gd name="T12" fmla="*/ 2147483647 w 310"/>
                <a:gd name="T13" fmla="*/ 2147483647 h 315"/>
                <a:gd name="T14" fmla="*/ 2147483647 w 310"/>
                <a:gd name="T15" fmla="*/ 2147483647 h 315"/>
                <a:gd name="T16" fmla="*/ 2147483647 w 310"/>
                <a:gd name="T17" fmla="*/ 2147483647 h 315"/>
                <a:gd name="T18" fmla="*/ 2147483647 w 310"/>
                <a:gd name="T19" fmla="*/ 2147483647 h 315"/>
                <a:gd name="T20" fmla="*/ 2147483647 w 310"/>
                <a:gd name="T21" fmla="*/ 2147483647 h 315"/>
                <a:gd name="T22" fmla="*/ 2147483647 w 310"/>
                <a:gd name="T23" fmla="*/ 2147483647 h 315"/>
                <a:gd name="T24" fmla="*/ 2147483647 w 310"/>
                <a:gd name="T25" fmla="*/ 2147483647 h 315"/>
                <a:gd name="T26" fmla="*/ 2147483647 w 310"/>
                <a:gd name="T27" fmla="*/ 2147483647 h 315"/>
                <a:gd name="T28" fmla="*/ 2147483647 w 310"/>
                <a:gd name="T29" fmla="*/ 2147483647 h 315"/>
                <a:gd name="T30" fmla="*/ 2147483647 w 310"/>
                <a:gd name="T31" fmla="*/ 2147483647 h 315"/>
                <a:gd name="T32" fmla="*/ 2147483647 w 310"/>
                <a:gd name="T33" fmla="*/ 2147483647 h 315"/>
                <a:gd name="T34" fmla="*/ 2147483647 w 310"/>
                <a:gd name="T35" fmla="*/ 2147483647 h 315"/>
                <a:gd name="T36" fmla="*/ 2147483647 w 310"/>
                <a:gd name="T37" fmla="*/ 2147483647 h 315"/>
                <a:gd name="T38" fmla="*/ 2147483647 w 310"/>
                <a:gd name="T39" fmla="*/ 2147483647 h 315"/>
                <a:gd name="T40" fmla="*/ 2147483647 w 310"/>
                <a:gd name="T41" fmla="*/ 2147483647 h 315"/>
                <a:gd name="T42" fmla="*/ 0 w 310"/>
                <a:gd name="T43" fmla="*/ 2147483647 h 315"/>
                <a:gd name="T44" fmla="*/ 2147483647 w 310"/>
                <a:gd name="T45" fmla="*/ 2147483647 h 315"/>
                <a:gd name="T46" fmla="*/ 2147483647 w 310"/>
                <a:gd name="T47" fmla="*/ 2147483647 h 315"/>
                <a:gd name="T48" fmla="*/ 2147483647 w 310"/>
                <a:gd name="T49" fmla="*/ 2147483647 h 315"/>
                <a:gd name="T50" fmla="*/ 2147483647 w 310"/>
                <a:gd name="T51" fmla="*/ 2147483647 h 315"/>
                <a:gd name="T52" fmla="*/ 2147483647 w 310"/>
                <a:gd name="T53" fmla="*/ 2147483647 h 315"/>
                <a:gd name="T54" fmla="*/ 2147483647 w 310"/>
                <a:gd name="T55" fmla="*/ 2147483647 h 315"/>
                <a:gd name="T56" fmla="*/ 2147483647 w 310"/>
                <a:gd name="T57" fmla="*/ 2147483647 h 315"/>
                <a:gd name="T58" fmla="*/ 2147483647 w 310"/>
                <a:gd name="T59" fmla="*/ 2147483647 h 315"/>
                <a:gd name="T60" fmla="*/ 2147483647 w 310"/>
                <a:gd name="T61" fmla="*/ 2147483647 h 315"/>
                <a:gd name="T62" fmla="*/ 2147483647 w 310"/>
                <a:gd name="T63" fmla="*/ 2147483647 h 315"/>
                <a:gd name="T64" fmla="*/ 2147483647 w 310"/>
                <a:gd name="T65" fmla="*/ 2147483647 h 315"/>
                <a:gd name="T66" fmla="*/ 2147483647 w 310"/>
                <a:gd name="T67" fmla="*/ 2147483647 h 315"/>
                <a:gd name="T68" fmla="*/ 2147483647 w 310"/>
                <a:gd name="T69" fmla="*/ 2147483647 h 315"/>
                <a:gd name="T70" fmla="*/ 2147483647 w 310"/>
                <a:gd name="T71" fmla="*/ 2147483647 h 315"/>
                <a:gd name="T72" fmla="*/ 2147483647 w 310"/>
                <a:gd name="T73" fmla="*/ 2147483647 h 315"/>
                <a:gd name="T74" fmla="*/ 2147483647 w 310"/>
                <a:gd name="T75" fmla="*/ 2147483647 h 315"/>
                <a:gd name="T76" fmla="*/ 2147483647 w 310"/>
                <a:gd name="T77" fmla="*/ 2147483647 h 315"/>
                <a:gd name="T78" fmla="*/ 2147483647 w 310"/>
                <a:gd name="T79" fmla="*/ 2147483647 h 31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10"/>
                <a:gd name="T121" fmla="*/ 0 h 315"/>
                <a:gd name="T122" fmla="*/ 310 w 310"/>
                <a:gd name="T123" fmla="*/ 315 h 31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10" h="315">
                  <a:moveTo>
                    <a:pt x="291" y="121"/>
                  </a:moveTo>
                  <a:lnTo>
                    <a:pt x="283" y="134"/>
                  </a:lnTo>
                  <a:lnTo>
                    <a:pt x="291" y="163"/>
                  </a:lnTo>
                  <a:lnTo>
                    <a:pt x="287" y="182"/>
                  </a:lnTo>
                  <a:lnTo>
                    <a:pt x="277" y="193"/>
                  </a:lnTo>
                  <a:lnTo>
                    <a:pt x="283" y="209"/>
                  </a:lnTo>
                  <a:lnTo>
                    <a:pt x="273" y="218"/>
                  </a:lnTo>
                  <a:lnTo>
                    <a:pt x="273" y="233"/>
                  </a:lnTo>
                  <a:lnTo>
                    <a:pt x="258" y="245"/>
                  </a:lnTo>
                  <a:lnTo>
                    <a:pt x="253" y="229"/>
                  </a:lnTo>
                  <a:lnTo>
                    <a:pt x="239" y="229"/>
                  </a:lnTo>
                  <a:lnTo>
                    <a:pt x="237" y="247"/>
                  </a:lnTo>
                  <a:lnTo>
                    <a:pt x="232" y="256"/>
                  </a:lnTo>
                  <a:lnTo>
                    <a:pt x="224" y="256"/>
                  </a:lnTo>
                  <a:lnTo>
                    <a:pt x="228" y="235"/>
                  </a:lnTo>
                  <a:lnTo>
                    <a:pt x="216" y="237"/>
                  </a:lnTo>
                  <a:lnTo>
                    <a:pt x="205" y="254"/>
                  </a:lnTo>
                  <a:lnTo>
                    <a:pt x="167" y="258"/>
                  </a:lnTo>
                  <a:lnTo>
                    <a:pt x="154" y="273"/>
                  </a:lnTo>
                  <a:lnTo>
                    <a:pt x="142" y="296"/>
                  </a:lnTo>
                  <a:lnTo>
                    <a:pt x="129" y="283"/>
                  </a:lnTo>
                  <a:lnTo>
                    <a:pt x="127" y="266"/>
                  </a:lnTo>
                  <a:lnTo>
                    <a:pt x="118" y="260"/>
                  </a:lnTo>
                  <a:lnTo>
                    <a:pt x="112" y="267"/>
                  </a:lnTo>
                  <a:lnTo>
                    <a:pt x="104" y="264"/>
                  </a:lnTo>
                  <a:lnTo>
                    <a:pt x="112" y="250"/>
                  </a:lnTo>
                  <a:lnTo>
                    <a:pt x="57" y="264"/>
                  </a:lnTo>
                  <a:lnTo>
                    <a:pt x="59" y="277"/>
                  </a:lnTo>
                  <a:lnTo>
                    <a:pt x="72" y="275"/>
                  </a:lnTo>
                  <a:lnTo>
                    <a:pt x="78" y="267"/>
                  </a:lnTo>
                  <a:lnTo>
                    <a:pt x="95" y="266"/>
                  </a:lnTo>
                  <a:lnTo>
                    <a:pt x="104" y="281"/>
                  </a:lnTo>
                  <a:lnTo>
                    <a:pt x="91" y="296"/>
                  </a:lnTo>
                  <a:lnTo>
                    <a:pt x="76" y="286"/>
                  </a:lnTo>
                  <a:lnTo>
                    <a:pt x="64" y="298"/>
                  </a:lnTo>
                  <a:lnTo>
                    <a:pt x="66" y="315"/>
                  </a:lnTo>
                  <a:lnTo>
                    <a:pt x="34" y="302"/>
                  </a:lnTo>
                  <a:lnTo>
                    <a:pt x="40" y="294"/>
                  </a:lnTo>
                  <a:lnTo>
                    <a:pt x="49" y="285"/>
                  </a:lnTo>
                  <a:lnTo>
                    <a:pt x="45" y="273"/>
                  </a:lnTo>
                  <a:lnTo>
                    <a:pt x="28" y="281"/>
                  </a:lnTo>
                  <a:lnTo>
                    <a:pt x="19" y="273"/>
                  </a:lnTo>
                  <a:lnTo>
                    <a:pt x="9" y="277"/>
                  </a:lnTo>
                  <a:lnTo>
                    <a:pt x="0" y="273"/>
                  </a:lnTo>
                  <a:lnTo>
                    <a:pt x="0" y="256"/>
                  </a:lnTo>
                  <a:lnTo>
                    <a:pt x="23" y="247"/>
                  </a:lnTo>
                  <a:lnTo>
                    <a:pt x="59" y="216"/>
                  </a:lnTo>
                  <a:lnTo>
                    <a:pt x="72" y="222"/>
                  </a:lnTo>
                  <a:lnTo>
                    <a:pt x="112" y="216"/>
                  </a:lnTo>
                  <a:lnTo>
                    <a:pt x="123" y="207"/>
                  </a:lnTo>
                  <a:lnTo>
                    <a:pt x="123" y="214"/>
                  </a:lnTo>
                  <a:lnTo>
                    <a:pt x="135" y="220"/>
                  </a:lnTo>
                  <a:lnTo>
                    <a:pt x="137" y="214"/>
                  </a:lnTo>
                  <a:lnTo>
                    <a:pt x="146" y="210"/>
                  </a:lnTo>
                  <a:lnTo>
                    <a:pt x="142" y="199"/>
                  </a:lnTo>
                  <a:lnTo>
                    <a:pt x="159" y="184"/>
                  </a:lnTo>
                  <a:lnTo>
                    <a:pt x="159" y="165"/>
                  </a:lnTo>
                  <a:lnTo>
                    <a:pt x="175" y="152"/>
                  </a:lnTo>
                  <a:lnTo>
                    <a:pt x="178" y="157"/>
                  </a:lnTo>
                  <a:lnTo>
                    <a:pt x="169" y="167"/>
                  </a:lnTo>
                  <a:lnTo>
                    <a:pt x="169" y="180"/>
                  </a:lnTo>
                  <a:lnTo>
                    <a:pt x="205" y="165"/>
                  </a:lnTo>
                  <a:lnTo>
                    <a:pt x="251" y="104"/>
                  </a:lnTo>
                  <a:lnTo>
                    <a:pt x="258" y="89"/>
                  </a:lnTo>
                  <a:lnTo>
                    <a:pt x="262" y="72"/>
                  </a:lnTo>
                  <a:lnTo>
                    <a:pt x="241" y="64"/>
                  </a:lnTo>
                  <a:lnTo>
                    <a:pt x="262" y="38"/>
                  </a:lnTo>
                  <a:lnTo>
                    <a:pt x="249" y="30"/>
                  </a:lnTo>
                  <a:lnTo>
                    <a:pt x="270" y="11"/>
                  </a:lnTo>
                  <a:lnTo>
                    <a:pt x="273" y="21"/>
                  </a:lnTo>
                  <a:lnTo>
                    <a:pt x="287" y="19"/>
                  </a:lnTo>
                  <a:lnTo>
                    <a:pt x="279" y="13"/>
                  </a:lnTo>
                  <a:lnTo>
                    <a:pt x="281" y="0"/>
                  </a:lnTo>
                  <a:lnTo>
                    <a:pt x="292" y="2"/>
                  </a:lnTo>
                  <a:lnTo>
                    <a:pt x="296" y="32"/>
                  </a:lnTo>
                  <a:lnTo>
                    <a:pt x="306" y="38"/>
                  </a:lnTo>
                  <a:lnTo>
                    <a:pt x="310" y="98"/>
                  </a:lnTo>
                  <a:lnTo>
                    <a:pt x="300" y="106"/>
                  </a:lnTo>
                  <a:lnTo>
                    <a:pt x="302" y="131"/>
                  </a:lnTo>
                  <a:lnTo>
                    <a:pt x="298" y="136"/>
                  </a:lnTo>
                  <a:lnTo>
                    <a:pt x="291" y="12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4" name="Freeform 120"/>
            <p:cNvSpPr>
              <a:spLocks/>
            </p:cNvSpPr>
            <p:nvPr/>
          </p:nvSpPr>
          <p:spPr bwMode="auto">
            <a:xfrm>
              <a:off x="4923145" y="3669465"/>
              <a:ext cx="41896" cy="64021"/>
            </a:xfrm>
            <a:custGeom>
              <a:avLst/>
              <a:gdLst>
                <a:gd name="T0" fmla="*/ 2147483647 w 76"/>
                <a:gd name="T1" fmla="*/ 2147483647 h 105"/>
                <a:gd name="T2" fmla="*/ 2147483647 w 76"/>
                <a:gd name="T3" fmla="*/ 2147483647 h 105"/>
                <a:gd name="T4" fmla="*/ 2147483647 w 76"/>
                <a:gd name="T5" fmla="*/ 2147483647 h 105"/>
                <a:gd name="T6" fmla="*/ 2147483647 w 76"/>
                <a:gd name="T7" fmla="*/ 2147483647 h 105"/>
                <a:gd name="T8" fmla="*/ 2147483647 w 76"/>
                <a:gd name="T9" fmla="*/ 2147483647 h 105"/>
                <a:gd name="T10" fmla="*/ 2147483647 w 76"/>
                <a:gd name="T11" fmla="*/ 2147483647 h 105"/>
                <a:gd name="T12" fmla="*/ 2147483647 w 76"/>
                <a:gd name="T13" fmla="*/ 2147483647 h 105"/>
                <a:gd name="T14" fmla="*/ 2147483647 w 76"/>
                <a:gd name="T15" fmla="*/ 2147483647 h 105"/>
                <a:gd name="T16" fmla="*/ 0 w 76"/>
                <a:gd name="T17" fmla="*/ 2147483647 h 105"/>
                <a:gd name="T18" fmla="*/ 2147483647 w 76"/>
                <a:gd name="T19" fmla="*/ 2147483647 h 105"/>
                <a:gd name="T20" fmla="*/ 2147483647 w 76"/>
                <a:gd name="T21" fmla="*/ 0 h 105"/>
                <a:gd name="T22" fmla="*/ 2147483647 w 76"/>
                <a:gd name="T23" fmla="*/ 2147483647 h 105"/>
                <a:gd name="T24" fmla="*/ 2147483647 w 76"/>
                <a:gd name="T25" fmla="*/ 2147483647 h 105"/>
                <a:gd name="T26" fmla="*/ 2147483647 w 76"/>
                <a:gd name="T27" fmla="*/ 2147483647 h 105"/>
                <a:gd name="T28" fmla="*/ 2147483647 w 76"/>
                <a:gd name="T29" fmla="*/ 2147483647 h 105"/>
                <a:gd name="T30" fmla="*/ 2147483647 w 76"/>
                <a:gd name="T31" fmla="*/ 2147483647 h 105"/>
                <a:gd name="T32" fmla="*/ 2147483647 w 76"/>
                <a:gd name="T33" fmla="*/ 2147483647 h 10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"/>
                <a:gd name="T52" fmla="*/ 0 h 105"/>
                <a:gd name="T53" fmla="*/ 76 w 76"/>
                <a:gd name="T54" fmla="*/ 105 h 10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" h="105">
                  <a:moveTo>
                    <a:pt x="65" y="42"/>
                  </a:moveTo>
                  <a:lnTo>
                    <a:pt x="57" y="72"/>
                  </a:lnTo>
                  <a:lnTo>
                    <a:pt x="61" y="86"/>
                  </a:lnTo>
                  <a:lnTo>
                    <a:pt x="42" y="105"/>
                  </a:lnTo>
                  <a:lnTo>
                    <a:pt x="23" y="89"/>
                  </a:lnTo>
                  <a:lnTo>
                    <a:pt x="23" y="65"/>
                  </a:lnTo>
                  <a:lnTo>
                    <a:pt x="11" y="63"/>
                  </a:lnTo>
                  <a:lnTo>
                    <a:pt x="15" y="49"/>
                  </a:lnTo>
                  <a:lnTo>
                    <a:pt x="0" y="30"/>
                  </a:lnTo>
                  <a:lnTo>
                    <a:pt x="13" y="13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65" y="10"/>
                  </a:lnTo>
                  <a:lnTo>
                    <a:pt x="57" y="25"/>
                  </a:lnTo>
                  <a:lnTo>
                    <a:pt x="67" y="23"/>
                  </a:lnTo>
                  <a:lnTo>
                    <a:pt x="76" y="36"/>
                  </a:lnTo>
                  <a:lnTo>
                    <a:pt x="65" y="4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5" name="Freeform 121"/>
            <p:cNvSpPr>
              <a:spLocks/>
            </p:cNvSpPr>
            <p:nvPr/>
          </p:nvSpPr>
          <p:spPr bwMode="auto">
            <a:xfrm>
              <a:off x="4914325" y="3784703"/>
              <a:ext cx="12128" cy="18624"/>
            </a:xfrm>
            <a:custGeom>
              <a:avLst/>
              <a:gdLst>
                <a:gd name="T0" fmla="*/ 0 w 23"/>
                <a:gd name="T1" fmla="*/ 2147483647 h 31"/>
                <a:gd name="T2" fmla="*/ 2147483647 w 23"/>
                <a:gd name="T3" fmla="*/ 0 h 31"/>
                <a:gd name="T4" fmla="*/ 2147483647 w 23"/>
                <a:gd name="T5" fmla="*/ 2147483647 h 31"/>
                <a:gd name="T6" fmla="*/ 2147483647 w 23"/>
                <a:gd name="T7" fmla="*/ 2147483647 h 31"/>
                <a:gd name="T8" fmla="*/ 0 w 23"/>
                <a:gd name="T9" fmla="*/ 2147483647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31"/>
                <a:gd name="T17" fmla="*/ 23 w 23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31">
                  <a:moveTo>
                    <a:pt x="0" y="17"/>
                  </a:moveTo>
                  <a:lnTo>
                    <a:pt x="23" y="0"/>
                  </a:lnTo>
                  <a:lnTo>
                    <a:pt x="21" y="17"/>
                  </a:lnTo>
                  <a:lnTo>
                    <a:pt x="2" y="31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6" name="Freeform 122"/>
            <p:cNvSpPr>
              <a:spLocks/>
            </p:cNvSpPr>
            <p:nvPr/>
          </p:nvSpPr>
          <p:spPr bwMode="auto">
            <a:xfrm>
              <a:off x="4897787" y="3814968"/>
              <a:ext cx="11025" cy="18624"/>
            </a:xfrm>
            <a:custGeom>
              <a:avLst/>
              <a:gdLst>
                <a:gd name="T0" fmla="*/ 2147483647 w 20"/>
                <a:gd name="T1" fmla="*/ 0 h 30"/>
                <a:gd name="T2" fmla="*/ 2147483647 w 20"/>
                <a:gd name="T3" fmla="*/ 2147483647 h 30"/>
                <a:gd name="T4" fmla="*/ 2147483647 w 20"/>
                <a:gd name="T5" fmla="*/ 2147483647 h 30"/>
                <a:gd name="T6" fmla="*/ 2147483647 w 20"/>
                <a:gd name="T7" fmla="*/ 2147483647 h 30"/>
                <a:gd name="T8" fmla="*/ 0 w 20"/>
                <a:gd name="T9" fmla="*/ 2147483647 h 30"/>
                <a:gd name="T10" fmla="*/ 2147483647 w 20"/>
                <a:gd name="T11" fmla="*/ 2147483647 h 30"/>
                <a:gd name="T12" fmla="*/ 2147483647 w 20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30"/>
                <a:gd name="T23" fmla="*/ 20 w 20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30">
                  <a:moveTo>
                    <a:pt x="17" y="0"/>
                  </a:moveTo>
                  <a:lnTo>
                    <a:pt x="20" y="3"/>
                  </a:lnTo>
                  <a:lnTo>
                    <a:pt x="17" y="21"/>
                  </a:lnTo>
                  <a:lnTo>
                    <a:pt x="7" y="30"/>
                  </a:lnTo>
                  <a:lnTo>
                    <a:pt x="0" y="24"/>
                  </a:lnTo>
                  <a:lnTo>
                    <a:pt x="13" y="9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7" name="Freeform 123"/>
            <p:cNvSpPr>
              <a:spLocks/>
            </p:cNvSpPr>
            <p:nvPr/>
          </p:nvSpPr>
          <p:spPr bwMode="auto">
            <a:xfrm>
              <a:off x="4854788" y="3852217"/>
              <a:ext cx="13230" cy="12804"/>
            </a:xfrm>
            <a:custGeom>
              <a:avLst/>
              <a:gdLst>
                <a:gd name="T0" fmla="*/ 2147483647 w 24"/>
                <a:gd name="T1" fmla="*/ 0 h 19"/>
                <a:gd name="T2" fmla="*/ 2147483647 w 24"/>
                <a:gd name="T3" fmla="*/ 2147483647 h 19"/>
                <a:gd name="T4" fmla="*/ 2147483647 w 24"/>
                <a:gd name="T5" fmla="*/ 2147483647 h 19"/>
                <a:gd name="T6" fmla="*/ 2147483647 w 24"/>
                <a:gd name="T7" fmla="*/ 2147483647 h 19"/>
                <a:gd name="T8" fmla="*/ 0 w 24"/>
                <a:gd name="T9" fmla="*/ 2147483647 h 19"/>
                <a:gd name="T10" fmla="*/ 2147483647 w 24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19"/>
                <a:gd name="T20" fmla="*/ 24 w 24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19">
                  <a:moveTo>
                    <a:pt x="13" y="0"/>
                  </a:moveTo>
                  <a:lnTo>
                    <a:pt x="24" y="14"/>
                  </a:lnTo>
                  <a:lnTo>
                    <a:pt x="19" y="19"/>
                  </a:lnTo>
                  <a:lnTo>
                    <a:pt x="9" y="10"/>
                  </a:lnTo>
                  <a:lnTo>
                    <a:pt x="0" y="8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8" name="Freeform 124"/>
            <p:cNvSpPr>
              <a:spLocks/>
            </p:cNvSpPr>
            <p:nvPr/>
          </p:nvSpPr>
          <p:spPr bwMode="auto">
            <a:xfrm>
              <a:off x="4832737" y="3861529"/>
              <a:ext cx="16538" cy="8148"/>
            </a:xfrm>
            <a:custGeom>
              <a:avLst/>
              <a:gdLst>
                <a:gd name="T0" fmla="*/ 2147483647 w 30"/>
                <a:gd name="T1" fmla="*/ 2147483647 h 15"/>
                <a:gd name="T2" fmla="*/ 2147483647 w 30"/>
                <a:gd name="T3" fmla="*/ 0 h 15"/>
                <a:gd name="T4" fmla="*/ 2147483647 w 30"/>
                <a:gd name="T5" fmla="*/ 0 h 15"/>
                <a:gd name="T6" fmla="*/ 2147483647 w 30"/>
                <a:gd name="T7" fmla="*/ 2147483647 h 15"/>
                <a:gd name="T8" fmla="*/ 2147483647 w 30"/>
                <a:gd name="T9" fmla="*/ 2147483647 h 15"/>
                <a:gd name="T10" fmla="*/ 2147483647 w 30"/>
                <a:gd name="T11" fmla="*/ 2147483647 h 15"/>
                <a:gd name="T12" fmla="*/ 0 w 30"/>
                <a:gd name="T13" fmla="*/ 2147483647 h 15"/>
                <a:gd name="T14" fmla="*/ 2147483647 w 30"/>
                <a:gd name="T15" fmla="*/ 2147483647 h 15"/>
                <a:gd name="T16" fmla="*/ 2147483647 w 30"/>
                <a:gd name="T17" fmla="*/ 2147483647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15"/>
                <a:gd name="T29" fmla="*/ 30 w 30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15">
                  <a:moveTo>
                    <a:pt x="15" y="7"/>
                  </a:moveTo>
                  <a:lnTo>
                    <a:pt x="19" y="0"/>
                  </a:lnTo>
                  <a:lnTo>
                    <a:pt x="30" y="0"/>
                  </a:lnTo>
                  <a:lnTo>
                    <a:pt x="24" y="9"/>
                  </a:lnTo>
                  <a:lnTo>
                    <a:pt x="15" y="7"/>
                  </a:lnTo>
                  <a:lnTo>
                    <a:pt x="9" y="15"/>
                  </a:lnTo>
                  <a:lnTo>
                    <a:pt x="0" y="9"/>
                  </a:lnTo>
                  <a:lnTo>
                    <a:pt x="5" y="2"/>
                  </a:lnTo>
                  <a:lnTo>
                    <a:pt x="15" y="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49" name="Freeform 125"/>
            <p:cNvSpPr>
              <a:spLocks/>
            </p:cNvSpPr>
            <p:nvPr/>
          </p:nvSpPr>
          <p:spPr bwMode="auto">
            <a:xfrm>
              <a:off x="3591282" y="3984916"/>
              <a:ext cx="168688" cy="104762"/>
            </a:xfrm>
            <a:custGeom>
              <a:avLst/>
              <a:gdLst>
                <a:gd name="T0" fmla="*/ 2147483647 w 310"/>
                <a:gd name="T1" fmla="*/ 2147483647 h 169"/>
                <a:gd name="T2" fmla="*/ 2147483647 w 310"/>
                <a:gd name="T3" fmla="*/ 2147483647 h 169"/>
                <a:gd name="T4" fmla="*/ 2147483647 w 310"/>
                <a:gd name="T5" fmla="*/ 2147483647 h 169"/>
                <a:gd name="T6" fmla="*/ 2147483647 w 310"/>
                <a:gd name="T7" fmla="*/ 2147483647 h 169"/>
                <a:gd name="T8" fmla="*/ 2147483647 w 310"/>
                <a:gd name="T9" fmla="*/ 2147483647 h 169"/>
                <a:gd name="T10" fmla="*/ 2147483647 w 310"/>
                <a:gd name="T11" fmla="*/ 2147483647 h 169"/>
                <a:gd name="T12" fmla="*/ 2147483647 w 310"/>
                <a:gd name="T13" fmla="*/ 2147483647 h 169"/>
                <a:gd name="T14" fmla="*/ 2147483647 w 310"/>
                <a:gd name="T15" fmla="*/ 2147483647 h 169"/>
                <a:gd name="T16" fmla="*/ 2147483647 w 310"/>
                <a:gd name="T17" fmla="*/ 2147483647 h 169"/>
                <a:gd name="T18" fmla="*/ 2147483647 w 310"/>
                <a:gd name="T19" fmla="*/ 2147483647 h 169"/>
                <a:gd name="T20" fmla="*/ 2147483647 w 310"/>
                <a:gd name="T21" fmla="*/ 2147483647 h 169"/>
                <a:gd name="T22" fmla="*/ 2147483647 w 310"/>
                <a:gd name="T23" fmla="*/ 2147483647 h 169"/>
                <a:gd name="T24" fmla="*/ 2147483647 w 310"/>
                <a:gd name="T25" fmla="*/ 2147483647 h 169"/>
                <a:gd name="T26" fmla="*/ 2147483647 w 310"/>
                <a:gd name="T27" fmla="*/ 2147483647 h 169"/>
                <a:gd name="T28" fmla="*/ 2147483647 w 310"/>
                <a:gd name="T29" fmla="*/ 2147483647 h 169"/>
                <a:gd name="T30" fmla="*/ 0 w 310"/>
                <a:gd name="T31" fmla="*/ 2147483647 h 169"/>
                <a:gd name="T32" fmla="*/ 2147483647 w 310"/>
                <a:gd name="T33" fmla="*/ 2147483647 h 169"/>
                <a:gd name="T34" fmla="*/ 2147483647 w 310"/>
                <a:gd name="T35" fmla="*/ 2147483647 h 169"/>
                <a:gd name="T36" fmla="*/ 2147483647 w 310"/>
                <a:gd name="T37" fmla="*/ 2147483647 h 169"/>
                <a:gd name="T38" fmla="*/ 2147483647 w 310"/>
                <a:gd name="T39" fmla="*/ 2147483647 h 169"/>
                <a:gd name="T40" fmla="*/ 2147483647 w 310"/>
                <a:gd name="T41" fmla="*/ 2147483647 h 169"/>
                <a:gd name="T42" fmla="*/ 2147483647 w 310"/>
                <a:gd name="T43" fmla="*/ 2147483647 h 169"/>
                <a:gd name="T44" fmla="*/ 2147483647 w 310"/>
                <a:gd name="T45" fmla="*/ 2147483647 h 169"/>
                <a:gd name="T46" fmla="*/ 2147483647 w 310"/>
                <a:gd name="T47" fmla="*/ 2147483647 h 169"/>
                <a:gd name="T48" fmla="*/ 2147483647 w 310"/>
                <a:gd name="T49" fmla="*/ 2147483647 h 169"/>
                <a:gd name="T50" fmla="*/ 2147483647 w 310"/>
                <a:gd name="T51" fmla="*/ 0 h 169"/>
                <a:gd name="T52" fmla="*/ 2147483647 w 310"/>
                <a:gd name="T53" fmla="*/ 2147483647 h 16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10"/>
                <a:gd name="T82" fmla="*/ 0 h 169"/>
                <a:gd name="T83" fmla="*/ 310 w 310"/>
                <a:gd name="T84" fmla="*/ 169 h 16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10" h="169">
                  <a:moveTo>
                    <a:pt x="310" y="44"/>
                  </a:moveTo>
                  <a:lnTo>
                    <a:pt x="278" y="57"/>
                  </a:lnTo>
                  <a:lnTo>
                    <a:pt x="287" y="74"/>
                  </a:lnTo>
                  <a:lnTo>
                    <a:pt x="206" y="101"/>
                  </a:lnTo>
                  <a:lnTo>
                    <a:pt x="187" y="120"/>
                  </a:lnTo>
                  <a:lnTo>
                    <a:pt x="166" y="116"/>
                  </a:lnTo>
                  <a:lnTo>
                    <a:pt x="137" y="135"/>
                  </a:lnTo>
                  <a:lnTo>
                    <a:pt x="109" y="135"/>
                  </a:lnTo>
                  <a:lnTo>
                    <a:pt x="76" y="164"/>
                  </a:lnTo>
                  <a:lnTo>
                    <a:pt x="42" y="169"/>
                  </a:lnTo>
                  <a:lnTo>
                    <a:pt x="38" y="166"/>
                  </a:lnTo>
                  <a:lnTo>
                    <a:pt x="23" y="141"/>
                  </a:lnTo>
                  <a:lnTo>
                    <a:pt x="23" y="128"/>
                  </a:lnTo>
                  <a:lnTo>
                    <a:pt x="10" y="110"/>
                  </a:lnTo>
                  <a:lnTo>
                    <a:pt x="14" y="105"/>
                  </a:lnTo>
                  <a:lnTo>
                    <a:pt x="0" y="78"/>
                  </a:lnTo>
                  <a:lnTo>
                    <a:pt x="2" y="69"/>
                  </a:lnTo>
                  <a:lnTo>
                    <a:pt x="15" y="74"/>
                  </a:lnTo>
                  <a:lnTo>
                    <a:pt x="14" y="48"/>
                  </a:lnTo>
                  <a:lnTo>
                    <a:pt x="19" y="46"/>
                  </a:lnTo>
                  <a:lnTo>
                    <a:pt x="27" y="25"/>
                  </a:lnTo>
                  <a:lnTo>
                    <a:pt x="90" y="42"/>
                  </a:lnTo>
                  <a:lnTo>
                    <a:pt x="86" y="88"/>
                  </a:lnTo>
                  <a:lnTo>
                    <a:pt x="226" y="31"/>
                  </a:lnTo>
                  <a:lnTo>
                    <a:pt x="270" y="21"/>
                  </a:lnTo>
                  <a:lnTo>
                    <a:pt x="301" y="0"/>
                  </a:lnTo>
                  <a:lnTo>
                    <a:pt x="310" y="4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0" name="Freeform 126"/>
            <p:cNvSpPr>
              <a:spLocks/>
            </p:cNvSpPr>
            <p:nvPr/>
          </p:nvSpPr>
          <p:spPr bwMode="auto">
            <a:xfrm>
              <a:off x="3759970" y="4082694"/>
              <a:ext cx="19846" cy="11640"/>
            </a:xfrm>
            <a:custGeom>
              <a:avLst/>
              <a:gdLst>
                <a:gd name="T0" fmla="*/ 0 w 34"/>
                <a:gd name="T1" fmla="*/ 2147483647 h 17"/>
                <a:gd name="T2" fmla="*/ 2147483647 w 34"/>
                <a:gd name="T3" fmla="*/ 0 h 17"/>
                <a:gd name="T4" fmla="*/ 2147483647 w 34"/>
                <a:gd name="T5" fmla="*/ 2147483647 h 17"/>
                <a:gd name="T6" fmla="*/ 2147483647 w 34"/>
                <a:gd name="T7" fmla="*/ 2147483647 h 17"/>
                <a:gd name="T8" fmla="*/ 0 w 34"/>
                <a:gd name="T9" fmla="*/ 214748364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7"/>
                  </a:moveTo>
                  <a:lnTo>
                    <a:pt x="11" y="0"/>
                  </a:lnTo>
                  <a:lnTo>
                    <a:pt x="34" y="4"/>
                  </a:lnTo>
                  <a:lnTo>
                    <a:pt x="17" y="1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1" name="Freeform 127"/>
            <p:cNvSpPr>
              <a:spLocks/>
            </p:cNvSpPr>
            <p:nvPr/>
          </p:nvSpPr>
          <p:spPr bwMode="auto">
            <a:xfrm>
              <a:off x="3471105" y="3682269"/>
              <a:ext cx="67255" cy="86138"/>
            </a:xfrm>
            <a:custGeom>
              <a:avLst/>
              <a:gdLst>
                <a:gd name="T0" fmla="*/ 2147483647 w 123"/>
                <a:gd name="T1" fmla="*/ 0 h 137"/>
                <a:gd name="T2" fmla="*/ 2147483647 w 123"/>
                <a:gd name="T3" fmla="*/ 2147483647 h 137"/>
                <a:gd name="T4" fmla="*/ 2147483647 w 123"/>
                <a:gd name="T5" fmla="*/ 2147483647 h 137"/>
                <a:gd name="T6" fmla="*/ 2147483647 w 123"/>
                <a:gd name="T7" fmla="*/ 2147483647 h 137"/>
                <a:gd name="T8" fmla="*/ 2147483647 w 123"/>
                <a:gd name="T9" fmla="*/ 2147483647 h 137"/>
                <a:gd name="T10" fmla="*/ 2147483647 w 123"/>
                <a:gd name="T11" fmla="*/ 2147483647 h 137"/>
                <a:gd name="T12" fmla="*/ 2147483647 w 123"/>
                <a:gd name="T13" fmla="*/ 2147483647 h 137"/>
                <a:gd name="T14" fmla="*/ 0 w 123"/>
                <a:gd name="T15" fmla="*/ 2147483647 h 137"/>
                <a:gd name="T16" fmla="*/ 2147483647 w 123"/>
                <a:gd name="T17" fmla="*/ 2147483647 h 137"/>
                <a:gd name="T18" fmla="*/ 2147483647 w 123"/>
                <a:gd name="T19" fmla="*/ 2147483647 h 137"/>
                <a:gd name="T20" fmla="*/ 2147483647 w 123"/>
                <a:gd name="T21" fmla="*/ 2147483647 h 137"/>
                <a:gd name="T22" fmla="*/ 2147483647 w 123"/>
                <a:gd name="T23" fmla="*/ 2147483647 h 137"/>
                <a:gd name="T24" fmla="*/ 2147483647 w 123"/>
                <a:gd name="T25" fmla="*/ 2147483647 h 137"/>
                <a:gd name="T26" fmla="*/ 2147483647 w 123"/>
                <a:gd name="T27" fmla="*/ 2147483647 h 137"/>
                <a:gd name="T28" fmla="*/ 2147483647 w 123"/>
                <a:gd name="T29" fmla="*/ 2147483647 h 137"/>
                <a:gd name="T30" fmla="*/ 2147483647 w 123"/>
                <a:gd name="T31" fmla="*/ 2147483647 h 137"/>
                <a:gd name="T32" fmla="*/ 2147483647 w 123"/>
                <a:gd name="T33" fmla="*/ 0 h 137"/>
                <a:gd name="T34" fmla="*/ 2147483647 w 123"/>
                <a:gd name="T35" fmla="*/ 0 h 13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3"/>
                <a:gd name="T55" fmla="*/ 0 h 137"/>
                <a:gd name="T56" fmla="*/ 123 w 123"/>
                <a:gd name="T57" fmla="*/ 137 h 13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3" h="137">
                  <a:moveTo>
                    <a:pt x="112" y="0"/>
                  </a:moveTo>
                  <a:lnTo>
                    <a:pt x="123" y="40"/>
                  </a:lnTo>
                  <a:lnTo>
                    <a:pt x="72" y="66"/>
                  </a:lnTo>
                  <a:lnTo>
                    <a:pt x="85" y="99"/>
                  </a:lnTo>
                  <a:lnTo>
                    <a:pt x="57" y="116"/>
                  </a:lnTo>
                  <a:lnTo>
                    <a:pt x="43" y="137"/>
                  </a:lnTo>
                  <a:lnTo>
                    <a:pt x="2" y="133"/>
                  </a:lnTo>
                  <a:lnTo>
                    <a:pt x="0" y="123"/>
                  </a:lnTo>
                  <a:lnTo>
                    <a:pt x="11" y="120"/>
                  </a:lnTo>
                  <a:lnTo>
                    <a:pt x="17" y="76"/>
                  </a:lnTo>
                  <a:lnTo>
                    <a:pt x="19" y="47"/>
                  </a:lnTo>
                  <a:lnTo>
                    <a:pt x="9" y="44"/>
                  </a:lnTo>
                  <a:lnTo>
                    <a:pt x="11" y="36"/>
                  </a:lnTo>
                  <a:lnTo>
                    <a:pt x="30" y="23"/>
                  </a:lnTo>
                  <a:lnTo>
                    <a:pt x="55" y="34"/>
                  </a:lnTo>
                  <a:lnTo>
                    <a:pt x="89" y="11"/>
                  </a:lnTo>
                  <a:lnTo>
                    <a:pt x="99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2" name="Freeform 128"/>
            <p:cNvSpPr>
              <a:spLocks/>
            </p:cNvSpPr>
            <p:nvPr/>
          </p:nvSpPr>
          <p:spPr bwMode="auto">
            <a:xfrm>
              <a:off x="4510797" y="4047773"/>
              <a:ext cx="78280" cy="84974"/>
            </a:xfrm>
            <a:custGeom>
              <a:avLst/>
              <a:gdLst>
                <a:gd name="T0" fmla="*/ 2147483647 w 140"/>
                <a:gd name="T1" fmla="*/ 2147483647 h 137"/>
                <a:gd name="T2" fmla="*/ 2147483647 w 140"/>
                <a:gd name="T3" fmla="*/ 2147483647 h 137"/>
                <a:gd name="T4" fmla="*/ 2147483647 w 140"/>
                <a:gd name="T5" fmla="*/ 2147483647 h 137"/>
                <a:gd name="T6" fmla="*/ 2147483647 w 140"/>
                <a:gd name="T7" fmla="*/ 2147483647 h 137"/>
                <a:gd name="T8" fmla="*/ 2147483647 w 140"/>
                <a:gd name="T9" fmla="*/ 2147483647 h 137"/>
                <a:gd name="T10" fmla="*/ 2147483647 w 140"/>
                <a:gd name="T11" fmla="*/ 2147483647 h 137"/>
                <a:gd name="T12" fmla="*/ 2147483647 w 140"/>
                <a:gd name="T13" fmla="*/ 2147483647 h 137"/>
                <a:gd name="T14" fmla="*/ 2147483647 w 140"/>
                <a:gd name="T15" fmla="*/ 2147483647 h 137"/>
                <a:gd name="T16" fmla="*/ 2147483647 w 140"/>
                <a:gd name="T17" fmla="*/ 2147483647 h 137"/>
                <a:gd name="T18" fmla="*/ 0 w 140"/>
                <a:gd name="T19" fmla="*/ 2147483647 h 137"/>
                <a:gd name="T20" fmla="*/ 2147483647 w 140"/>
                <a:gd name="T21" fmla="*/ 2147483647 h 137"/>
                <a:gd name="T22" fmla="*/ 2147483647 w 140"/>
                <a:gd name="T23" fmla="*/ 2147483647 h 137"/>
                <a:gd name="T24" fmla="*/ 2147483647 w 140"/>
                <a:gd name="T25" fmla="*/ 2147483647 h 137"/>
                <a:gd name="T26" fmla="*/ 2147483647 w 140"/>
                <a:gd name="T27" fmla="*/ 2147483647 h 137"/>
                <a:gd name="T28" fmla="*/ 2147483647 w 140"/>
                <a:gd name="T29" fmla="*/ 2147483647 h 137"/>
                <a:gd name="T30" fmla="*/ 2147483647 w 140"/>
                <a:gd name="T31" fmla="*/ 0 h 137"/>
                <a:gd name="T32" fmla="*/ 2147483647 w 140"/>
                <a:gd name="T33" fmla="*/ 2147483647 h 137"/>
                <a:gd name="T34" fmla="*/ 2147483647 w 140"/>
                <a:gd name="T35" fmla="*/ 2147483647 h 137"/>
                <a:gd name="T36" fmla="*/ 2147483647 w 140"/>
                <a:gd name="T37" fmla="*/ 2147483647 h 137"/>
                <a:gd name="T38" fmla="*/ 2147483647 w 140"/>
                <a:gd name="T39" fmla="*/ 2147483647 h 137"/>
                <a:gd name="T40" fmla="*/ 2147483647 w 140"/>
                <a:gd name="T41" fmla="*/ 2147483647 h 137"/>
                <a:gd name="T42" fmla="*/ 2147483647 w 140"/>
                <a:gd name="T43" fmla="*/ 2147483647 h 137"/>
                <a:gd name="T44" fmla="*/ 2147483647 w 140"/>
                <a:gd name="T45" fmla="*/ 2147483647 h 137"/>
                <a:gd name="T46" fmla="*/ 2147483647 w 140"/>
                <a:gd name="T47" fmla="*/ 2147483647 h 13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0"/>
                <a:gd name="T73" fmla="*/ 0 h 137"/>
                <a:gd name="T74" fmla="*/ 140 w 140"/>
                <a:gd name="T75" fmla="*/ 137 h 13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0" h="137">
                  <a:moveTo>
                    <a:pt x="59" y="135"/>
                  </a:moveTo>
                  <a:lnTo>
                    <a:pt x="45" y="129"/>
                  </a:lnTo>
                  <a:lnTo>
                    <a:pt x="30" y="137"/>
                  </a:lnTo>
                  <a:lnTo>
                    <a:pt x="24" y="127"/>
                  </a:lnTo>
                  <a:lnTo>
                    <a:pt x="36" y="121"/>
                  </a:lnTo>
                  <a:lnTo>
                    <a:pt x="36" y="112"/>
                  </a:lnTo>
                  <a:lnTo>
                    <a:pt x="15" y="121"/>
                  </a:lnTo>
                  <a:lnTo>
                    <a:pt x="15" y="101"/>
                  </a:lnTo>
                  <a:lnTo>
                    <a:pt x="15" y="82"/>
                  </a:lnTo>
                  <a:lnTo>
                    <a:pt x="0" y="45"/>
                  </a:lnTo>
                  <a:lnTo>
                    <a:pt x="13" y="15"/>
                  </a:lnTo>
                  <a:lnTo>
                    <a:pt x="72" y="11"/>
                  </a:lnTo>
                  <a:lnTo>
                    <a:pt x="78" y="21"/>
                  </a:lnTo>
                  <a:lnTo>
                    <a:pt x="97" y="17"/>
                  </a:lnTo>
                  <a:lnTo>
                    <a:pt x="106" y="2"/>
                  </a:lnTo>
                  <a:lnTo>
                    <a:pt x="116" y="0"/>
                  </a:lnTo>
                  <a:lnTo>
                    <a:pt x="131" y="11"/>
                  </a:lnTo>
                  <a:lnTo>
                    <a:pt x="140" y="21"/>
                  </a:lnTo>
                  <a:lnTo>
                    <a:pt x="138" y="68"/>
                  </a:lnTo>
                  <a:lnTo>
                    <a:pt x="117" y="89"/>
                  </a:lnTo>
                  <a:lnTo>
                    <a:pt x="100" y="89"/>
                  </a:lnTo>
                  <a:lnTo>
                    <a:pt x="100" y="108"/>
                  </a:lnTo>
                  <a:lnTo>
                    <a:pt x="78" y="110"/>
                  </a:lnTo>
                  <a:lnTo>
                    <a:pt x="59" y="13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3" name="Freeform 129"/>
            <p:cNvSpPr>
              <a:spLocks/>
            </p:cNvSpPr>
            <p:nvPr/>
          </p:nvSpPr>
          <p:spPr bwMode="auto">
            <a:xfrm>
              <a:off x="3716971" y="3821952"/>
              <a:ext cx="15436" cy="32593"/>
            </a:xfrm>
            <a:custGeom>
              <a:avLst/>
              <a:gdLst>
                <a:gd name="T0" fmla="*/ 0 w 29"/>
                <a:gd name="T1" fmla="*/ 2147483647 h 51"/>
                <a:gd name="T2" fmla="*/ 2147483647 w 29"/>
                <a:gd name="T3" fmla="*/ 2147483647 h 51"/>
                <a:gd name="T4" fmla="*/ 2147483647 w 29"/>
                <a:gd name="T5" fmla="*/ 2147483647 h 51"/>
                <a:gd name="T6" fmla="*/ 2147483647 w 29"/>
                <a:gd name="T7" fmla="*/ 2147483647 h 51"/>
                <a:gd name="T8" fmla="*/ 2147483647 w 29"/>
                <a:gd name="T9" fmla="*/ 0 h 51"/>
                <a:gd name="T10" fmla="*/ 2147483647 w 29"/>
                <a:gd name="T11" fmla="*/ 2147483647 h 51"/>
                <a:gd name="T12" fmla="*/ 2147483647 w 29"/>
                <a:gd name="T13" fmla="*/ 2147483647 h 51"/>
                <a:gd name="T14" fmla="*/ 2147483647 w 29"/>
                <a:gd name="T15" fmla="*/ 2147483647 h 51"/>
                <a:gd name="T16" fmla="*/ 0 w 29"/>
                <a:gd name="T17" fmla="*/ 2147483647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51"/>
                <a:gd name="T29" fmla="*/ 29 w 29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51">
                  <a:moveTo>
                    <a:pt x="0" y="44"/>
                  </a:moveTo>
                  <a:lnTo>
                    <a:pt x="6" y="21"/>
                  </a:lnTo>
                  <a:lnTo>
                    <a:pt x="10" y="21"/>
                  </a:lnTo>
                  <a:lnTo>
                    <a:pt x="12" y="4"/>
                  </a:lnTo>
                  <a:lnTo>
                    <a:pt x="21" y="0"/>
                  </a:lnTo>
                  <a:lnTo>
                    <a:pt x="29" y="21"/>
                  </a:lnTo>
                  <a:lnTo>
                    <a:pt x="25" y="49"/>
                  </a:lnTo>
                  <a:lnTo>
                    <a:pt x="19" y="51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4" name="Freeform 130"/>
            <p:cNvSpPr>
              <a:spLocks/>
            </p:cNvSpPr>
            <p:nvPr/>
          </p:nvSpPr>
          <p:spPr bwMode="auto">
            <a:xfrm>
              <a:off x="4841558" y="3458776"/>
              <a:ext cx="102536" cy="128043"/>
            </a:xfrm>
            <a:custGeom>
              <a:avLst/>
              <a:gdLst>
                <a:gd name="T0" fmla="*/ 0 w 186"/>
                <a:gd name="T1" fmla="*/ 2147483647 h 205"/>
                <a:gd name="T2" fmla="*/ 0 w 186"/>
                <a:gd name="T3" fmla="*/ 2147483647 h 205"/>
                <a:gd name="T4" fmla="*/ 2147483647 w 186"/>
                <a:gd name="T5" fmla="*/ 2147483647 h 205"/>
                <a:gd name="T6" fmla="*/ 2147483647 w 186"/>
                <a:gd name="T7" fmla="*/ 2147483647 h 205"/>
                <a:gd name="T8" fmla="*/ 2147483647 w 186"/>
                <a:gd name="T9" fmla="*/ 2147483647 h 205"/>
                <a:gd name="T10" fmla="*/ 2147483647 w 186"/>
                <a:gd name="T11" fmla="*/ 2147483647 h 205"/>
                <a:gd name="T12" fmla="*/ 2147483647 w 186"/>
                <a:gd name="T13" fmla="*/ 2147483647 h 205"/>
                <a:gd name="T14" fmla="*/ 2147483647 w 186"/>
                <a:gd name="T15" fmla="*/ 2147483647 h 205"/>
                <a:gd name="T16" fmla="*/ 2147483647 w 186"/>
                <a:gd name="T17" fmla="*/ 2147483647 h 205"/>
                <a:gd name="T18" fmla="*/ 2147483647 w 186"/>
                <a:gd name="T19" fmla="*/ 0 h 205"/>
                <a:gd name="T20" fmla="*/ 2147483647 w 186"/>
                <a:gd name="T21" fmla="*/ 2147483647 h 205"/>
                <a:gd name="T22" fmla="*/ 2147483647 w 186"/>
                <a:gd name="T23" fmla="*/ 2147483647 h 205"/>
                <a:gd name="T24" fmla="*/ 2147483647 w 186"/>
                <a:gd name="T25" fmla="*/ 2147483647 h 205"/>
                <a:gd name="T26" fmla="*/ 2147483647 w 186"/>
                <a:gd name="T27" fmla="*/ 2147483647 h 205"/>
                <a:gd name="T28" fmla="*/ 2147483647 w 186"/>
                <a:gd name="T29" fmla="*/ 2147483647 h 205"/>
                <a:gd name="T30" fmla="*/ 2147483647 w 186"/>
                <a:gd name="T31" fmla="*/ 2147483647 h 205"/>
                <a:gd name="T32" fmla="*/ 2147483647 w 186"/>
                <a:gd name="T33" fmla="*/ 2147483647 h 205"/>
                <a:gd name="T34" fmla="*/ 2147483647 w 186"/>
                <a:gd name="T35" fmla="*/ 2147483647 h 205"/>
                <a:gd name="T36" fmla="*/ 2147483647 w 186"/>
                <a:gd name="T37" fmla="*/ 2147483647 h 205"/>
                <a:gd name="T38" fmla="*/ 2147483647 w 186"/>
                <a:gd name="T39" fmla="*/ 2147483647 h 205"/>
                <a:gd name="T40" fmla="*/ 2147483647 w 186"/>
                <a:gd name="T41" fmla="*/ 2147483647 h 205"/>
                <a:gd name="T42" fmla="*/ 2147483647 w 186"/>
                <a:gd name="T43" fmla="*/ 2147483647 h 205"/>
                <a:gd name="T44" fmla="*/ 2147483647 w 186"/>
                <a:gd name="T45" fmla="*/ 2147483647 h 205"/>
                <a:gd name="T46" fmla="*/ 2147483647 w 186"/>
                <a:gd name="T47" fmla="*/ 2147483647 h 205"/>
                <a:gd name="T48" fmla="*/ 2147483647 w 186"/>
                <a:gd name="T49" fmla="*/ 2147483647 h 205"/>
                <a:gd name="T50" fmla="*/ 2147483647 w 186"/>
                <a:gd name="T51" fmla="*/ 2147483647 h 205"/>
                <a:gd name="T52" fmla="*/ 2147483647 w 186"/>
                <a:gd name="T53" fmla="*/ 2147483647 h 205"/>
                <a:gd name="T54" fmla="*/ 2147483647 w 186"/>
                <a:gd name="T55" fmla="*/ 2147483647 h 205"/>
                <a:gd name="T56" fmla="*/ 2147483647 w 186"/>
                <a:gd name="T57" fmla="*/ 2147483647 h 205"/>
                <a:gd name="T58" fmla="*/ 2147483647 w 186"/>
                <a:gd name="T59" fmla="*/ 2147483647 h 205"/>
                <a:gd name="T60" fmla="*/ 2147483647 w 186"/>
                <a:gd name="T61" fmla="*/ 2147483647 h 205"/>
                <a:gd name="T62" fmla="*/ 2147483647 w 186"/>
                <a:gd name="T63" fmla="*/ 2147483647 h 205"/>
                <a:gd name="T64" fmla="*/ 2147483647 w 186"/>
                <a:gd name="T65" fmla="*/ 2147483647 h 205"/>
                <a:gd name="T66" fmla="*/ 0 w 186"/>
                <a:gd name="T67" fmla="*/ 2147483647 h 20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6"/>
                <a:gd name="T103" fmla="*/ 0 h 205"/>
                <a:gd name="T104" fmla="*/ 186 w 186"/>
                <a:gd name="T105" fmla="*/ 205 h 20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6" h="205">
                  <a:moveTo>
                    <a:pt x="0" y="125"/>
                  </a:moveTo>
                  <a:lnTo>
                    <a:pt x="0" y="120"/>
                  </a:lnTo>
                  <a:lnTo>
                    <a:pt x="44" y="93"/>
                  </a:lnTo>
                  <a:lnTo>
                    <a:pt x="55" y="91"/>
                  </a:lnTo>
                  <a:lnTo>
                    <a:pt x="76" y="57"/>
                  </a:lnTo>
                  <a:lnTo>
                    <a:pt x="87" y="53"/>
                  </a:lnTo>
                  <a:lnTo>
                    <a:pt x="120" y="68"/>
                  </a:lnTo>
                  <a:lnTo>
                    <a:pt x="120" y="40"/>
                  </a:lnTo>
                  <a:lnTo>
                    <a:pt x="152" y="17"/>
                  </a:lnTo>
                  <a:lnTo>
                    <a:pt x="161" y="0"/>
                  </a:lnTo>
                  <a:lnTo>
                    <a:pt x="186" y="25"/>
                  </a:lnTo>
                  <a:lnTo>
                    <a:pt x="161" y="44"/>
                  </a:lnTo>
                  <a:lnTo>
                    <a:pt x="161" y="74"/>
                  </a:lnTo>
                  <a:lnTo>
                    <a:pt x="159" y="93"/>
                  </a:lnTo>
                  <a:lnTo>
                    <a:pt x="139" y="110"/>
                  </a:lnTo>
                  <a:lnTo>
                    <a:pt x="110" y="123"/>
                  </a:lnTo>
                  <a:lnTo>
                    <a:pt x="93" y="144"/>
                  </a:lnTo>
                  <a:lnTo>
                    <a:pt x="91" y="160"/>
                  </a:lnTo>
                  <a:lnTo>
                    <a:pt x="123" y="165"/>
                  </a:lnTo>
                  <a:lnTo>
                    <a:pt x="123" y="171"/>
                  </a:lnTo>
                  <a:lnTo>
                    <a:pt x="85" y="188"/>
                  </a:lnTo>
                  <a:lnTo>
                    <a:pt x="72" y="192"/>
                  </a:lnTo>
                  <a:lnTo>
                    <a:pt x="53" y="196"/>
                  </a:lnTo>
                  <a:lnTo>
                    <a:pt x="42" y="205"/>
                  </a:lnTo>
                  <a:lnTo>
                    <a:pt x="28" y="201"/>
                  </a:lnTo>
                  <a:lnTo>
                    <a:pt x="19" y="192"/>
                  </a:lnTo>
                  <a:lnTo>
                    <a:pt x="28" y="175"/>
                  </a:lnTo>
                  <a:lnTo>
                    <a:pt x="44" y="163"/>
                  </a:lnTo>
                  <a:lnTo>
                    <a:pt x="34" y="160"/>
                  </a:lnTo>
                  <a:lnTo>
                    <a:pt x="40" y="135"/>
                  </a:lnTo>
                  <a:lnTo>
                    <a:pt x="21" y="133"/>
                  </a:lnTo>
                  <a:lnTo>
                    <a:pt x="9" y="139"/>
                  </a:lnTo>
                  <a:lnTo>
                    <a:pt x="9" y="129"/>
                  </a:lnTo>
                  <a:lnTo>
                    <a:pt x="0" y="12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5" name="Freeform 131"/>
            <p:cNvSpPr>
              <a:spLocks/>
            </p:cNvSpPr>
            <p:nvPr/>
          </p:nvSpPr>
          <p:spPr bwMode="auto">
            <a:xfrm>
              <a:off x="4869121" y="3564703"/>
              <a:ext cx="54025" cy="93122"/>
            </a:xfrm>
            <a:custGeom>
              <a:avLst/>
              <a:gdLst>
                <a:gd name="T0" fmla="*/ 2147483647 w 99"/>
                <a:gd name="T1" fmla="*/ 2147483647 h 150"/>
                <a:gd name="T2" fmla="*/ 2147483647 w 99"/>
                <a:gd name="T3" fmla="*/ 2147483647 h 150"/>
                <a:gd name="T4" fmla="*/ 2147483647 w 99"/>
                <a:gd name="T5" fmla="*/ 0 h 150"/>
                <a:gd name="T6" fmla="*/ 2147483647 w 99"/>
                <a:gd name="T7" fmla="*/ 2147483647 h 150"/>
                <a:gd name="T8" fmla="*/ 2147483647 w 99"/>
                <a:gd name="T9" fmla="*/ 2147483647 h 150"/>
                <a:gd name="T10" fmla="*/ 2147483647 w 99"/>
                <a:gd name="T11" fmla="*/ 2147483647 h 150"/>
                <a:gd name="T12" fmla="*/ 2147483647 w 99"/>
                <a:gd name="T13" fmla="*/ 2147483647 h 150"/>
                <a:gd name="T14" fmla="*/ 2147483647 w 99"/>
                <a:gd name="T15" fmla="*/ 2147483647 h 150"/>
                <a:gd name="T16" fmla="*/ 2147483647 w 99"/>
                <a:gd name="T17" fmla="*/ 2147483647 h 150"/>
                <a:gd name="T18" fmla="*/ 2147483647 w 99"/>
                <a:gd name="T19" fmla="*/ 2147483647 h 150"/>
                <a:gd name="T20" fmla="*/ 2147483647 w 99"/>
                <a:gd name="T21" fmla="*/ 2147483647 h 150"/>
                <a:gd name="T22" fmla="*/ 2147483647 w 99"/>
                <a:gd name="T23" fmla="*/ 2147483647 h 150"/>
                <a:gd name="T24" fmla="*/ 2147483647 w 99"/>
                <a:gd name="T25" fmla="*/ 2147483647 h 150"/>
                <a:gd name="T26" fmla="*/ 2147483647 w 99"/>
                <a:gd name="T27" fmla="*/ 2147483647 h 150"/>
                <a:gd name="T28" fmla="*/ 2147483647 w 99"/>
                <a:gd name="T29" fmla="*/ 2147483647 h 150"/>
                <a:gd name="T30" fmla="*/ 2147483647 w 99"/>
                <a:gd name="T31" fmla="*/ 2147483647 h 150"/>
                <a:gd name="T32" fmla="*/ 2147483647 w 99"/>
                <a:gd name="T33" fmla="*/ 2147483647 h 150"/>
                <a:gd name="T34" fmla="*/ 2147483647 w 99"/>
                <a:gd name="T35" fmla="*/ 2147483647 h 150"/>
                <a:gd name="T36" fmla="*/ 2147483647 w 99"/>
                <a:gd name="T37" fmla="*/ 2147483647 h 150"/>
                <a:gd name="T38" fmla="*/ 0 w 99"/>
                <a:gd name="T39" fmla="*/ 2147483647 h 150"/>
                <a:gd name="T40" fmla="*/ 2147483647 w 99"/>
                <a:gd name="T41" fmla="*/ 2147483647 h 150"/>
                <a:gd name="T42" fmla="*/ 2147483647 w 99"/>
                <a:gd name="T43" fmla="*/ 2147483647 h 150"/>
                <a:gd name="T44" fmla="*/ 2147483647 w 99"/>
                <a:gd name="T45" fmla="*/ 2147483647 h 150"/>
                <a:gd name="T46" fmla="*/ 2147483647 w 99"/>
                <a:gd name="T47" fmla="*/ 2147483647 h 1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9"/>
                <a:gd name="T73" fmla="*/ 0 h 150"/>
                <a:gd name="T74" fmla="*/ 99 w 99"/>
                <a:gd name="T75" fmla="*/ 150 h 1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9" h="150">
                  <a:moveTo>
                    <a:pt x="23" y="21"/>
                  </a:moveTo>
                  <a:lnTo>
                    <a:pt x="36" y="17"/>
                  </a:lnTo>
                  <a:lnTo>
                    <a:pt x="76" y="0"/>
                  </a:lnTo>
                  <a:lnTo>
                    <a:pt x="99" y="53"/>
                  </a:lnTo>
                  <a:lnTo>
                    <a:pt x="95" y="110"/>
                  </a:lnTo>
                  <a:lnTo>
                    <a:pt x="86" y="123"/>
                  </a:lnTo>
                  <a:lnTo>
                    <a:pt x="72" y="118"/>
                  </a:lnTo>
                  <a:lnTo>
                    <a:pt x="76" y="137"/>
                  </a:lnTo>
                  <a:lnTo>
                    <a:pt x="55" y="129"/>
                  </a:lnTo>
                  <a:lnTo>
                    <a:pt x="59" y="144"/>
                  </a:lnTo>
                  <a:lnTo>
                    <a:pt x="46" y="148"/>
                  </a:lnTo>
                  <a:lnTo>
                    <a:pt x="36" y="139"/>
                  </a:lnTo>
                  <a:lnTo>
                    <a:pt x="27" y="150"/>
                  </a:lnTo>
                  <a:lnTo>
                    <a:pt x="8" y="150"/>
                  </a:lnTo>
                  <a:lnTo>
                    <a:pt x="6" y="127"/>
                  </a:lnTo>
                  <a:lnTo>
                    <a:pt x="21" y="106"/>
                  </a:lnTo>
                  <a:lnTo>
                    <a:pt x="12" y="102"/>
                  </a:lnTo>
                  <a:lnTo>
                    <a:pt x="14" y="74"/>
                  </a:lnTo>
                  <a:lnTo>
                    <a:pt x="10" y="85"/>
                  </a:lnTo>
                  <a:lnTo>
                    <a:pt x="0" y="74"/>
                  </a:lnTo>
                  <a:lnTo>
                    <a:pt x="2" y="64"/>
                  </a:lnTo>
                  <a:lnTo>
                    <a:pt x="19" y="61"/>
                  </a:lnTo>
                  <a:lnTo>
                    <a:pt x="15" y="34"/>
                  </a:lnTo>
                  <a:lnTo>
                    <a:pt x="23" y="2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6" name="Freeform 132"/>
            <p:cNvSpPr>
              <a:spLocks/>
            </p:cNvSpPr>
            <p:nvPr/>
          </p:nvSpPr>
          <p:spPr bwMode="auto">
            <a:xfrm>
              <a:off x="3650819" y="3755603"/>
              <a:ext cx="33076" cy="31428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0 h 51"/>
                <a:gd name="T6" fmla="*/ 2147483647 w 60"/>
                <a:gd name="T7" fmla="*/ 0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2147483647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0 w 60"/>
                <a:gd name="T23" fmla="*/ 2147483647 h 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51"/>
                <a:gd name="T38" fmla="*/ 60 w 60"/>
                <a:gd name="T39" fmla="*/ 51 h 5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51">
                  <a:moveTo>
                    <a:pt x="0" y="32"/>
                  </a:moveTo>
                  <a:lnTo>
                    <a:pt x="15" y="21"/>
                  </a:lnTo>
                  <a:lnTo>
                    <a:pt x="20" y="0"/>
                  </a:lnTo>
                  <a:lnTo>
                    <a:pt x="43" y="0"/>
                  </a:lnTo>
                  <a:lnTo>
                    <a:pt x="47" y="7"/>
                  </a:lnTo>
                  <a:lnTo>
                    <a:pt x="39" y="9"/>
                  </a:lnTo>
                  <a:lnTo>
                    <a:pt x="36" y="19"/>
                  </a:lnTo>
                  <a:lnTo>
                    <a:pt x="49" y="22"/>
                  </a:lnTo>
                  <a:lnTo>
                    <a:pt x="60" y="41"/>
                  </a:lnTo>
                  <a:lnTo>
                    <a:pt x="36" y="51"/>
                  </a:lnTo>
                  <a:lnTo>
                    <a:pt x="30" y="36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7" name="Freeform 133"/>
            <p:cNvSpPr>
              <a:spLocks/>
            </p:cNvSpPr>
            <p:nvPr/>
          </p:nvSpPr>
          <p:spPr bwMode="auto">
            <a:xfrm>
              <a:off x="4478823" y="3904598"/>
              <a:ext cx="104741" cy="155980"/>
            </a:xfrm>
            <a:custGeom>
              <a:avLst/>
              <a:gdLst>
                <a:gd name="T0" fmla="*/ 0 w 192"/>
                <a:gd name="T1" fmla="*/ 2147483647 h 251"/>
                <a:gd name="T2" fmla="*/ 2147483647 w 192"/>
                <a:gd name="T3" fmla="*/ 2147483647 h 251"/>
                <a:gd name="T4" fmla="*/ 2147483647 w 192"/>
                <a:gd name="T5" fmla="*/ 2147483647 h 251"/>
                <a:gd name="T6" fmla="*/ 2147483647 w 192"/>
                <a:gd name="T7" fmla="*/ 2147483647 h 251"/>
                <a:gd name="T8" fmla="*/ 2147483647 w 192"/>
                <a:gd name="T9" fmla="*/ 2147483647 h 251"/>
                <a:gd name="T10" fmla="*/ 2147483647 w 192"/>
                <a:gd name="T11" fmla="*/ 2147483647 h 251"/>
                <a:gd name="T12" fmla="*/ 2147483647 w 192"/>
                <a:gd name="T13" fmla="*/ 0 h 251"/>
                <a:gd name="T14" fmla="*/ 2147483647 w 192"/>
                <a:gd name="T15" fmla="*/ 2147483647 h 251"/>
                <a:gd name="T16" fmla="*/ 2147483647 w 192"/>
                <a:gd name="T17" fmla="*/ 2147483647 h 251"/>
                <a:gd name="T18" fmla="*/ 2147483647 w 192"/>
                <a:gd name="T19" fmla="*/ 2147483647 h 251"/>
                <a:gd name="T20" fmla="*/ 2147483647 w 192"/>
                <a:gd name="T21" fmla="*/ 2147483647 h 251"/>
                <a:gd name="T22" fmla="*/ 2147483647 w 192"/>
                <a:gd name="T23" fmla="*/ 2147483647 h 251"/>
                <a:gd name="T24" fmla="*/ 2147483647 w 192"/>
                <a:gd name="T25" fmla="*/ 2147483647 h 251"/>
                <a:gd name="T26" fmla="*/ 2147483647 w 192"/>
                <a:gd name="T27" fmla="*/ 2147483647 h 251"/>
                <a:gd name="T28" fmla="*/ 2147483647 w 192"/>
                <a:gd name="T29" fmla="*/ 2147483647 h 251"/>
                <a:gd name="T30" fmla="*/ 2147483647 w 192"/>
                <a:gd name="T31" fmla="*/ 2147483647 h 251"/>
                <a:gd name="T32" fmla="*/ 2147483647 w 192"/>
                <a:gd name="T33" fmla="*/ 2147483647 h 251"/>
                <a:gd name="T34" fmla="*/ 2147483647 w 192"/>
                <a:gd name="T35" fmla="*/ 2147483647 h 251"/>
                <a:gd name="T36" fmla="*/ 2147483647 w 192"/>
                <a:gd name="T37" fmla="*/ 2147483647 h 251"/>
                <a:gd name="T38" fmla="*/ 2147483647 w 192"/>
                <a:gd name="T39" fmla="*/ 2147483647 h 251"/>
                <a:gd name="T40" fmla="*/ 2147483647 w 192"/>
                <a:gd name="T41" fmla="*/ 2147483647 h 251"/>
                <a:gd name="T42" fmla="*/ 2147483647 w 192"/>
                <a:gd name="T43" fmla="*/ 2147483647 h 251"/>
                <a:gd name="T44" fmla="*/ 2147483647 w 192"/>
                <a:gd name="T45" fmla="*/ 2147483647 h 251"/>
                <a:gd name="T46" fmla="*/ 2147483647 w 192"/>
                <a:gd name="T47" fmla="*/ 2147483647 h 251"/>
                <a:gd name="T48" fmla="*/ 2147483647 w 192"/>
                <a:gd name="T49" fmla="*/ 2147483647 h 251"/>
                <a:gd name="T50" fmla="*/ 2147483647 w 192"/>
                <a:gd name="T51" fmla="*/ 2147483647 h 251"/>
                <a:gd name="T52" fmla="*/ 2147483647 w 192"/>
                <a:gd name="T53" fmla="*/ 2147483647 h 251"/>
                <a:gd name="T54" fmla="*/ 2147483647 w 192"/>
                <a:gd name="T55" fmla="*/ 2147483647 h 251"/>
                <a:gd name="T56" fmla="*/ 2147483647 w 192"/>
                <a:gd name="T57" fmla="*/ 2147483647 h 251"/>
                <a:gd name="T58" fmla="*/ 2147483647 w 192"/>
                <a:gd name="T59" fmla="*/ 2147483647 h 251"/>
                <a:gd name="T60" fmla="*/ 2147483647 w 192"/>
                <a:gd name="T61" fmla="*/ 2147483647 h 251"/>
                <a:gd name="T62" fmla="*/ 2147483647 w 192"/>
                <a:gd name="T63" fmla="*/ 2147483647 h 251"/>
                <a:gd name="T64" fmla="*/ 2147483647 w 192"/>
                <a:gd name="T65" fmla="*/ 2147483647 h 251"/>
                <a:gd name="T66" fmla="*/ 0 w 192"/>
                <a:gd name="T67" fmla="*/ 2147483647 h 25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2"/>
                <a:gd name="T103" fmla="*/ 0 h 251"/>
                <a:gd name="T104" fmla="*/ 192 w 192"/>
                <a:gd name="T105" fmla="*/ 251 h 25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2" h="251">
                  <a:moveTo>
                    <a:pt x="0" y="63"/>
                  </a:moveTo>
                  <a:lnTo>
                    <a:pt x="11" y="38"/>
                  </a:lnTo>
                  <a:lnTo>
                    <a:pt x="21" y="29"/>
                  </a:lnTo>
                  <a:lnTo>
                    <a:pt x="26" y="42"/>
                  </a:lnTo>
                  <a:lnTo>
                    <a:pt x="38" y="42"/>
                  </a:lnTo>
                  <a:lnTo>
                    <a:pt x="38" y="2"/>
                  </a:lnTo>
                  <a:lnTo>
                    <a:pt x="47" y="0"/>
                  </a:lnTo>
                  <a:lnTo>
                    <a:pt x="68" y="19"/>
                  </a:lnTo>
                  <a:lnTo>
                    <a:pt x="72" y="49"/>
                  </a:lnTo>
                  <a:lnTo>
                    <a:pt x="104" y="46"/>
                  </a:lnTo>
                  <a:lnTo>
                    <a:pt x="120" y="67"/>
                  </a:lnTo>
                  <a:lnTo>
                    <a:pt x="110" y="78"/>
                  </a:lnTo>
                  <a:lnTo>
                    <a:pt x="102" y="76"/>
                  </a:lnTo>
                  <a:lnTo>
                    <a:pt x="106" y="103"/>
                  </a:lnTo>
                  <a:lnTo>
                    <a:pt x="127" y="116"/>
                  </a:lnTo>
                  <a:lnTo>
                    <a:pt x="161" y="175"/>
                  </a:lnTo>
                  <a:lnTo>
                    <a:pt x="184" y="188"/>
                  </a:lnTo>
                  <a:lnTo>
                    <a:pt x="192" y="239"/>
                  </a:lnTo>
                  <a:lnTo>
                    <a:pt x="175" y="230"/>
                  </a:lnTo>
                  <a:lnTo>
                    <a:pt x="167" y="232"/>
                  </a:lnTo>
                  <a:lnTo>
                    <a:pt x="158" y="247"/>
                  </a:lnTo>
                  <a:lnTo>
                    <a:pt x="139" y="251"/>
                  </a:lnTo>
                  <a:lnTo>
                    <a:pt x="131" y="239"/>
                  </a:lnTo>
                  <a:lnTo>
                    <a:pt x="142" y="201"/>
                  </a:lnTo>
                  <a:lnTo>
                    <a:pt x="116" y="173"/>
                  </a:lnTo>
                  <a:lnTo>
                    <a:pt x="102" y="127"/>
                  </a:lnTo>
                  <a:lnTo>
                    <a:pt x="82" y="125"/>
                  </a:lnTo>
                  <a:lnTo>
                    <a:pt x="66" y="144"/>
                  </a:lnTo>
                  <a:lnTo>
                    <a:pt x="51" y="131"/>
                  </a:lnTo>
                  <a:lnTo>
                    <a:pt x="19" y="156"/>
                  </a:lnTo>
                  <a:lnTo>
                    <a:pt x="25" y="91"/>
                  </a:lnTo>
                  <a:lnTo>
                    <a:pt x="7" y="84"/>
                  </a:lnTo>
                  <a:lnTo>
                    <a:pt x="11" y="70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8" name="Freeform 134"/>
            <p:cNvSpPr>
              <a:spLocks/>
            </p:cNvSpPr>
            <p:nvPr/>
          </p:nvSpPr>
          <p:spPr bwMode="auto">
            <a:xfrm>
              <a:off x="3475515" y="3654332"/>
              <a:ext cx="22051" cy="32593"/>
            </a:xfrm>
            <a:custGeom>
              <a:avLst/>
              <a:gdLst>
                <a:gd name="T0" fmla="*/ 2147483647 w 40"/>
                <a:gd name="T1" fmla="*/ 2147483647 h 54"/>
                <a:gd name="T2" fmla="*/ 2147483647 w 40"/>
                <a:gd name="T3" fmla="*/ 2147483647 h 54"/>
                <a:gd name="T4" fmla="*/ 0 w 40"/>
                <a:gd name="T5" fmla="*/ 2147483647 h 54"/>
                <a:gd name="T6" fmla="*/ 2147483647 w 40"/>
                <a:gd name="T7" fmla="*/ 2147483647 h 54"/>
                <a:gd name="T8" fmla="*/ 2147483647 w 40"/>
                <a:gd name="T9" fmla="*/ 2147483647 h 54"/>
                <a:gd name="T10" fmla="*/ 2147483647 w 40"/>
                <a:gd name="T11" fmla="*/ 0 h 54"/>
                <a:gd name="T12" fmla="*/ 2147483647 w 40"/>
                <a:gd name="T13" fmla="*/ 0 h 54"/>
                <a:gd name="T14" fmla="*/ 2147483647 w 40"/>
                <a:gd name="T15" fmla="*/ 2147483647 h 54"/>
                <a:gd name="T16" fmla="*/ 2147483647 w 40"/>
                <a:gd name="T17" fmla="*/ 2147483647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54"/>
                <a:gd name="T29" fmla="*/ 40 w 40"/>
                <a:gd name="T30" fmla="*/ 54 h 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54">
                  <a:moveTo>
                    <a:pt x="23" y="50"/>
                  </a:moveTo>
                  <a:lnTo>
                    <a:pt x="10" y="54"/>
                  </a:lnTo>
                  <a:lnTo>
                    <a:pt x="0" y="52"/>
                  </a:lnTo>
                  <a:lnTo>
                    <a:pt x="6" y="38"/>
                  </a:lnTo>
                  <a:lnTo>
                    <a:pt x="8" y="23"/>
                  </a:lnTo>
                  <a:lnTo>
                    <a:pt x="16" y="0"/>
                  </a:lnTo>
                  <a:lnTo>
                    <a:pt x="33" y="0"/>
                  </a:lnTo>
                  <a:lnTo>
                    <a:pt x="40" y="14"/>
                  </a:lnTo>
                  <a:lnTo>
                    <a:pt x="23" y="5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59" name="Freeform 135"/>
            <p:cNvSpPr>
              <a:spLocks/>
            </p:cNvSpPr>
            <p:nvPr/>
          </p:nvSpPr>
          <p:spPr bwMode="auto">
            <a:xfrm>
              <a:off x="4621050" y="4181637"/>
              <a:ext cx="152150" cy="119894"/>
            </a:xfrm>
            <a:custGeom>
              <a:avLst/>
              <a:gdLst>
                <a:gd name="T0" fmla="*/ 2147483647 w 278"/>
                <a:gd name="T1" fmla="*/ 2147483647 h 192"/>
                <a:gd name="T2" fmla="*/ 2147483647 w 278"/>
                <a:gd name="T3" fmla="*/ 2147483647 h 192"/>
                <a:gd name="T4" fmla="*/ 2147483647 w 278"/>
                <a:gd name="T5" fmla="*/ 2147483647 h 192"/>
                <a:gd name="T6" fmla="*/ 2147483647 w 278"/>
                <a:gd name="T7" fmla="*/ 2147483647 h 192"/>
                <a:gd name="T8" fmla="*/ 2147483647 w 278"/>
                <a:gd name="T9" fmla="*/ 2147483647 h 192"/>
                <a:gd name="T10" fmla="*/ 2147483647 w 278"/>
                <a:gd name="T11" fmla="*/ 2147483647 h 192"/>
                <a:gd name="T12" fmla="*/ 2147483647 w 278"/>
                <a:gd name="T13" fmla="*/ 2147483647 h 192"/>
                <a:gd name="T14" fmla="*/ 2147483647 w 278"/>
                <a:gd name="T15" fmla="*/ 2147483647 h 192"/>
                <a:gd name="T16" fmla="*/ 2147483647 w 278"/>
                <a:gd name="T17" fmla="*/ 0 h 192"/>
                <a:gd name="T18" fmla="*/ 2147483647 w 278"/>
                <a:gd name="T19" fmla="*/ 2147483647 h 192"/>
                <a:gd name="T20" fmla="*/ 2147483647 w 278"/>
                <a:gd name="T21" fmla="*/ 2147483647 h 192"/>
                <a:gd name="T22" fmla="*/ 2147483647 w 278"/>
                <a:gd name="T23" fmla="*/ 2147483647 h 192"/>
                <a:gd name="T24" fmla="*/ 2147483647 w 278"/>
                <a:gd name="T25" fmla="*/ 2147483647 h 192"/>
                <a:gd name="T26" fmla="*/ 2147483647 w 278"/>
                <a:gd name="T27" fmla="*/ 2147483647 h 192"/>
                <a:gd name="T28" fmla="*/ 2147483647 w 278"/>
                <a:gd name="T29" fmla="*/ 2147483647 h 192"/>
                <a:gd name="T30" fmla="*/ 2147483647 w 278"/>
                <a:gd name="T31" fmla="*/ 2147483647 h 192"/>
                <a:gd name="T32" fmla="*/ 2147483647 w 278"/>
                <a:gd name="T33" fmla="*/ 2147483647 h 192"/>
                <a:gd name="T34" fmla="*/ 2147483647 w 278"/>
                <a:gd name="T35" fmla="*/ 2147483647 h 192"/>
                <a:gd name="T36" fmla="*/ 2147483647 w 278"/>
                <a:gd name="T37" fmla="*/ 2147483647 h 192"/>
                <a:gd name="T38" fmla="*/ 2147483647 w 278"/>
                <a:gd name="T39" fmla="*/ 2147483647 h 192"/>
                <a:gd name="T40" fmla="*/ 2147483647 w 278"/>
                <a:gd name="T41" fmla="*/ 2147483647 h 192"/>
                <a:gd name="T42" fmla="*/ 2147483647 w 278"/>
                <a:gd name="T43" fmla="*/ 2147483647 h 192"/>
                <a:gd name="T44" fmla="*/ 2147483647 w 278"/>
                <a:gd name="T45" fmla="*/ 2147483647 h 192"/>
                <a:gd name="T46" fmla="*/ 2147483647 w 278"/>
                <a:gd name="T47" fmla="*/ 2147483647 h 192"/>
                <a:gd name="T48" fmla="*/ 2147483647 w 278"/>
                <a:gd name="T49" fmla="*/ 2147483647 h 192"/>
                <a:gd name="T50" fmla="*/ 2147483647 w 278"/>
                <a:gd name="T51" fmla="*/ 2147483647 h 192"/>
                <a:gd name="T52" fmla="*/ 2147483647 w 278"/>
                <a:gd name="T53" fmla="*/ 2147483647 h 192"/>
                <a:gd name="T54" fmla="*/ 2147483647 w 278"/>
                <a:gd name="T55" fmla="*/ 2147483647 h 192"/>
                <a:gd name="T56" fmla="*/ 2147483647 w 278"/>
                <a:gd name="T57" fmla="*/ 2147483647 h 192"/>
                <a:gd name="T58" fmla="*/ 2147483647 w 278"/>
                <a:gd name="T59" fmla="*/ 2147483647 h 192"/>
                <a:gd name="T60" fmla="*/ 2147483647 w 278"/>
                <a:gd name="T61" fmla="*/ 2147483647 h 192"/>
                <a:gd name="T62" fmla="*/ 2147483647 w 278"/>
                <a:gd name="T63" fmla="*/ 2147483647 h 192"/>
                <a:gd name="T64" fmla="*/ 2147483647 w 278"/>
                <a:gd name="T65" fmla="*/ 2147483647 h 192"/>
                <a:gd name="T66" fmla="*/ 0 w 278"/>
                <a:gd name="T67" fmla="*/ 2147483647 h 192"/>
                <a:gd name="T68" fmla="*/ 2147483647 w 278"/>
                <a:gd name="T69" fmla="*/ 2147483647 h 192"/>
                <a:gd name="T70" fmla="*/ 2147483647 w 278"/>
                <a:gd name="T71" fmla="*/ 2147483647 h 192"/>
                <a:gd name="T72" fmla="*/ 2147483647 w 278"/>
                <a:gd name="T73" fmla="*/ 2147483647 h 192"/>
                <a:gd name="T74" fmla="*/ 2147483647 w 278"/>
                <a:gd name="T75" fmla="*/ 2147483647 h 192"/>
                <a:gd name="T76" fmla="*/ 2147483647 w 278"/>
                <a:gd name="T77" fmla="*/ 2147483647 h 192"/>
                <a:gd name="T78" fmla="*/ 2147483647 w 278"/>
                <a:gd name="T79" fmla="*/ 2147483647 h 192"/>
                <a:gd name="T80" fmla="*/ 2147483647 w 278"/>
                <a:gd name="T81" fmla="*/ 2147483647 h 192"/>
                <a:gd name="T82" fmla="*/ 2147483647 w 278"/>
                <a:gd name="T83" fmla="*/ 2147483647 h 192"/>
                <a:gd name="T84" fmla="*/ 2147483647 w 278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78"/>
                <a:gd name="T130" fmla="*/ 0 h 192"/>
                <a:gd name="T131" fmla="*/ 278 w 278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78" h="192">
                  <a:moveTo>
                    <a:pt x="127" y="75"/>
                  </a:moveTo>
                  <a:lnTo>
                    <a:pt x="135" y="88"/>
                  </a:lnTo>
                  <a:lnTo>
                    <a:pt x="146" y="92"/>
                  </a:lnTo>
                  <a:lnTo>
                    <a:pt x="152" y="75"/>
                  </a:lnTo>
                  <a:lnTo>
                    <a:pt x="160" y="86"/>
                  </a:lnTo>
                  <a:lnTo>
                    <a:pt x="165" y="63"/>
                  </a:lnTo>
                  <a:lnTo>
                    <a:pt x="162" y="52"/>
                  </a:lnTo>
                  <a:lnTo>
                    <a:pt x="173" y="46"/>
                  </a:lnTo>
                  <a:lnTo>
                    <a:pt x="207" y="0"/>
                  </a:lnTo>
                  <a:lnTo>
                    <a:pt x="219" y="2"/>
                  </a:lnTo>
                  <a:lnTo>
                    <a:pt x="207" y="10"/>
                  </a:lnTo>
                  <a:lnTo>
                    <a:pt x="201" y="23"/>
                  </a:lnTo>
                  <a:lnTo>
                    <a:pt x="213" y="14"/>
                  </a:lnTo>
                  <a:lnTo>
                    <a:pt x="224" y="29"/>
                  </a:lnTo>
                  <a:lnTo>
                    <a:pt x="222" y="44"/>
                  </a:lnTo>
                  <a:lnTo>
                    <a:pt x="238" y="38"/>
                  </a:lnTo>
                  <a:lnTo>
                    <a:pt x="234" y="52"/>
                  </a:lnTo>
                  <a:lnTo>
                    <a:pt x="249" y="44"/>
                  </a:lnTo>
                  <a:lnTo>
                    <a:pt x="278" y="56"/>
                  </a:lnTo>
                  <a:lnTo>
                    <a:pt x="270" y="69"/>
                  </a:lnTo>
                  <a:lnTo>
                    <a:pt x="243" y="61"/>
                  </a:lnTo>
                  <a:lnTo>
                    <a:pt x="239" y="69"/>
                  </a:lnTo>
                  <a:lnTo>
                    <a:pt x="260" y="78"/>
                  </a:lnTo>
                  <a:lnTo>
                    <a:pt x="259" y="88"/>
                  </a:lnTo>
                  <a:lnTo>
                    <a:pt x="222" y="88"/>
                  </a:lnTo>
                  <a:lnTo>
                    <a:pt x="192" y="82"/>
                  </a:lnTo>
                  <a:lnTo>
                    <a:pt x="171" y="92"/>
                  </a:lnTo>
                  <a:lnTo>
                    <a:pt x="148" y="145"/>
                  </a:lnTo>
                  <a:lnTo>
                    <a:pt x="143" y="175"/>
                  </a:lnTo>
                  <a:lnTo>
                    <a:pt x="95" y="168"/>
                  </a:lnTo>
                  <a:lnTo>
                    <a:pt x="76" y="189"/>
                  </a:lnTo>
                  <a:lnTo>
                    <a:pt x="42" y="192"/>
                  </a:lnTo>
                  <a:lnTo>
                    <a:pt x="10" y="168"/>
                  </a:lnTo>
                  <a:lnTo>
                    <a:pt x="0" y="154"/>
                  </a:lnTo>
                  <a:lnTo>
                    <a:pt x="6" y="152"/>
                  </a:lnTo>
                  <a:lnTo>
                    <a:pt x="19" y="166"/>
                  </a:lnTo>
                  <a:lnTo>
                    <a:pt x="27" y="164"/>
                  </a:lnTo>
                  <a:lnTo>
                    <a:pt x="48" y="171"/>
                  </a:lnTo>
                  <a:lnTo>
                    <a:pt x="49" y="143"/>
                  </a:lnTo>
                  <a:lnTo>
                    <a:pt x="55" y="133"/>
                  </a:lnTo>
                  <a:lnTo>
                    <a:pt x="103" y="124"/>
                  </a:lnTo>
                  <a:lnTo>
                    <a:pt x="122" y="92"/>
                  </a:lnTo>
                  <a:lnTo>
                    <a:pt x="127" y="7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0" name="Freeform 136"/>
            <p:cNvSpPr>
              <a:spLocks/>
            </p:cNvSpPr>
            <p:nvPr/>
          </p:nvSpPr>
          <p:spPr bwMode="auto">
            <a:xfrm>
              <a:off x="4474413" y="4195605"/>
              <a:ext cx="72767" cy="96614"/>
            </a:xfrm>
            <a:custGeom>
              <a:avLst/>
              <a:gdLst>
                <a:gd name="T0" fmla="*/ 2147483647 w 133"/>
                <a:gd name="T1" fmla="*/ 2147483647 h 156"/>
                <a:gd name="T2" fmla="*/ 2147483647 w 133"/>
                <a:gd name="T3" fmla="*/ 2147483647 h 156"/>
                <a:gd name="T4" fmla="*/ 2147483647 w 133"/>
                <a:gd name="T5" fmla="*/ 2147483647 h 156"/>
                <a:gd name="T6" fmla="*/ 2147483647 w 133"/>
                <a:gd name="T7" fmla="*/ 2147483647 h 156"/>
                <a:gd name="T8" fmla="*/ 2147483647 w 133"/>
                <a:gd name="T9" fmla="*/ 2147483647 h 156"/>
                <a:gd name="T10" fmla="*/ 2147483647 w 133"/>
                <a:gd name="T11" fmla="*/ 2147483647 h 156"/>
                <a:gd name="T12" fmla="*/ 2147483647 w 133"/>
                <a:gd name="T13" fmla="*/ 2147483647 h 156"/>
                <a:gd name="T14" fmla="*/ 2147483647 w 133"/>
                <a:gd name="T15" fmla="*/ 2147483647 h 156"/>
                <a:gd name="T16" fmla="*/ 2147483647 w 133"/>
                <a:gd name="T17" fmla="*/ 2147483647 h 156"/>
                <a:gd name="T18" fmla="*/ 2147483647 w 133"/>
                <a:gd name="T19" fmla="*/ 2147483647 h 156"/>
                <a:gd name="T20" fmla="*/ 2147483647 w 133"/>
                <a:gd name="T21" fmla="*/ 2147483647 h 156"/>
                <a:gd name="T22" fmla="*/ 0 w 133"/>
                <a:gd name="T23" fmla="*/ 2147483647 h 156"/>
                <a:gd name="T24" fmla="*/ 2147483647 w 133"/>
                <a:gd name="T25" fmla="*/ 0 h 156"/>
                <a:gd name="T26" fmla="*/ 2147483647 w 133"/>
                <a:gd name="T27" fmla="*/ 2147483647 h 156"/>
                <a:gd name="T28" fmla="*/ 2147483647 w 133"/>
                <a:gd name="T29" fmla="*/ 2147483647 h 156"/>
                <a:gd name="T30" fmla="*/ 2147483647 w 133"/>
                <a:gd name="T31" fmla="*/ 2147483647 h 156"/>
                <a:gd name="T32" fmla="*/ 2147483647 w 133"/>
                <a:gd name="T33" fmla="*/ 2147483647 h 156"/>
                <a:gd name="T34" fmla="*/ 2147483647 w 133"/>
                <a:gd name="T35" fmla="*/ 2147483647 h 156"/>
                <a:gd name="T36" fmla="*/ 2147483647 w 133"/>
                <a:gd name="T37" fmla="*/ 2147483647 h 156"/>
                <a:gd name="T38" fmla="*/ 2147483647 w 133"/>
                <a:gd name="T39" fmla="*/ 2147483647 h 156"/>
                <a:gd name="T40" fmla="*/ 2147483647 w 133"/>
                <a:gd name="T41" fmla="*/ 2147483647 h 156"/>
                <a:gd name="T42" fmla="*/ 2147483647 w 133"/>
                <a:gd name="T43" fmla="*/ 2147483647 h 15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3"/>
                <a:gd name="T67" fmla="*/ 0 h 156"/>
                <a:gd name="T68" fmla="*/ 133 w 133"/>
                <a:gd name="T69" fmla="*/ 156 h 15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3" h="156">
                  <a:moveTo>
                    <a:pt x="124" y="154"/>
                  </a:moveTo>
                  <a:lnTo>
                    <a:pt x="114" y="147"/>
                  </a:lnTo>
                  <a:lnTo>
                    <a:pt x="105" y="156"/>
                  </a:lnTo>
                  <a:lnTo>
                    <a:pt x="40" y="116"/>
                  </a:lnTo>
                  <a:lnTo>
                    <a:pt x="27" y="80"/>
                  </a:lnTo>
                  <a:lnTo>
                    <a:pt x="27" y="71"/>
                  </a:lnTo>
                  <a:lnTo>
                    <a:pt x="12" y="73"/>
                  </a:lnTo>
                  <a:lnTo>
                    <a:pt x="17" y="59"/>
                  </a:lnTo>
                  <a:lnTo>
                    <a:pt x="12" y="44"/>
                  </a:lnTo>
                  <a:lnTo>
                    <a:pt x="4" y="44"/>
                  </a:lnTo>
                  <a:lnTo>
                    <a:pt x="6" y="12"/>
                  </a:lnTo>
                  <a:lnTo>
                    <a:pt x="0" y="8"/>
                  </a:lnTo>
                  <a:lnTo>
                    <a:pt x="12" y="0"/>
                  </a:lnTo>
                  <a:lnTo>
                    <a:pt x="33" y="25"/>
                  </a:lnTo>
                  <a:lnTo>
                    <a:pt x="52" y="25"/>
                  </a:lnTo>
                  <a:lnTo>
                    <a:pt x="59" y="8"/>
                  </a:lnTo>
                  <a:lnTo>
                    <a:pt x="65" y="14"/>
                  </a:lnTo>
                  <a:lnTo>
                    <a:pt x="95" y="59"/>
                  </a:lnTo>
                  <a:lnTo>
                    <a:pt x="95" y="109"/>
                  </a:lnTo>
                  <a:lnTo>
                    <a:pt x="109" y="120"/>
                  </a:lnTo>
                  <a:lnTo>
                    <a:pt x="133" y="156"/>
                  </a:lnTo>
                  <a:lnTo>
                    <a:pt x="124" y="15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1" name="Freeform 137"/>
            <p:cNvSpPr>
              <a:spLocks/>
            </p:cNvSpPr>
            <p:nvPr/>
          </p:nvSpPr>
          <p:spPr bwMode="auto">
            <a:xfrm>
              <a:off x="4081910" y="4250314"/>
              <a:ext cx="3308" cy="2328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2147483647 h 3"/>
                <a:gd name="T4" fmla="*/ 0 w 6"/>
                <a:gd name="T5" fmla="*/ 2147483647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4" y="0"/>
                  </a:moveTo>
                  <a:lnTo>
                    <a:pt x="6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2" name="Freeform 138"/>
            <p:cNvSpPr>
              <a:spLocks/>
            </p:cNvSpPr>
            <p:nvPr/>
          </p:nvSpPr>
          <p:spPr bwMode="auto">
            <a:xfrm>
              <a:off x="4289187" y="3220150"/>
              <a:ext cx="488424" cy="273546"/>
            </a:xfrm>
            <a:custGeom>
              <a:avLst/>
              <a:gdLst>
                <a:gd name="T0" fmla="*/ 2147483647 w 895"/>
                <a:gd name="T1" fmla="*/ 2147483647 h 437"/>
                <a:gd name="T2" fmla="*/ 2147483647 w 895"/>
                <a:gd name="T3" fmla="*/ 2147483647 h 437"/>
                <a:gd name="T4" fmla="*/ 2147483647 w 895"/>
                <a:gd name="T5" fmla="*/ 2147483647 h 437"/>
                <a:gd name="T6" fmla="*/ 2147483647 w 895"/>
                <a:gd name="T7" fmla="*/ 2147483647 h 437"/>
                <a:gd name="T8" fmla="*/ 2147483647 w 895"/>
                <a:gd name="T9" fmla="*/ 2147483647 h 437"/>
                <a:gd name="T10" fmla="*/ 2147483647 w 895"/>
                <a:gd name="T11" fmla="*/ 2147483647 h 437"/>
                <a:gd name="T12" fmla="*/ 2147483647 w 895"/>
                <a:gd name="T13" fmla="*/ 2147483647 h 437"/>
                <a:gd name="T14" fmla="*/ 2147483647 w 895"/>
                <a:gd name="T15" fmla="*/ 2147483647 h 437"/>
                <a:gd name="T16" fmla="*/ 2147483647 w 895"/>
                <a:gd name="T17" fmla="*/ 2147483647 h 437"/>
                <a:gd name="T18" fmla="*/ 2147483647 w 895"/>
                <a:gd name="T19" fmla="*/ 2147483647 h 437"/>
                <a:gd name="T20" fmla="*/ 2147483647 w 895"/>
                <a:gd name="T21" fmla="*/ 2147483647 h 437"/>
                <a:gd name="T22" fmla="*/ 2147483647 w 895"/>
                <a:gd name="T23" fmla="*/ 2147483647 h 437"/>
                <a:gd name="T24" fmla="*/ 2147483647 w 895"/>
                <a:gd name="T25" fmla="*/ 2147483647 h 437"/>
                <a:gd name="T26" fmla="*/ 2147483647 w 895"/>
                <a:gd name="T27" fmla="*/ 2147483647 h 437"/>
                <a:gd name="T28" fmla="*/ 2147483647 w 895"/>
                <a:gd name="T29" fmla="*/ 2147483647 h 437"/>
                <a:gd name="T30" fmla="*/ 2147483647 w 895"/>
                <a:gd name="T31" fmla="*/ 2147483647 h 437"/>
                <a:gd name="T32" fmla="*/ 2147483647 w 895"/>
                <a:gd name="T33" fmla="*/ 2147483647 h 437"/>
                <a:gd name="T34" fmla="*/ 2147483647 w 895"/>
                <a:gd name="T35" fmla="*/ 2147483647 h 437"/>
                <a:gd name="T36" fmla="*/ 2147483647 w 895"/>
                <a:gd name="T37" fmla="*/ 2147483647 h 437"/>
                <a:gd name="T38" fmla="*/ 2147483647 w 895"/>
                <a:gd name="T39" fmla="*/ 2147483647 h 437"/>
                <a:gd name="T40" fmla="*/ 2147483647 w 895"/>
                <a:gd name="T41" fmla="*/ 2147483647 h 437"/>
                <a:gd name="T42" fmla="*/ 2147483647 w 895"/>
                <a:gd name="T43" fmla="*/ 2147483647 h 437"/>
                <a:gd name="T44" fmla="*/ 2147483647 w 895"/>
                <a:gd name="T45" fmla="*/ 2147483647 h 437"/>
                <a:gd name="T46" fmla="*/ 2147483647 w 895"/>
                <a:gd name="T47" fmla="*/ 2147483647 h 437"/>
                <a:gd name="T48" fmla="*/ 2147483647 w 895"/>
                <a:gd name="T49" fmla="*/ 2147483647 h 437"/>
                <a:gd name="T50" fmla="*/ 2147483647 w 895"/>
                <a:gd name="T51" fmla="*/ 2147483647 h 437"/>
                <a:gd name="T52" fmla="*/ 2147483647 w 895"/>
                <a:gd name="T53" fmla="*/ 2147483647 h 437"/>
                <a:gd name="T54" fmla="*/ 2147483647 w 895"/>
                <a:gd name="T55" fmla="*/ 2147483647 h 437"/>
                <a:gd name="T56" fmla="*/ 2147483647 w 895"/>
                <a:gd name="T57" fmla="*/ 2147483647 h 437"/>
                <a:gd name="T58" fmla="*/ 2147483647 w 895"/>
                <a:gd name="T59" fmla="*/ 2147483647 h 437"/>
                <a:gd name="T60" fmla="*/ 2147483647 w 895"/>
                <a:gd name="T61" fmla="*/ 2147483647 h 437"/>
                <a:gd name="T62" fmla="*/ 2147483647 w 895"/>
                <a:gd name="T63" fmla="*/ 2147483647 h 437"/>
                <a:gd name="T64" fmla="*/ 2147483647 w 895"/>
                <a:gd name="T65" fmla="*/ 2147483647 h 437"/>
                <a:gd name="T66" fmla="*/ 2147483647 w 895"/>
                <a:gd name="T67" fmla="*/ 2147483647 h 437"/>
                <a:gd name="T68" fmla="*/ 0 w 895"/>
                <a:gd name="T69" fmla="*/ 2147483647 h 437"/>
                <a:gd name="T70" fmla="*/ 2147483647 w 895"/>
                <a:gd name="T71" fmla="*/ 2147483647 h 437"/>
                <a:gd name="T72" fmla="*/ 2147483647 w 895"/>
                <a:gd name="T73" fmla="*/ 2147483647 h 437"/>
                <a:gd name="T74" fmla="*/ 2147483647 w 895"/>
                <a:gd name="T75" fmla="*/ 2147483647 h 437"/>
                <a:gd name="T76" fmla="*/ 2147483647 w 895"/>
                <a:gd name="T77" fmla="*/ 2147483647 h 437"/>
                <a:gd name="T78" fmla="*/ 2147483647 w 895"/>
                <a:gd name="T79" fmla="*/ 2147483647 h 437"/>
                <a:gd name="T80" fmla="*/ 2147483647 w 895"/>
                <a:gd name="T81" fmla="*/ 2147483647 h 437"/>
                <a:gd name="T82" fmla="*/ 2147483647 w 895"/>
                <a:gd name="T83" fmla="*/ 2147483647 h 437"/>
                <a:gd name="T84" fmla="*/ 2147483647 w 895"/>
                <a:gd name="T85" fmla="*/ 2147483647 h 437"/>
                <a:gd name="T86" fmla="*/ 2147483647 w 895"/>
                <a:gd name="T87" fmla="*/ 2147483647 h 437"/>
                <a:gd name="T88" fmla="*/ 2147483647 w 895"/>
                <a:gd name="T89" fmla="*/ 2147483647 h 437"/>
                <a:gd name="T90" fmla="*/ 2147483647 w 895"/>
                <a:gd name="T91" fmla="*/ 0 h 437"/>
                <a:gd name="T92" fmla="*/ 2147483647 w 895"/>
                <a:gd name="T93" fmla="*/ 2147483647 h 437"/>
                <a:gd name="T94" fmla="*/ 2147483647 w 895"/>
                <a:gd name="T95" fmla="*/ 2147483647 h 437"/>
                <a:gd name="T96" fmla="*/ 2147483647 w 895"/>
                <a:gd name="T97" fmla="*/ 2147483647 h 437"/>
                <a:gd name="T98" fmla="*/ 2147483647 w 895"/>
                <a:gd name="T99" fmla="*/ 2147483647 h 437"/>
                <a:gd name="T100" fmla="*/ 2147483647 w 895"/>
                <a:gd name="T101" fmla="*/ 2147483647 h 437"/>
                <a:gd name="T102" fmla="*/ 2147483647 w 895"/>
                <a:gd name="T103" fmla="*/ 2147483647 h 437"/>
                <a:gd name="T104" fmla="*/ 2147483647 w 895"/>
                <a:gd name="T105" fmla="*/ 2147483647 h 437"/>
                <a:gd name="T106" fmla="*/ 2147483647 w 895"/>
                <a:gd name="T107" fmla="*/ 2147483647 h 437"/>
                <a:gd name="T108" fmla="*/ 2147483647 w 895"/>
                <a:gd name="T109" fmla="*/ 2147483647 h 437"/>
                <a:gd name="T110" fmla="*/ 2147483647 w 895"/>
                <a:gd name="T111" fmla="*/ 2147483647 h 437"/>
                <a:gd name="T112" fmla="*/ 2147483647 w 895"/>
                <a:gd name="T113" fmla="*/ 2147483647 h 437"/>
                <a:gd name="T114" fmla="*/ 2147483647 w 895"/>
                <a:gd name="T115" fmla="*/ 2147483647 h 4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95"/>
                <a:gd name="T175" fmla="*/ 0 h 437"/>
                <a:gd name="T176" fmla="*/ 895 w 895"/>
                <a:gd name="T177" fmla="*/ 437 h 4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95" h="437">
                  <a:moveTo>
                    <a:pt x="804" y="105"/>
                  </a:moveTo>
                  <a:lnTo>
                    <a:pt x="792" y="141"/>
                  </a:lnTo>
                  <a:lnTo>
                    <a:pt x="768" y="177"/>
                  </a:lnTo>
                  <a:lnTo>
                    <a:pt x="775" y="198"/>
                  </a:lnTo>
                  <a:lnTo>
                    <a:pt x="802" y="186"/>
                  </a:lnTo>
                  <a:lnTo>
                    <a:pt x="823" y="196"/>
                  </a:lnTo>
                  <a:lnTo>
                    <a:pt x="855" y="181"/>
                  </a:lnTo>
                  <a:lnTo>
                    <a:pt x="869" y="209"/>
                  </a:lnTo>
                  <a:lnTo>
                    <a:pt x="895" y="215"/>
                  </a:lnTo>
                  <a:lnTo>
                    <a:pt x="888" y="230"/>
                  </a:lnTo>
                  <a:lnTo>
                    <a:pt x="869" y="243"/>
                  </a:lnTo>
                  <a:lnTo>
                    <a:pt x="817" y="238"/>
                  </a:lnTo>
                  <a:lnTo>
                    <a:pt x="773" y="283"/>
                  </a:lnTo>
                  <a:lnTo>
                    <a:pt x="753" y="277"/>
                  </a:lnTo>
                  <a:lnTo>
                    <a:pt x="726" y="306"/>
                  </a:lnTo>
                  <a:lnTo>
                    <a:pt x="701" y="310"/>
                  </a:lnTo>
                  <a:lnTo>
                    <a:pt x="688" y="293"/>
                  </a:lnTo>
                  <a:lnTo>
                    <a:pt x="669" y="295"/>
                  </a:lnTo>
                  <a:lnTo>
                    <a:pt x="652" y="319"/>
                  </a:lnTo>
                  <a:lnTo>
                    <a:pt x="675" y="348"/>
                  </a:lnTo>
                  <a:lnTo>
                    <a:pt x="644" y="369"/>
                  </a:lnTo>
                  <a:lnTo>
                    <a:pt x="625" y="395"/>
                  </a:lnTo>
                  <a:lnTo>
                    <a:pt x="570" y="395"/>
                  </a:lnTo>
                  <a:lnTo>
                    <a:pt x="509" y="414"/>
                  </a:lnTo>
                  <a:lnTo>
                    <a:pt x="490" y="437"/>
                  </a:lnTo>
                  <a:lnTo>
                    <a:pt x="414" y="414"/>
                  </a:lnTo>
                  <a:lnTo>
                    <a:pt x="393" y="397"/>
                  </a:lnTo>
                  <a:lnTo>
                    <a:pt x="241" y="386"/>
                  </a:lnTo>
                  <a:lnTo>
                    <a:pt x="202" y="323"/>
                  </a:lnTo>
                  <a:lnTo>
                    <a:pt x="156" y="298"/>
                  </a:lnTo>
                  <a:lnTo>
                    <a:pt x="86" y="289"/>
                  </a:lnTo>
                  <a:lnTo>
                    <a:pt x="87" y="213"/>
                  </a:lnTo>
                  <a:lnTo>
                    <a:pt x="44" y="177"/>
                  </a:lnTo>
                  <a:lnTo>
                    <a:pt x="6" y="158"/>
                  </a:lnTo>
                  <a:lnTo>
                    <a:pt x="0" y="133"/>
                  </a:lnTo>
                  <a:lnTo>
                    <a:pt x="11" y="118"/>
                  </a:lnTo>
                  <a:lnTo>
                    <a:pt x="29" y="118"/>
                  </a:lnTo>
                  <a:lnTo>
                    <a:pt x="76" y="78"/>
                  </a:lnTo>
                  <a:lnTo>
                    <a:pt x="127" y="59"/>
                  </a:lnTo>
                  <a:lnTo>
                    <a:pt x="137" y="70"/>
                  </a:lnTo>
                  <a:lnTo>
                    <a:pt x="171" y="70"/>
                  </a:lnTo>
                  <a:lnTo>
                    <a:pt x="203" y="105"/>
                  </a:lnTo>
                  <a:lnTo>
                    <a:pt x="283" y="103"/>
                  </a:lnTo>
                  <a:lnTo>
                    <a:pt x="293" y="67"/>
                  </a:lnTo>
                  <a:lnTo>
                    <a:pt x="279" y="40"/>
                  </a:lnTo>
                  <a:lnTo>
                    <a:pt x="306" y="0"/>
                  </a:lnTo>
                  <a:lnTo>
                    <a:pt x="395" y="31"/>
                  </a:lnTo>
                  <a:lnTo>
                    <a:pt x="411" y="82"/>
                  </a:lnTo>
                  <a:lnTo>
                    <a:pt x="450" y="93"/>
                  </a:lnTo>
                  <a:lnTo>
                    <a:pt x="496" y="76"/>
                  </a:lnTo>
                  <a:lnTo>
                    <a:pt x="574" y="124"/>
                  </a:lnTo>
                  <a:lnTo>
                    <a:pt x="635" y="135"/>
                  </a:lnTo>
                  <a:lnTo>
                    <a:pt x="699" y="120"/>
                  </a:lnTo>
                  <a:lnTo>
                    <a:pt x="724" y="91"/>
                  </a:lnTo>
                  <a:lnTo>
                    <a:pt x="745" y="82"/>
                  </a:lnTo>
                  <a:lnTo>
                    <a:pt x="775" y="101"/>
                  </a:lnTo>
                  <a:lnTo>
                    <a:pt x="794" y="99"/>
                  </a:lnTo>
                  <a:lnTo>
                    <a:pt x="804" y="10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3" name="Freeform 139"/>
            <p:cNvSpPr>
              <a:spLocks/>
            </p:cNvSpPr>
            <p:nvPr/>
          </p:nvSpPr>
          <p:spPr bwMode="auto">
            <a:xfrm>
              <a:off x="4167908" y="3743963"/>
              <a:ext cx="126792" cy="86138"/>
            </a:xfrm>
            <a:custGeom>
              <a:avLst/>
              <a:gdLst>
                <a:gd name="T0" fmla="*/ 2147483647 w 232"/>
                <a:gd name="T1" fmla="*/ 0 h 138"/>
                <a:gd name="T2" fmla="*/ 2147483647 w 232"/>
                <a:gd name="T3" fmla="*/ 2147483647 h 138"/>
                <a:gd name="T4" fmla="*/ 2147483647 w 232"/>
                <a:gd name="T5" fmla="*/ 2147483647 h 138"/>
                <a:gd name="T6" fmla="*/ 2147483647 w 232"/>
                <a:gd name="T7" fmla="*/ 2147483647 h 138"/>
                <a:gd name="T8" fmla="*/ 2147483647 w 232"/>
                <a:gd name="T9" fmla="*/ 2147483647 h 138"/>
                <a:gd name="T10" fmla="*/ 2147483647 w 232"/>
                <a:gd name="T11" fmla="*/ 2147483647 h 138"/>
                <a:gd name="T12" fmla="*/ 2147483647 w 232"/>
                <a:gd name="T13" fmla="*/ 2147483647 h 138"/>
                <a:gd name="T14" fmla="*/ 2147483647 w 232"/>
                <a:gd name="T15" fmla="*/ 2147483647 h 138"/>
                <a:gd name="T16" fmla="*/ 2147483647 w 232"/>
                <a:gd name="T17" fmla="*/ 2147483647 h 138"/>
                <a:gd name="T18" fmla="*/ 2147483647 w 232"/>
                <a:gd name="T19" fmla="*/ 2147483647 h 138"/>
                <a:gd name="T20" fmla="*/ 2147483647 w 232"/>
                <a:gd name="T21" fmla="*/ 2147483647 h 138"/>
                <a:gd name="T22" fmla="*/ 2147483647 w 232"/>
                <a:gd name="T23" fmla="*/ 2147483647 h 138"/>
                <a:gd name="T24" fmla="*/ 2147483647 w 232"/>
                <a:gd name="T25" fmla="*/ 2147483647 h 138"/>
                <a:gd name="T26" fmla="*/ 2147483647 w 232"/>
                <a:gd name="T27" fmla="*/ 2147483647 h 138"/>
                <a:gd name="T28" fmla="*/ 2147483647 w 232"/>
                <a:gd name="T29" fmla="*/ 2147483647 h 138"/>
                <a:gd name="T30" fmla="*/ 2147483647 w 232"/>
                <a:gd name="T31" fmla="*/ 2147483647 h 138"/>
                <a:gd name="T32" fmla="*/ 0 w 232"/>
                <a:gd name="T33" fmla="*/ 2147483647 h 138"/>
                <a:gd name="T34" fmla="*/ 2147483647 w 232"/>
                <a:gd name="T35" fmla="*/ 2147483647 h 138"/>
                <a:gd name="T36" fmla="*/ 2147483647 w 232"/>
                <a:gd name="T37" fmla="*/ 0 h 13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32"/>
                <a:gd name="T58" fmla="*/ 0 h 138"/>
                <a:gd name="T59" fmla="*/ 232 w 232"/>
                <a:gd name="T60" fmla="*/ 138 h 13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32" h="138">
                  <a:moveTo>
                    <a:pt x="23" y="0"/>
                  </a:moveTo>
                  <a:lnTo>
                    <a:pt x="55" y="15"/>
                  </a:lnTo>
                  <a:lnTo>
                    <a:pt x="95" y="45"/>
                  </a:lnTo>
                  <a:lnTo>
                    <a:pt x="108" y="45"/>
                  </a:lnTo>
                  <a:lnTo>
                    <a:pt x="154" y="85"/>
                  </a:lnTo>
                  <a:lnTo>
                    <a:pt x="232" y="91"/>
                  </a:lnTo>
                  <a:lnTo>
                    <a:pt x="230" y="129"/>
                  </a:lnTo>
                  <a:lnTo>
                    <a:pt x="216" y="138"/>
                  </a:lnTo>
                  <a:lnTo>
                    <a:pt x="156" y="131"/>
                  </a:lnTo>
                  <a:lnTo>
                    <a:pt x="152" y="119"/>
                  </a:lnTo>
                  <a:lnTo>
                    <a:pt x="137" y="121"/>
                  </a:lnTo>
                  <a:lnTo>
                    <a:pt x="118" y="97"/>
                  </a:lnTo>
                  <a:lnTo>
                    <a:pt x="97" y="108"/>
                  </a:lnTo>
                  <a:lnTo>
                    <a:pt x="70" y="102"/>
                  </a:lnTo>
                  <a:lnTo>
                    <a:pt x="24" y="76"/>
                  </a:lnTo>
                  <a:lnTo>
                    <a:pt x="23" y="60"/>
                  </a:lnTo>
                  <a:lnTo>
                    <a:pt x="0" y="57"/>
                  </a:lnTo>
                  <a:lnTo>
                    <a:pt x="4" y="24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4" name="Freeform 140"/>
            <p:cNvSpPr>
              <a:spLocks/>
            </p:cNvSpPr>
            <p:nvPr/>
          </p:nvSpPr>
          <p:spPr bwMode="auto">
            <a:xfrm>
              <a:off x="3754457" y="3849889"/>
              <a:ext cx="103638" cy="160636"/>
            </a:xfrm>
            <a:custGeom>
              <a:avLst/>
              <a:gdLst>
                <a:gd name="T0" fmla="*/ 2147483647 w 190"/>
                <a:gd name="T1" fmla="*/ 2147483647 h 258"/>
                <a:gd name="T2" fmla="*/ 0 w 190"/>
                <a:gd name="T3" fmla="*/ 2147483647 h 258"/>
                <a:gd name="T4" fmla="*/ 2147483647 w 190"/>
                <a:gd name="T5" fmla="*/ 2147483647 h 258"/>
                <a:gd name="T6" fmla="*/ 2147483647 w 190"/>
                <a:gd name="T7" fmla="*/ 2147483647 h 258"/>
                <a:gd name="T8" fmla="*/ 2147483647 w 190"/>
                <a:gd name="T9" fmla="*/ 2147483647 h 258"/>
                <a:gd name="T10" fmla="*/ 2147483647 w 190"/>
                <a:gd name="T11" fmla="*/ 2147483647 h 258"/>
                <a:gd name="T12" fmla="*/ 2147483647 w 190"/>
                <a:gd name="T13" fmla="*/ 2147483647 h 258"/>
                <a:gd name="T14" fmla="*/ 2147483647 w 190"/>
                <a:gd name="T15" fmla="*/ 2147483647 h 258"/>
                <a:gd name="T16" fmla="*/ 2147483647 w 190"/>
                <a:gd name="T17" fmla="*/ 2147483647 h 258"/>
                <a:gd name="T18" fmla="*/ 2147483647 w 190"/>
                <a:gd name="T19" fmla="*/ 2147483647 h 258"/>
                <a:gd name="T20" fmla="*/ 2147483647 w 190"/>
                <a:gd name="T21" fmla="*/ 0 h 258"/>
                <a:gd name="T22" fmla="*/ 2147483647 w 190"/>
                <a:gd name="T23" fmla="*/ 2147483647 h 258"/>
                <a:gd name="T24" fmla="*/ 2147483647 w 190"/>
                <a:gd name="T25" fmla="*/ 2147483647 h 258"/>
                <a:gd name="T26" fmla="*/ 2147483647 w 190"/>
                <a:gd name="T27" fmla="*/ 2147483647 h 258"/>
                <a:gd name="T28" fmla="*/ 2147483647 w 190"/>
                <a:gd name="T29" fmla="*/ 2147483647 h 258"/>
                <a:gd name="T30" fmla="*/ 2147483647 w 190"/>
                <a:gd name="T31" fmla="*/ 2147483647 h 258"/>
                <a:gd name="T32" fmla="*/ 2147483647 w 190"/>
                <a:gd name="T33" fmla="*/ 2147483647 h 258"/>
                <a:gd name="T34" fmla="*/ 2147483647 w 190"/>
                <a:gd name="T35" fmla="*/ 2147483647 h 258"/>
                <a:gd name="T36" fmla="*/ 2147483647 w 190"/>
                <a:gd name="T37" fmla="*/ 2147483647 h 258"/>
                <a:gd name="T38" fmla="*/ 2147483647 w 190"/>
                <a:gd name="T39" fmla="*/ 2147483647 h 258"/>
                <a:gd name="T40" fmla="*/ 2147483647 w 190"/>
                <a:gd name="T41" fmla="*/ 2147483647 h 258"/>
                <a:gd name="T42" fmla="*/ 2147483647 w 190"/>
                <a:gd name="T43" fmla="*/ 2147483647 h 258"/>
                <a:gd name="T44" fmla="*/ 2147483647 w 190"/>
                <a:gd name="T45" fmla="*/ 2147483647 h 258"/>
                <a:gd name="T46" fmla="*/ 2147483647 w 190"/>
                <a:gd name="T47" fmla="*/ 2147483647 h 258"/>
                <a:gd name="T48" fmla="*/ 2147483647 w 190"/>
                <a:gd name="T49" fmla="*/ 2147483647 h 258"/>
                <a:gd name="T50" fmla="*/ 2147483647 w 190"/>
                <a:gd name="T51" fmla="*/ 2147483647 h 258"/>
                <a:gd name="T52" fmla="*/ 2147483647 w 190"/>
                <a:gd name="T53" fmla="*/ 2147483647 h 258"/>
                <a:gd name="T54" fmla="*/ 2147483647 w 190"/>
                <a:gd name="T55" fmla="*/ 2147483647 h 25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0"/>
                <a:gd name="T85" fmla="*/ 0 h 258"/>
                <a:gd name="T86" fmla="*/ 190 w 190"/>
                <a:gd name="T87" fmla="*/ 258 h 25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0" h="258">
                  <a:moveTo>
                    <a:pt x="9" y="258"/>
                  </a:moveTo>
                  <a:lnTo>
                    <a:pt x="0" y="214"/>
                  </a:lnTo>
                  <a:lnTo>
                    <a:pt x="76" y="167"/>
                  </a:lnTo>
                  <a:lnTo>
                    <a:pt x="98" y="159"/>
                  </a:lnTo>
                  <a:lnTo>
                    <a:pt x="110" y="135"/>
                  </a:lnTo>
                  <a:lnTo>
                    <a:pt x="102" y="93"/>
                  </a:lnTo>
                  <a:lnTo>
                    <a:pt x="74" y="81"/>
                  </a:lnTo>
                  <a:lnTo>
                    <a:pt x="53" y="85"/>
                  </a:lnTo>
                  <a:lnTo>
                    <a:pt x="53" y="38"/>
                  </a:lnTo>
                  <a:lnTo>
                    <a:pt x="74" y="7"/>
                  </a:lnTo>
                  <a:lnTo>
                    <a:pt x="87" y="0"/>
                  </a:lnTo>
                  <a:lnTo>
                    <a:pt x="93" y="21"/>
                  </a:lnTo>
                  <a:lnTo>
                    <a:pt x="110" y="34"/>
                  </a:lnTo>
                  <a:lnTo>
                    <a:pt x="152" y="45"/>
                  </a:lnTo>
                  <a:lnTo>
                    <a:pt x="169" y="76"/>
                  </a:lnTo>
                  <a:lnTo>
                    <a:pt x="190" y="89"/>
                  </a:lnTo>
                  <a:lnTo>
                    <a:pt x="171" y="123"/>
                  </a:lnTo>
                  <a:lnTo>
                    <a:pt x="155" y="148"/>
                  </a:lnTo>
                  <a:lnTo>
                    <a:pt x="165" y="148"/>
                  </a:lnTo>
                  <a:lnTo>
                    <a:pt x="155" y="163"/>
                  </a:lnTo>
                  <a:lnTo>
                    <a:pt x="133" y="155"/>
                  </a:lnTo>
                  <a:lnTo>
                    <a:pt x="134" y="193"/>
                  </a:lnTo>
                  <a:lnTo>
                    <a:pt x="102" y="195"/>
                  </a:lnTo>
                  <a:lnTo>
                    <a:pt x="93" y="220"/>
                  </a:lnTo>
                  <a:lnTo>
                    <a:pt x="70" y="222"/>
                  </a:lnTo>
                  <a:lnTo>
                    <a:pt x="64" y="252"/>
                  </a:lnTo>
                  <a:lnTo>
                    <a:pt x="41" y="248"/>
                  </a:lnTo>
                  <a:lnTo>
                    <a:pt x="9" y="25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5" name="Freeform 141"/>
            <p:cNvSpPr>
              <a:spLocks/>
            </p:cNvSpPr>
            <p:nvPr/>
          </p:nvSpPr>
          <p:spPr bwMode="auto">
            <a:xfrm>
              <a:off x="3796354" y="3823117"/>
              <a:ext cx="8820" cy="13968"/>
            </a:xfrm>
            <a:custGeom>
              <a:avLst/>
              <a:gdLst>
                <a:gd name="T0" fmla="*/ 0 w 19"/>
                <a:gd name="T1" fmla="*/ 2147483647 h 21"/>
                <a:gd name="T2" fmla="*/ 2147483647 w 19"/>
                <a:gd name="T3" fmla="*/ 2147483647 h 21"/>
                <a:gd name="T4" fmla="*/ 2147483647 w 19"/>
                <a:gd name="T5" fmla="*/ 0 h 21"/>
                <a:gd name="T6" fmla="*/ 2147483647 w 19"/>
                <a:gd name="T7" fmla="*/ 2147483647 h 21"/>
                <a:gd name="T8" fmla="*/ 2147483647 w 19"/>
                <a:gd name="T9" fmla="*/ 2147483647 h 21"/>
                <a:gd name="T10" fmla="*/ 0 w 19"/>
                <a:gd name="T11" fmla="*/ 2147483647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1"/>
                <a:gd name="T20" fmla="*/ 19 w 19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1">
                  <a:moveTo>
                    <a:pt x="0" y="15"/>
                  </a:moveTo>
                  <a:lnTo>
                    <a:pt x="7" y="4"/>
                  </a:lnTo>
                  <a:lnTo>
                    <a:pt x="19" y="0"/>
                  </a:lnTo>
                  <a:lnTo>
                    <a:pt x="19" y="11"/>
                  </a:lnTo>
                  <a:lnTo>
                    <a:pt x="9" y="21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6" name="Freeform 142"/>
            <p:cNvSpPr>
              <a:spLocks/>
            </p:cNvSpPr>
            <p:nvPr/>
          </p:nvSpPr>
          <p:spPr bwMode="auto">
            <a:xfrm>
              <a:off x="3871326" y="3601951"/>
              <a:ext cx="254686" cy="280530"/>
            </a:xfrm>
            <a:custGeom>
              <a:avLst/>
              <a:gdLst>
                <a:gd name="T0" fmla="*/ 2147483647 w 468"/>
                <a:gd name="T1" fmla="*/ 2147483647 h 450"/>
                <a:gd name="T2" fmla="*/ 2147483647 w 468"/>
                <a:gd name="T3" fmla="*/ 2147483647 h 450"/>
                <a:gd name="T4" fmla="*/ 2147483647 w 468"/>
                <a:gd name="T5" fmla="*/ 2147483647 h 450"/>
                <a:gd name="T6" fmla="*/ 2147483647 w 468"/>
                <a:gd name="T7" fmla="*/ 2147483647 h 450"/>
                <a:gd name="T8" fmla="*/ 2147483647 w 468"/>
                <a:gd name="T9" fmla="*/ 2147483647 h 450"/>
                <a:gd name="T10" fmla="*/ 2147483647 w 468"/>
                <a:gd name="T11" fmla="*/ 2147483647 h 450"/>
                <a:gd name="T12" fmla="*/ 2147483647 w 468"/>
                <a:gd name="T13" fmla="*/ 2147483647 h 450"/>
                <a:gd name="T14" fmla="*/ 2147483647 w 468"/>
                <a:gd name="T15" fmla="*/ 2147483647 h 450"/>
                <a:gd name="T16" fmla="*/ 2147483647 w 468"/>
                <a:gd name="T17" fmla="*/ 2147483647 h 450"/>
                <a:gd name="T18" fmla="*/ 2147483647 w 468"/>
                <a:gd name="T19" fmla="*/ 2147483647 h 450"/>
                <a:gd name="T20" fmla="*/ 2147483647 w 468"/>
                <a:gd name="T21" fmla="*/ 2147483647 h 450"/>
                <a:gd name="T22" fmla="*/ 2147483647 w 468"/>
                <a:gd name="T23" fmla="*/ 2147483647 h 450"/>
                <a:gd name="T24" fmla="*/ 2147483647 w 468"/>
                <a:gd name="T25" fmla="*/ 2147483647 h 450"/>
                <a:gd name="T26" fmla="*/ 2147483647 w 468"/>
                <a:gd name="T27" fmla="*/ 2147483647 h 450"/>
                <a:gd name="T28" fmla="*/ 2147483647 w 468"/>
                <a:gd name="T29" fmla="*/ 2147483647 h 450"/>
                <a:gd name="T30" fmla="*/ 2147483647 w 468"/>
                <a:gd name="T31" fmla="*/ 2147483647 h 450"/>
                <a:gd name="T32" fmla="*/ 2147483647 w 468"/>
                <a:gd name="T33" fmla="*/ 2147483647 h 450"/>
                <a:gd name="T34" fmla="*/ 2147483647 w 468"/>
                <a:gd name="T35" fmla="*/ 2147483647 h 450"/>
                <a:gd name="T36" fmla="*/ 2147483647 w 468"/>
                <a:gd name="T37" fmla="*/ 2147483647 h 450"/>
                <a:gd name="T38" fmla="*/ 2147483647 w 468"/>
                <a:gd name="T39" fmla="*/ 2147483647 h 450"/>
                <a:gd name="T40" fmla="*/ 2147483647 w 468"/>
                <a:gd name="T41" fmla="*/ 2147483647 h 450"/>
                <a:gd name="T42" fmla="*/ 2147483647 w 468"/>
                <a:gd name="T43" fmla="*/ 2147483647 h 450"/>
                <a:gd name="T44" fmla="*/ 2147483647 w 468"/>
                <a:gd name="T45" fmla="*/ 2147483647 h 450"/>
                <a:gd name="T46" fmla="*/ 2147483647 w 468"/>
                <a:gd name="T47" fmla="*/ 2147483647 h 450"/>
                <a:gd name="T48" fmla="*/ 2147483647 w 468"/>
                <a:gd name="T49" fmla="*/ 2147483647 h 450"/>
                <a:gd name="T50" fmla="*/ 2147483647 w 468"/>
                <a:gd name="T51" fmla="*/ 2147483647 h 450"/>
                <a:gd name="T52" fmla="*/ 2147483647 w 468"/>
                <a:gd name="T53" fmla="*/ 2147483647 h 450"/>
                <a:gd name="T54" fmla="*/ 2147483647 w 468"/>
                <a:gd name="T55" fmla="*/ 2147483647 h 450"/>
                <a:gd name="T56" fmla="*/ 2147483647 w 468"/>
                <a:gd name="T57" fmla="*/ 2147483647 h 450"/>
                <a:gd name="T58" fmla="*/ 2147483647 w 468"/>
                <a:gd name="T59" fmla="*/ 2147483647 h 450"/>
                <a:gd name="T60" fmla="*/ 2147483647 w 468"/>
                <a:gd name="T61" fmla="*/ 2147483647 h 450"/>
                <a:gd name="T62" fmla="*/ 2147483647 w 468"/>
                <a:gd name="T63" fmla="*/ 2147483647 h 450"/>
                <a:gd name="T64" fmla="*/ 2147483647 w 468"/>
                <a:gd name="T65" fmla="*/ 2147483647 h 450"/>
                <a:gd name="T66" fmla="*/ 2147483647 w 468"/>
                <a:gd name="T67" fmla="*/ 2147483647 h 450"/>
                <a:gd name="T68" fmla="*/ 0 w 468"/>
                <a:gd name="T69" fmla="*/ 2147483647 h 4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68"/>
                <a:gd name="T106" fmla="*/ 0 h 450"/>
                <a:gd name="T107" fmla="*/ 468 w 468"/>
                <a:gd name="T108" fmla="*/ 450 h 45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68" h="450">
                  <a:moveTo>
                    <a:pt x="0" y="247"/>
                  </a:moveTo>
                  <a:lnTo>
                    <a:pt x="19" y="260"/>
                  </a:lnTo>
                  <a:lnTo>
                    <a:pt x="46" y="268"/>
                  </a:lnTo>
                  <a:lnTo>
                    <a:pt x="150" y="254"/>
                  </a:lnTo>
                  <a:lnTo>
                    <a:pt x="158" y="214"/>
                  </a:lnTo>
                  <a:lnTo>
                    <a:pt x="173" y="197"/>
                  </a:lnTo>
                  <a:lnTo>
                    <a:pt x="192" y="199"/>
                  </a:lnTo>
                  <a:lnTo>
                    <a:pt x="213" y="180"/>
                  </a:lnTo>
                  <a:lnTo>
                    <a:pt x="228" y="192"/>
                  </a:lnTo>
                  <a:lnTo>
                    <a:pt x="242" y="180"/>
                  </a:lnTo>
                  <a:lnTo>
                    <a:pt x="238" y="157"/>
                  </a:lnTo>
                  <a:lnTo>
                    <a:pt x="243" y="140"/>
                  </a:lnTo>
                  <a:lnTo>
                    <a:pt x="266" y="131"/>
                  </a:lnTo>
                  <a:lnTo>
                    <a:pt x="257" y="106"/>
                  </a:lnTo>
                  <a:lnTo>
                    <a:pt x="283" y="100"/>
                  </a:lnTo>
                  <a:lnTo>
                    <a:pt x="301" y="66"/>
                  </a:lnTo>
                  <a:lnTo>
                    <a:pt x="295" y="43"/>
                  </a:lnTo>
                  <a:lnTo>
                    <a:pt x="299" y="32"/>
                  </a:lnTo>
                  <a:lnTo>
                    <a:pt x="339" y="11"/>
                  </a:lnTo>
                  <a:lnTo>
                    <a:pt x="382" y="4"/>
                  </a:lnTo>
                  <a:lnTo>
                    <a:pt x="392" y="0"/>
                  </a:lnTo>
                  <a:lnTo>
                    <a:pt x="428" y="7"/>
                  </a:lnTo>
                  <a:lnTo>
                    <a:pt x="445" y="28"/>
                  </a:lnTo>
                  <a:lnTo>
                    <a:pt x="468" y="24"/>
                  </a:lnTo>
                  <a:lnTo>
                    <a:pt x="462" y="83"/>
                  </a:lnTo>
                  <a:lnTo>
                    <a:pt x="435" y="74"/>
                  </a:lnTo>
                  <a:lnTo>
                    <a:pt x="375" y="78"/>
                  </a:lnTo>
                  <a:lnTo>
                    <a:pt x="363" y="106"/>
                  </a:lnTo>
                  <a:lnTo>
                    <a:pt x="373" y="137"/>
                  </a:lnTo>
                  <a:lnTo>
                    <a:pt x="420" y="163"/>
                  </a:lnTo>
                  <a:lnTo>
                    <a:pt x="399" y="188"/>
                  </a:lnTo>
                  <a:lnTo>
                    <a:pt x="380" y="224"/>
                  </a:lnTo>
                  <a:lnTo>
                    <a:pt x="359" y="268"/>
                  </a:lnTo>
                  <a:lnTo>
                    <a:pt x="323" y="287"/>
                  </a:lnTo>
                  <a:lnTo>
                    <a:pt x="316" y="307"/>
                  </a:lnTo>
                  <a:lnTo>
                    <a:pt x="287" y="321"/>
                  </a:lnTo>
                  <a:lnTo>
                    <a:pt x="270" y="313"/>
                  </a:lnTo>
                  <a:lnTo>
                    <a:pt x="245" y="338"/>
                  </a:lnTo>
                  <a:lnTo>
                    <a:pt x="243" y="353"/>
                  </a:lnTo>
                  <a:lnTo>
                    <a:pt x="268" y="353"/>
                  </a:lnTo>
                  <a:lnTo>
                    <a:pt x="257" y="372"/>
                  </a:lnTo>
                  <a:lnTo>
                    <a:pt x="285" y="383"/>
                  </a:lnTo>
                  <a:lnTo>
                    <a:pt x="299" y="425"/>
                  </a:lnTo>
                  <a:lnTo>
                    <a:pt x="272" y="423"/>
                  </a:lnTo>
                  <a:lnTo>
                    <a:pt x="223" y="433"/>
                  </a:lnTo>
                  <a:lnTo>
                    <a:pt x="213" y="450"/>
                  </a:lnTo>
                  <a:lnTo>
                    <a:pt x="181" y="431"/>
                  </a:lnTo>
                  <a:lnTo>
                    <a:pt x="181" y="408"/>
                  </a:lnTo>
                  <a:lnTo>
                    <a:pt x="175" y="406"/>
                  </a:lnTo>
                  <a:lnTo>
                    <a:pt x="166" y="412"/>
                  </a:lnTo>
                  <a:lnTo>
                    <a:pt x="169" y="397"/>
                  </a:lnTo>
                  <a:lnTo>
                    <a:pt x="160" y="389"/>
                  </a:lnTo>
                  <a:lnTo>
                    <a:pt x="133" y="383"/>
                  </a:lnTo>
                  <a:lnTo>
                    <a:pt x="107" y="397"/>
                  </a:lnTo>
                  <a:lnTo>
                    <a:pt x="99" y="389"/>
                  </a:lnTo>
                  <a:lnTo>
                    <a:pt x="78" y="389"/>
                  </a:lnTo>
                  <a:lnTo>
                    <a:pt x="76" y="401"/>
                  </a:lnTo>
                  <a:lnTo>
                    <a:pt x="52" y="393"/>
                  </a:lnTo>
                  <a:lnTo>
                    <a:pt x="50" y="399"/>
                  </a:lnTo>
                  <a:lnTo>
                    <a:pt x="27" y="399"/>
                  </a:lnTo>
                  <a:lnTo>
                    <a:pt x="25" y="391"/>
                  </a:lnTo>
                  <a:lnTo>
                    <a:pt x="27" y="372"/>
                  </a:lnTo>
                  <a:lnTo>
                    <a:pt x="42" y="351"/>
                  </a:lnTo>
                  <a:lnTo>
                    <a:pt x="72" y="349"/>
                  </a:lnTo>
                  <a:lnTo>
                    <a:pt x="67" y="328"/>
                  </a:lnTo>
                  <a:lnTo>
                    <a:pt x="53" y="330"/>
                  </a:lnTo>
                  <a:lnTo>
                    <a:pt x="55" y="300"/>
                  </a:lnTo>
                  <a:lnTo>
                    <a:pt x="29" y="294"/>
                  </a:lnTo>
                  <a:lnTo>
                    <a:pt x="0" y="256"/>
                  </a:lnTo>
                  <a:lnTo>
                    <a:pt x="0" y="24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7" name="Freeform 143"/>
            <p:cNvSpPr>
              <a:spLocks/>
            </p:cNvSpPr>
            <p:nvPr/>
          </p:nvSpPr>
          <p:spPr bwMode="auto">
            <a:xfrm>
              <a:off x="4776508" y="3974440"/>
              <a:ext cx="71665" cy="121059"/>
            </a:xfrm>
            <a:custGeom>
              <a:avLst/>
              <a:gdLst>
                <a:gd name="T0" fmla="*/ 2147483647 w 133"/>
                <a:gd name="T1" fmla="*/ 2147483647 h 194"/>
                <a:gd name="T2" fmla="*/ 2147483647 w 133"/>
                <a:gd name="T3" fmla="*/ 2147483647 h 194"/>
                <a:gd name="T4" fmla="*/ 2147483647 w 133"/>
                <a:gd name="T5" fmla="*/ 0 h 194"/>
                <a:gd name="T6" fmla="*/ 2147483647 w 133"/>
                <a:gd name="T7" fmla="*/ 2147483647 h 194"/>
                <a:gd name="T8" fmla="*/ 2147483647 w 133"/>
                <a:gd name="T9" fmla="*/ 2147483647 h 194"/>
                <a:gd name="T10" fmla="*/ 2147483647 w 133"/>
                <a:gd name="T11" fmla="*/ 0 h 194"/>
                <a:gd name="T12" fmla="*/ 2147483647 w 133"/>
                <a:gd name="T13" fmla="*/ 2147483647 h 194"/>
                <a:gd name="T14" fmla="*/ 2147483647 w 133"/>
                <a:gd name="T15" fmla="*/ 2147483647 h 194"/>
                <a:gd name="T16" fmla="*/ 2147483647 w 133"/>
                <a:gd name="T17" fmla="*/ 2147483647 h 194"/>
                <a:gd name="T18" fmla="*/ 2147483647 w 133"/>
                <a:gd name="T19" fmla="*/ 2147483647 h 194"/>
                <a:gd name="T20" fmla="*/ 2147483647 w 133"/>
                <a:gd name="T21" fmla="*/ 2147483647 h 194"/>
                <a:gd name="T22" fmla="*/ 2147483647 w 133"/>
                <a:gd name="T23" fmla="*/ 2147483647 h 194"/>
                <a:gd name="T24" fmla="*/ 2147483647 w 133"/>
                <a:gd name="T25" fmla="*/ 2147483647 h 194"/>
                <a:gd name="T26" fmla="*/ 2147483647 w 133"/>
                <a:gd name="T27" fmla="*/ 2147483647 h 194"/>
                <a:gd name="T28" fmla="*/ 2147483647 w 133"/>
                <a:gd name="T29" fmla="*/ 2147483647 h 194"/>
                <a:gd name="T30" fmla="*/ 2147483647 w 133"/>
                <a:gd name="T31" fmla="*/ 2147483647 h 194"/>
                <a:gd name="T32" fmla="*/ 2147483647 w 133"/>
                <a:gd name="T33" fmla="*/ 2147483647 h 194"/>
                <a:gd name="T34" fmla="*/ 2147483647 w 133"/>
                <a:gd name="T35" fmla="*/ 2147483647 h 194"/>
                <a:gd name="T36" fmla="*/ 2147483647 w 133"/>
                <a:gd name="T37" fmla="*/ 2147483647 h 194"/>
                <a:gd name="T38" fmla="*/ 2147483647 w 133"/>
                <a:gd name="T39" fmla="*/ 2147483647 h 194"/>
                <a:gd name="T40" fmla="*/ 2147483647 w 133"/>
                <a:gd name="T41" fmla="*/ 2147483647 h 194"/>
                <a:gd name="T42" fmla="*/ 2147483647 w 133"/>
                <a:gd name="T43" fmla="*/ 2147483647 h 194"/>
                <a:gd name="T44" fmla="*/ 2147483647 w 133"/>
                <a:gd name="T45" fmla="*/ 2147483647 h 194"/>
                <a:gd name="T46" fmla="*/ 2147483647 w 133"/>
                <a:gd name="T47" fmla="*/ 2147483647 h 194"/>
                <a:gd name="T48" fmla="*/ 2147483647 w 133"/>
                <a:gd name="T49" fmla="*/ 2147483647 h 194"/>
                <a:gd name="T50" fmla="*/ 2147483647 w 133"/>
                <a:gd name="T51" fmla="*/ 2147483647 h 194"/>
                <a:gd name="T52" fmla="*/ 2147483647 w 133"/>
                <a:gd name="T53" fmla="*/ 2147483647 h 194"/>
                <a:gd name="T54" fmla="*/ 2147483647 w 133"/>
                <a:gd name="T55" fmla="*/ 2147483647 h 194"/>
                <a:gd name="T56" fmla="*/ 2147483647 w 133"/>
                <a:gd name="T57" fmla="*/ 2147483647 h 194"/>
                <a:gd name="T58" fmla="*/ 2147483647 w 133"/>
                <a:gd name="T59" fmla="*/ 2147483647 h 194"/>
                <a:gd name="T60" fmla="*/ 2147483647 w 133"/>
                <a:gd name="T61" fmla="*/ 2147483647 h 194"/>
                <a:gd name="T62" fmla="*/ 2147483647 w 133"/>
                <a:gd name="T63" fmla="*/ 2147483647 h 194"/>
                <a:gd name="T64" fmla="*/ 2147483647 w 133"/>
                <a:gd name="T65" fmla="*/ 2147483647 h 194"/>
                <a:gd name="T66" fmla="*/ 2147483647 w 133"/>
                <a:gd name="T67" fmla="*/ 2147483647 h 194"/>
                <a:gd name="T68" fmla="*/ 2147483647 w 133"/>
                <a:gd name="T69" fmla="*/ 2147483647 h 194"/>
                <a:gd name="T70" fmla="*/ 2147483647 w 133"/>
                <a:gd name="T71" fmla="*/ 2147483647 h 194"/>
                <a:gd name="T72" fmla="*/ 2147483647 w 133"/>
                <a:gd name="T73" fmla="*/ 2147483647 h 194"/>
                <a:gd name="T74" fmla="*/ 2147483647 w 133"/>
                <a:gd name="T75" fmla="*/ 2147483647 h 194"/>
                <a:gd name="T76" fmla="*/ 2147483647 w 133"/>
                <a:gd name="T77" fmla="*/ 2147483647 h 194"/>
                <a:gd name="T78" fmla="*/ 2147483647 w 133"/>
                <a:gd name="T79" fmla="*/ 2147483647 h 194"/>
                <a:gd name="T80" fmla="*/ 2147483647 w 133"/>
                <a:gd name="T81" fmla="*/ 2147483647 h 194"/>
                <a:gd name="T82" fmla="*/ 0 w 133"/>
                <a:gd name="T83" fmla="*/ 2147483647 h 194"/>
                <a:gd name="T84" fmla="*/ 2147483647 w 133"/>
                <a:gd name="T85" fmla="*/ 2147483647 h 194"/>
                <a:gd name="T86" fmla="*/ 2147483647 w 133"/>
                <a:gd name="T87" fmla="*/ 2147483647 h 19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3"/>
                <a:gd name="T133" fmla="*/ 0 h 194"/>
                <a:gd name="T134" fmla="*/ 133 w 133"/>
                <a:gd name="T135" fmla="*/ 194 h 19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3" h="194">
                  <a:moveTo>
                    <a:pt x="25" y="89"/>
                  </a:moveTo>
                  <a:lnTo>
                    <a:pt x="19" y="63"/>
                  </a:lnTo>
                  <a:lnTo>
                    <a:pt x="23" y="0"/>
                  </a:lnTo>
                  <a:lnTo>
                    <a:pt x="46" y="2"/>
                  </a:lnTo>
                  <a:lnTo>
                    <a:pt x="63" y="11"/>
                  </a:lnTo>
                  <a:lnTo>
                    <a:pt x="71" y="0"/>
                  </a:lnTo>
                  <a:lnTo>
                    <a:pt x="78" y="10"/>
                  </a:lnTo>
                  <a:lnTo>
                    <a:pt x="67" y="25"/>
                  </a:lnTo>
                  <a:lnTo>
                    <a:pt x="74" y="44"/>
                  </a:lnTo>
                  <a:lnTo>
                    <a:pt x="63" y="68"/>
                  </a:lnTo>
                  <a:lnTo>
                    <a:pt x="63" y="80"/>
                  </a:lnTo>
                  <a:lnTo>
                    <a:pt x="52" y="89"/>
                  </a:lnTo>
                  <a:lnTo>
                    <a:pt x="48" y="99"/>
                  </a:lnTo>
                  <a:lnTo>
                    <a:pt x="44" y="112"/>
                  </a:lnTo>
                  <a:lnTo>
                    <a:pt x="53" y="141"/>
                  </a:lnTo>
                  <a:lnTo>
                    <a:pt x="71" y="143"/>
                  </a:lnTo>
                  <a:lnTo>
                    <a:pt x="57" y="118"/>
                  </a:lnTo>
                  <a:lnTo>
                    <a:pt x="67" y="114"/>
                  </a:lnTo>
                  <a:lnTo>
                    <a:pt x="63" y="129"/>
                  </a:lnTo>
                  <a:lnTo>
                    <a:pt x="71" y="135"/>
                  </a:lnTo>
                  <a:lnTo>
                    <a:pt x="76" y="133"/>
                  </a:lnTo>
                  <a:lnTo>
                    <a:pt x="107" y="144"/>
                  </a:lnTo>
                  <a:lnTo>
                    <a:pt x="109" y="152"/>
                  </a:lnTo>
                  <a:lnTo>
                    <a:pt x="128" y="150"/>
                  </a:lnTo>
                  <a:lnTo>
                    <a:pt x="128" y="144"/>
                  </a:lnTo>
                  <a:lnTo>
                    <a:pt x="133" y="150"/>
                  </a:lnTo>
                  <a:lnTo>
                    <a:pt x="129" y="158"/>
                  </a:lnTo>
                  <a:lnTo>
                    <a:pt x="126" y="156"/>
                  </a:lnTo>
                  <a:lnTo>
                    <a:pt x="110" y="156"/>
                  </a:lnTo>
                  <a:lnTo>
                    <a:pt x="122" y="171"/>
                  </a:lnTo>
                  <a:lnTo>
                    <a:pt x="133" y="175"/>
                  </a:lnTo>
                  <a:lnTo>
                    <a:pt x="126" y="194"/>
                  </a:lnTo>
                  <a:lnTo>
                    <a:pt x="103" y="175"/>
                  </a:lnTo>
                  <a:lnTo>
                    <a:pt x="80" y="146"/>
                  </a:lnTo>
                  <a:lnTo>
                    <a:pt x="86" y="171"/>
                  </a:lnTo>
                  <a:lnTo>
                    <a:pt x="59" y="150"/>
                  </a:lnTo>
                  <a:lnTo>
                    <a:pt x="40" y="158"/>
                  </a:lnTo>
                  <a:lnTo>
                    <a:pt x="29" y="148"/>
                  </a:lnTo>
                  <a:lnTo>
                    <a:pt x="33" y="135"/>
                  </a:lnTo>
                  <a:lnTo>
                    <a:pt x="23" y="124"/>
                  </a:lnTo>
                  <a:lnTo>
                    <a:pt x="12" y="124"/>
                  </a:lnTo>
                  <a:lnTo>
                    <a:pt x="0" y="89"/>
                  </a:lnTo>
                  <a:lnTo>
                    <a:pt x="4" y="76"/>
                  </a:lnTo>
                  <a:lnTo>
                    <a:pt x="25" y="8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8" name="Freeform 144"/>
            <p:cNvSpPr>
              <a:spLocks/>
            </p:cNvSpPr>
            <p:nvPr/>
          </p:nvSpPr>
          <p:spPr bwMode="auto">
            <a:xfrm>
              <a:off x="4786431" y="4074546"/>
              <a:ext cx="17641" cy="26772"/>
            </a:xfrm>
            <a:custGeom>
              <a:avLst/>
              <a:gdLst>
                <a:gd name="T0" fmla="*/ 0 w 33"/>
                <a:gd name="T1" fmla="*/ 0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0 w 33"/>
                <a:gd name="T13" fmla="*/ 0 h 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43"/>
                <a:gd name="T23" fmla="*/ 33 w 33"/>
                <a:gd name="T24" fmla="*/ 43 h 4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43">
                  <a:moveTo>
                    <a:pt x="0" y="0"/>
                  </a:moveTo>
                  <a:lnTo>
                    <a:pt x="21" y="2"/>
                  </a:lnTo>
                  <a:lnTo>
                    <a:pt x="33" y="15"/>
                  </a:lnTo>
                  <a:lnTo>
                    <a:pt x="33" y="41"/>
                  </a:lnTo>
                  <a:lnTo>
                    <a:pt x="21" y="43"/>
                  </a:lnTo>
                  <a:lnTo>
                    <a:pt x="14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69" name="Freeform 145"/>
            <p:cNvSpPr>
              <a:spLocks/>
            </p:cNvSpPr>
            <p:nvPr/>
          </p:nvSpPr>
          <p:spPr bwMode="auto">
            <a:xfrm>
              <a:off x="4848173" y="4095499"/>
              <a:ext cx="27564" cy="30265"/>
            </a:xfrm>
            <a:custGeom>
              <a:avLst/>
              <a:gdLst>
                <a:gd name="T0" fmla="*/ 0 w 50"/>
                <a:gd name="T1" fmla="*/ 0 h 47"/>
                <a:gd name="T2" fmla="*/ 2147483647 w 50"/>
                <a:gd name="T3" fmla="*/ 0 h 47"/>
                <a:gd name="T4" fmla="*/ 2147483647 w 50"/>
                <a:gd name="T5" fmla="*/ 2147483647 h 47"/>
                <a:gd name="T6" fmla="*/ 2147483647 w 50"/>
                <a:gd name="T7" fmla="*/ 2147483647 h 47"/>
                <a:gd name="T8" fmla="*/ 2147483647 w 50"/>
                <a:gd name="T9" fmla="*/ 2147483647 h 47"/>
                <a:gd name="T10" fmla="*/ 2147483647 w 50"/>
                <a:gd name="T11" fmla="*/ 2147483647 h 47"/>
                <a:gd name="T12" fmla="*/ 2147483647 w 50"/>
                <a:gd name="T13" fmla="*/ 2147483647 h 47"/>
                <a:gd name="T14" fmla="*/ 2147483647 w 50"/>
                <a:gd name="T15" fmla="*/ 2147483647 h 47"/>
                <a:gd name="T16" fmla="*/ 0 w 50"/>
                <a:gd name="T17" fmla="*/ 0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47"/>
                <a:gd name="T29" fmla="*/ 50 w 50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47">
                  <a:moveTo>
                    <a:pt x="0" y="0"/>
                  </a:moveTo>
                  <a:lnTo>
                    <a:pt x="25" y="0"/>
                  </a:lnTo>
                  <a:lnTo>
                    <a:pt x="36" y="9"/>
                  </a:lnTo>
                  <a:lnTo>
                    <a:pt x="42" y="38"/>
                  </a:lnTo>
                  <a:lnTo>
                    <a:pt x="50" y="47"/>
                  </a:lnTo>
                  <a:lnTo>
                    <a:pt x="29" y="45"/>
                  </a:lnTo>
                  <a:lnTo>
                    <a:pt x="14" y="21"/>
                  </a:lnTo>
                  <a:lnTo>
                    <a:pt x="4" y="1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0" name="Freeform 146"/>
            <p:cNvSpPr>
              <a:spLocks/>
            </p:cNvSpPr>
            <p:nvPr/>
          </p:nvSpPr>
          <p:spPr bwMode="auto">
            <a:xfrm>
              <a:off x="4827224" y="4092006"/>
              <a:ext cx="16538" cy="17460"/>
            </a:xfrm>
            <a:custGeom>
              <a:avLst/>
              <a:gdLst>
                <a:gd name="T0" fmla="*/ 0 w 31"/>
                <a:gd name="T1" fmla="*/ 2147483647 h 29"/>
                <a:gd name="T2" fmla="*/ 2147483647 w 31"/>
                <a:gd name="T3" fmla="*/ 2147483647 h 29"/>
                <a:gd name="T4" fmla="*/ 2147483647 w 31"/>
                <a:gd name="T5" fmla="*/ 0 h 29"/>
                <a:gd name="T6" fmla="*/ 2147483647 w 31"/>
                <a:gd name="T7" fmla="*/ 2147483647 h 29"/>
                <a:gd name="T8" fmla="*/ 2147483647 w 31"/>
                <a:gd name="T9" fmla="*/ 2147483647 h 29"/>
                <a:gd name="T10" fmla="*/ 2147483647 w 31"/>
                <a:gd name="T11" fmla="*/ 2147483647 h 29"/>
                <a:gd name="T12" fmla="*/ 2147483647 w 31"/>
                <a:gd name="T13" fmla="*/ 2147483647 h 29"/>
                <a:gd name="T14" fmla="*/ 0 w 31"/>
                <a:gd name="T15" fmla="*/ 2147483647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1"/>
                <a:gd name="T25" fmla="*/ 0 h 29"/>
                <a:gd name="T26" fmla="*/ 31 w 31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1" h="29">
                  <a:moveTo>
                    <a:pt x="0" y="6"/>
                  </a:moveTo>
                  <a:lnTo>
                    <a:pt x="14" y="8"/>
                  </a:lnTo>
                  <a:lnTo>
                    <a:pt x="17" y="0"/>
                  </a:lnTo>
                  <a:lnTo>
                    <a:pt x="29" y="17"/>
                  </a:lnTo>
                  <a:lnTo>
                    <a:pt x="31" y="29"/>
                  </a:lnTo>
                  <a:lnTo>
                    <a:pt x="14" y="23"/>
                  </a:lnTo>
                  <a:lnTo>
                    <a:pt x="4" y="27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1" name="Freeform 147"/>
            <p:cNvSpPr>
              <a:spLocks/>
            </p:cNvSpPr>
            <p:nvPr/>
          </p:nvSpPr>
          <p:spPr bwMode="auto">
            <a:xfrm>
              <a:off x="4806276" y="4105975"/>
              <a:ext cx="20949" cy="26772"/>
            </a:xfrm>
            <a:custGeom>
              <a:avLst/>
              <a:gdLst>
                <a:gd name="T0" fmla="*/ 0 w 40"/>
                <a:gd name="T1" fmla="*/ 2147483647 h 46"/>
                <a:gd name="T2" fmla="*/ 2147483647 w 40"/>
                <a:gd name="T3" fmla="*/ 0 h 46"/>
                <a:gd name="T4" fmla="*/ 2147483647 w 40"/>
                <a:gd name="T5" fmla="*/ 2147483647 h 46"/>
                <a:gd name="T6" fmla="*/ 2147483647 w 40"/>
                <a:gd name="T7" fmla="*/ 2147483647 h 46"/>
                <a:gd name="T8" fmla="*/ 2147483647 w 40"/>
                <a:gd name="T9" fmla="*/ 2147483647 h 46"/>
                <a:gd name="T10" fmla="*/ 2147483647 w 40"/>
                <a:gd name="T11" fmla="*/ 2147483647 h 46"/>
                <a:gd name="T12" fmla="*/ 2147483647 w 40"/>
                <a:gd name="T13" fmla="*/ 2147483647 h 46"/>
                <a:gd name="T14" fmla="*/ 2147483647 w 40"/>
                <a:gd name="T15" fmla="*/ 2147483647 h 46"/>
                <a:gd name="T16" fmla="*/ 2147483647 w 40"/>
                <a:gd name="T17" fmla="*/ 2147483647 h 46"/>
                <a:gd name="T18" fmla="*/ 0 w 40"/>
                <a:gd name="T19" fmla="*/ 2147483647 h 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6"/>
                <a:gd name="T32" fmla="*/ 40 w 40"/>
                <a:gd name="T33" fmla="*/ 46 h 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6">
                  <a:moveTo>
                    <a:pt x="0" y="8"/>
                  </a:moveTo>
                  <a:lnTo>
                    <a:pt x="8" y="0"/>
                  </a:lnTo>
                  <a:lnTo>
                    <a:pt x="19" y="10"/>
                  </a:lnTo>
                  <a:lnTo>
                    <a:pt x="31" y="13"/>
                  </a:lnTo>
                  <a:lnTo>
                    <a:pt x="40" y="10"/>
                  </a:lnTo>
                  <a:lnTo>
                    <a:pt x="36" y="19"/>
                  </a:lnTo>
                  <a:lnTo>
                    <a:pt x="25" y="36"/>
                  </a:lnTo>
                  <a:lnTo>
                    <a:pt x="8" y="46"/>
                  </a:lnTo>
                  <a:lnTo>
                    <a:pt x="10" y="1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2" name="Freeform 148"/>
            <p:cNvSpPr>
              <a:spLocks/>
            </p:cNvSpPr>
            <p:nvPr/>
          </p:nvSpPr>
          <p:spPr bwMode="auto">
            <a:xfrm>
              <a:off x="4737919" y="4112959"/>
              <a:ext cx="40794" cy="55873"/>
            </a:xfrm>
            <a:custGeom>
              <a:avLst/>
              <a:gdLst>
                <a:gd name="T0" fmla="*/ 2147483647 w 72"/>
                <a:gd name="T1" fmla="*/ 0 h 90"/>
                <a:gd name="T2" fmla="*/ 2147483647 w 72"/>
                <a:gd name="T3" fmla="*/ 2147483647 h 90"/>
                <a:gd name="T4" fmla="*/ 2147483647 w 72"/>
                <a:gd name="T5" fmla="*/ 2147483647 h 90"/>
                <a:gd name="T6" fmla="*/ 2147483647 w 72"/>
                <a:gd name="T7" fmla="*/ 2147483647 h 90"/>
                <a:gd name="T8" fmla="*/ 2147483647 w 72"/>
                <a:gd name="T9" fmla="*/ 2147483647 h 90"/>
                <a:gd name="T10" fmla="*/ 0 w 72"/>
                <a:gd name="T11" fmla="*/ 2147483647 h 90"/>
                <a:gd name="T12" fmla="*/ 2147483647 w 72"/>
                <a:gd name="T13" fmla="*/ 2147483647 h 90"/>
                <a:gd name="T14" fmla="*/ 2147483647 w 72"/>
                <a:gd name="T15" fmla="*/ 2147483647 h 90"/>
                <a:gd name="T16" fmla="*/ 2147483647 w 72"/>
                <a:gd name="T17" fmla="*/ 2147483647 h 90"/>
                <a:gd name="T18" fmla="*/ 2147483647 w 72"/>
                <a:gd name="T19" fmla="*/ 2147483647 h 90"/>
                <a:gd name="T20" fmla="*/ 2147483647 w 72"/>
                <a:gd name="T21" fmla="*/ 2147483647 h 90"/>
                <a:gd name="T22" fmla="*/ 2147483647 w 72"/>
                <a:gd name="T23" fmla="*/ 0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2"/>
                <a:gd name="T37" fmla="*/ 0 h 90"/>
                <a:gd name="T38" fmla="*/ 72 w 72"/>
                <a:gd name="T39" fmla="*/ 90 h 9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2" h="90">
                  <a:moveTo>
                    <a:pt x="72" y="0"/>
                  </a:moveTo>
                  <a:lnTo>
                    <a:pt x="72" y="31"/>
                  </a:lnTo>
                  <a:lnTo>
                    <a:pt x="44" y="69"/>
                  </a:lnTo>
                  <a:lnTo>
                    <a:pt x="30" y="69"/>
                  </a:lnTo>
                  <a:lnTo>
                    <a:pt x="17" y="84"/>
                  </a:lnTo>
                  <a:lnTo>
                    <a:pt x="0" y="90"/>
                  </a:lnTo>
                  <a:lnTo>
                    <a:pt x="15" y="69"/>
                  </a:lnTo>
                  <a:lnTo>
                    <a:pt x="44" y="40"/>
                  </a:lnTo>
                  <a:lnTo>
                    <a:pt x="51" y="40"/>
                  </a:lnTo>
                  <a:lnTo>
                    <a:pt x="59" y="19"/>
                  </a:lnTo>
                  <a:lnTo>
                    <a:pt x="66" y="19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3" name="Freeform 149"/>
            <p:cNvSpPr>
              <a:spLocks/>
            </p:cNvSpPr>
            <p:nvPr/>
          </p:nvSpPr>
          <p:spPr bwMode="auto">
            <a:xfrm>
              <a:off x="4812892" y="4117615"/>
              <a:ext cx="24256" cy="41905"/>
            </a:xfrm>
            <a:custGeom>
              <a:avLst/>
              <a:gdLst>
                <a:gd name="T0" fmla="*/ 2147483647 w 43"/>
                <a:gd name="T1" fmla="*/ 2147483647 h 66"/>
                <a:gd name="T2" fmla="*/ 2147483647 w 43"/>
                <a:gd name="T3" fmla="*/ 2147483647 h 66"/>
                <a:gd name="T4" fmla="*/ 2147483647 w 43"/>
                <a:gd name="T5" fmla="*/ 2147483647 h 66"/>
                <a:gd name="T6" fmla="*/ 2147483647 w 43"/>
                <a:gd name="T7" fmla="*/ 2147483647 h 66"/>
                <a:gd name="T8" fmla="*/ 2147483647 w 43"/>
                <a:gd name="T9" fmla="*/ 2147483647 h 66"/>
                <a:gd name="T10" fmla="*/ 2147483647 w 43"/>
                <a:gd name="T11" fmla="*/ 2147483647 h 66"/>
                <a:gd name="T12" fmla="*/ 0 w 43"/>
                <a:gd name="T13" fmla="*/ 2147483647 h 66"/>
                <a:gd name="T14" fmla="*/ 2147483647 w 43"/>
                <a:gd name="T15" fmla="*/ 2147483647 h 66"/>
                <a:gd name="T16" fmla="*/ 2147483647 w 43"/>
                <a:gd name="T17" fmla="*/ 2147483647 h 66"/>
                <a:gd name="T18" fmla="*/ 2147483647 w 43"/>
                <a:gd name="T19" fmla="*/ 0 h 66"/>
                <a:gd name="T20" fmla="*/ 2147483647 w 43"/>
                <a:gd name="T21" fmla="*/ 2147483647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66"/>
                <a:gd name="T35" fmla="*/ 43 w 43"/>
                <a:gd name="T36" fmla="*/ 66 h 6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66">
                  <a:moveTo>
                    <a:pt x="43" y="9"/>
                  </a:moveTo>
                  <a:lnTo>
                    <a:pt x="30" y="38"/>
                  </a:lnTo>
                  <a:lnTo>
                    <a:pt x="34" y="59"/>
                  </a:lnTo>
                  <a:lnTo>
                    <a:pt x="28" y="66"/>
                  </a:lnTo>
                  <a:lnTo>
                    <a:pt x="21" y="57"/>
                  </a:lnTo>
                  <a:lnTo>
                    <a:pt x="7" y="57"/>
                  </a:lnTo>
                  <a:lnTo>
                    <a:pt x="0" y="40"/>
                  </a:lnTo>
                  <a:lnTo>
                    <a:pt x="19" y="25"/>
                  </a:lnTo>
                  <a:lnTo>
                    <a:pt x="19" y="11"/>
                  </a:lnTo>
                  <a:lnTo>
                    <a:pt x="28" y="0"/>
                  </a:lnTo>
                  <a:lnTo>
                    <a:pt x="43" y="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4" name="Freeform 150"/>
            <p:cNvSpPr>
              <a:spLocks/>
            </p:cNvSpPr>
            <p:nvPr/>
          </p:nvSpPr>
          <p:spPr bwMode="auto">
            <a:xfrm>
              <a:off x="4832737" y="4115287"/>
              <a:ext cx="11025" cy="33756"/>
            </a:xfrm>
            <a:custGeom>
              <a:avLst/>
              <a:gdLst>
                <a:gd name="T0" fmla="*/ 2147483647 w 21"/>
                <a:gd name="T1" fmla="*/ 0 h 53"/>
                <a:gd name="T2" fmla="*/ 2147483647 w 21"/>
                <a:gd name="T3" fmla="*/ 2147483647 h 53"/>
                <a:gd name="T4" fmla="*/ 0 w 21"/>
                <a:gd name="T5" fmla="*/ 2147483647 h 53"/>
                <a:gd name="T6" fmla="*/ 0 w 21"/>
                <a:gd name="T7" fmla="*/ 2147483647 h 53"/>
                <a:gd name="T8" fmla="*/ 2147483647 w 21"/>
                <a:gd name="T9" fmla="*/ 2147483647 h 53"/>
                <a:gd name="T10" fmla="*/ 2147483647 w 21"/>
                <a:gd name="T11" fmla="*/ 0 h 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53"/>
                <a:gd name="T20" fmla="*/ 21 w 21"/>
                <a:gd name="T21" fmla="*/ 53 h 5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53">
                  <a:moveTo>
                    <a:pt x="21" y="0"/>
                  </a:moveTo>
                  <a:lnTo>
                    <a:pt x="21" y="15"/>
                  </a:lnTo>
                  <a:lnTo>
                    <a:pt x="0" y="53"/>
                  </a:lnTo>
                  <a:lnTo>
                    <a:pt x="0" y="38"/>
                  </a:lnTo>
                  <a:lnTo>
                    <a:pt x="7" y="19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5" name="Freeform 151"/>
            <p:cNvSpPr>
              <a:spLocks/>
            </p:cNvSpPr>
            <p:nvPr/>
          </p:nvSpPr>
          <p:spPr bwMode="auto">
            <a:xfrm>
              <a:off x="4839353" y="4135076"/>
              <a:ext cx="14333" cy="13968"/>
            </a:xfrm>
            <a:custGeom>
              <a:avLst/>
              <a:gdLst>
                <a:gd name="T0" fmla="*/ 2147483647 w 27"/>
                <a:gd name="T1" fmla="*/ 0 h 21"/>
                <a:gd name="T2" fmla="*/ 2147483647 w 27"/>
                <a:gd name="T3" fmla="*/ 2147483647 h 21"/>
                <a:gd name="T4" fmla="*/ 0 w 27"/>
                <a:gd name="T5" fmla="*/ 2147483647 h 21"/>
                <a:gd name="T6" fmla="*/ 2147483647 w 27"/>
                <a:gd name="T7" fmla="*/ 2147483647 h 21"/>
                <a:gd name="T8" fmla="*/ 2147483647 w 27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"/>
                <a:gd name="T16" fmla="*/ 0 h 21"/>
                <a:gd name="T17" fmla="*/ 27 w 27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" h="21">
                  <a:moveTo>
                    <a:pt x="17" y="0"/>
                  </a:moveTo>
                  <a:lnTo>
                    <a:pt x="27" y="14"/>
                  </a:lnTo>
                  <a:lnTo>
                    <a:pt x="0" y="21"/>
                  </a:lnTo>
                  <a:lnTo>
                    <a:pt x="6" y="1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6" name="Freeform 152"/>
            <p:cNvSpPr>
              <a:spLocks/>
            </p:cNvSpPr>
            <p:nvPr/>
          </p:nvSpPr>
          <p:spPr bwMode="auto">
            <a:xfrm>
              <a:off x="4844865" y="4109467"/>
              <a:ext cx="18743" cy="32593"/>
            </a:xfrm>
            <a:custGeom>
              <a:avLst/>
              <a:gdLst>
                <a:gd name="T0" fmla="*/ 2147483647 w 34"/>
                <a:gd name="T1" fmla="*/ 0 h 51"/>
                <a:gd name="T2" fmla="*/ 2147483647 w 34"/>
                <a:gd name="T3" fmla="*/ 2147483647 h 51"/>
                <a:gd name="T4" fmla="*/ 2147483647 w 34"/>
                <a:gd name="T5" fmla="*/ 2147483647 h 51"/>
                <a:gd name="T6" fmla="*/ 2147483647 w 34"/>
                <a:gd name="T7" fmla="*/ 2147483647 h 51"/>
                <a:gd name="T8" fmla="*/ 2147483647 w 34"/>
                <a:gd name="T9" fmla="*/ 2147483647 h 51"/>
                <a:gd name="T10" fmla="*/ 2147483647 w 34"/>
                <a:gd name="T11" fmla="*/ 2147483647 h 51"/>
                <a:gd name="T12" fmla="*/ 2147483647 w 34"/>
                <a:gd name="T13" fmla="*/ 2147483647 h 51"/>
                <a:gd name="T14" fmla="*/ 2147483647 w 34"/>
                <a:gd name="T15" fmla="*/ 2147483647 h 51"/>
                <a:gd name="T16" fmla="*/ 2147483647 w 34"/>
                <a:gd name="T17" fmla="*/ 2147483647 h 51"/>
                <a:gd name="T18" fmla="*/ 2147483647 w 34"/>
                <a:gd name="T19" fmla="*/ 2147483647 h 51"/>
                <a:gd name="T20" fmla="*/ 0 w 34"/>
                <a:gd name="T21" fmla="*/ 2147483647 h 51"/>
                <a:gd name="T22" fmla="*/ 2147483647 w 34"/>
                <a:gd name="T23" fmla="*/ 0 h 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51"/>
                <a:gd name="T38" fmla="*/ 34 w 34"/>
                <a:gd name="T39" fmla="*/ 51 h 5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51">
                  <a:moveTo>
                    <a:pt x="1" y="0"/>
                  </a:moveTo>
                  <a:lnTo>
                    <a:pt x="13" y="9"/>
                  </a:lnTo>
                  <a:lnTo>
                    <a:pt x="19" y="5"/>
                  </a:lnTo>
                  <a:lnTo>
                    <a:pt x="24" y="13"/>
                  </a:lnTo>
                  <a:lnTo>
                    <a:pt x="20" y="19"/>
                  </a:lnTo>
                  <a:lnTo>
                    <a:pt x="32" y="36"/>
                  </a:lnTo>
                  <a:lnTo>
                    <a:pt x="34" y="51"/>
                  </a:lnTo>
                  <a:lnTo>
                    <a:pt x="22" y="51"/>
                  </a:lnTo>
                  <a:lnTo>
                    <a:pt x="13" y="21"/>
                  </a:lnTo>
                  <a:lnTo>
                    <a:pt x="5" y="24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7" name="Freeform 153"/>
            <p:cNvSpPr>
              <a:spLocks/>
            </p:cNvSpPr>
            <p:nvPr/>
          </p:nvSpPr>
          <p:spPr bwMode="auto">
            <a:xfrm>
              <a:off x="4804071" y="4132748"/>
              <a:ext cx="76075" cy="86138"/>
            </a:xfrm>
            <a:custGeom>
              <a:avLst/>
              <a:gdLst>
                <a:gd name="T0" fmla="*/ 2147483647 w 138"/>
                <a:gd name="T1" fmla="*/ 2147483647 h 136"/>
                <a:gd name="T2" fmla="*/ 2147483647 w 138"/>
                <a:gd name="T3" fmla="*/ 2147483647 h 136"/>
                <a:gd name="T4" fmla="*/ 2147483647 w 138"/>
                <a:gd name="T5" fmla="*/ 2147483647 h 136"/>
                <a:gd name="T6" fmla="*/ 2147483647 w 138"/>
                <a:gd name="T7" fmla="*/ 2147483647 h 136"/>
                <a:gd name="T8" fmla="*/ 2147483647 w 138"/>
                <a:gd name="T9" fmla="*/ 2147483647 h 136"/>
                <a:gd name="T10" fmla="*/ 2147483647 w 138"/>
                <a:gd name="T11" fmla="*/ 2147483647 h 136"/>
                <a:gd name="T12" fmla="*/ 2147483647 w 138"/>
                <a:gd name="T13" fmla="*/ 0 h 136"/>
                <a:gd name="T14" fmla="*/ 2147483647 w 138"/>
                <a:gd name="T15" fmla="*/ 2147483647 h 136"/>
                <a:gd name="T16" fmla="*/ 2147483647 w 138"/>
                <a:gd name="T17" fmla="*/ 2147483647 h 136"/>
                <a:gd name="T18" fmla="*/ 2147483647 w 138"/>
                <a:gd name="T19" fmla="*/ 2147483647 h 136"/>
                <a:gd name="T20" fmla="*/ 2147483647 w 138"/>
                <a:gd name="T21" fmla="*/ 2147483647 h 136"/>
                <a:gd name="T22" fmla="*/ 2147483647 w 138"/>
                <a:gd name="T23" fmla="*/ 2147483647 h 136"/>
                <a:gd name="T24" fmla="*/ 2147483647 w 138"/>
                <a:gd name="T25" fmla="*/ 2147483647 h 136"/>
                <a:gd name="T26" fmla="*/ 2147483647 w 138"/>
                <a:gd name="T27" fmla="*/ 2147483647 h 136"/>
                <a:gd name="T28" fmla="*/ 2147483647 w 138"/>
                <a:gd name="T29" fmla="*/ 2147483647 h 136"/>
                <a:gd name="T30" fmla="*/ 2147483647 w 138"/>
                <a:gd name="T31" fmla="*/ 2147483647 h 136"/>
                <a:gd name="T32" fmla="*/ 2147483647 w 138"/>
                <a:gd name="T33" fmla="*/ 2147483647 h 136"/>
                <a:gd name="T34" fmla="*/ 2147483647 w 138"/>
                <a:gd name="T35" fmla="*/ 2147483647 h 136"/>
                <a:gd name="T36" fmla="*/ 2147483647 w 138"/>
                <a:gd name="T37" fmla="*/ 2147483647 h 136"/>
                <a:gd name="T38" fmla="*/ 2147483647 w 138"/>
                <a:gd name="T39" fmla="*/ 2147483647 h 136"/>
                <a:gd name="T40" fmla="*/ 2147483647 w 138"/>
                <a:gd name="T41" fmla="*/ 2147483647 h 136"/>
                <a:gd name="T42" fmla="*/ 2147483647 w 138"/>
                <a:gd name="T43" fmla="*/ 2147483647 h 136"/>
                <a:gd name="T44" fmla="*/ 2147483647 w 138"/>
                <a:gd name="T45" fmla="*/ 2147483647 h 136"/>
                <a:gd name="T46" fmla="*/ 2147483647 w 138"/>
                <a:gd name="T47" fmla="*/ 2147483647 h 136"/>
                <a:gd name="T48" fmla="*/ 2147483647 w 138"/>
                <a:gd name="T49" fmla="*/ 2147483647 h 136"/>
                <a:gd name="T50" fmla="*/ 2147483647 w 138"/>
                <a:gd name="T51" fmla="*/ 2147483647 h 136"/>
                <a:gd name="T52" fmla="*/ 2147483647 w 138"/>
                <a:gd name="T53" fmla="*/ 2147483647 h 136"/>
                <a:gd name="T54" fmla="*/ 2147483647 w 138"/>
                <a:gd name="T55" fmla="*/ 2147483647 h 136"/>
                <a:gd name="T56" fmla="*/ 2147483647 w 138"/>
                <a:gd name="T57" fmla="*/ 2147483647 h 136"/>
                <a:gd name="T58" fmla="*/ 2147483647 w 138"/>
                <a:gd name="T59" fmla="*/ 2147483647 h 136"/>
                <a:gd name="T60" fmla="*/ 2147483647 w 138"/>
                <a:gd name="T61" fmla="*/ 2147483647 h 136"/>
                <a:gd name="T62" fmla="*/ 2147483647 w 138"/>
                <a:gd name="T63" fmla="*/ 2147483647 h 136"/>
                <a:gd name="T64" fmla="*/ 2147483647 w 138"/>
                <a:gd name="T65" fmla="*/ 2147483647 h 136"/>
                <a:gd name="T66" fmla="*/ 2147483647 w 138"/>
                <a:gd name="T67" fmla="*/ 2147483647 h 136"/>
                <a:gd name="T68" fmla="*/ 2147483647 w 138"/>
                <a:gd name="T69" fmla="*/ 2147483647 h 136"/>
                <a:gd name="T70" fmla="*/ 0 w 138"/>
                <a:gd name="T71" fmla="*/ 2147483647 h 136"/>
                <a:gd name="T72" fmla="*/ 2147483647 w 138"/>
                <a:gd name="T73" fmla="*/ 2147483647 h 136"/>
                <a:gd name="T74" fmla="*/ 2147483647 w 138"/>
                <a:gd name="T75" fmla="*/ 2147483647 h 136"/>
                <a:gd name="T76" fmla="*/ 2147483647 w 138"/>
                <a:gd name="T77" fmla="*/ 2147483647 h 136"/>
                <a:gd name="T78" fmla="*/ 2147483647 w 138"/>
                <a:gd name="T79" fmla="*/ 2147483647 h 136"/>
                <a:gd name="T80" fmla="*/ 2147483647 w 138"/>
                <a:gd name="T81" fmla="*/ 2147483647 h 136"/>
                <a:gd name="T82" fmla="*/ 2147483647 w 138"/>
                <a:gd name="T83" fmla="*/ 2147483647 h 136"/>
                <a:gd name="T84" fmla="*/ 2147483647 w 138"/>
                <a:gd name="T85" fmla="*/ 2147483647 h 1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8"/>
                <a:gd name="T130" fmla="*/ 0 h 136"/>
                <a:gd name="T131" fmla="*/ 138 w 138"/>
                <a:gd name="T132" fmla="*/ 136 h 1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8" h="136">
                  <a:moveTo>
                    <a:pt x="60" y="62"/>
                  </a:moveTo>
                  <a:lnTo>
                    <a:pt x="76" y="43"/>
                  </a:lnTo>
                  <a:lnTo>
                    <a:pt x="91" y="43"/>
                  </a:lnTo>
                  <a:lnTo>
                    <a:pt x="95" y="34"/>
                  </a:lnTo>
                  <a:lnTo>
                    <a:pt x="104" y="38"/>
                  </a:lnTo>
                  <a:lnTo>
                    <a:pt x="115" y="38"/>
                  </a:lnTo>
                  <a:lnTo>
                    <a:pt x="117" y="0"/>
                  </a:lnTo>
                  <a:lnTo>
                    <a:pt x="121" y="2"/>
                  </a:lnTo>
                  <a:lnTo>
                    <a:pt x="123" y="22"/>
                  </a:lnTo>
                  <a:lnTo>
                    <a:pt x="131" y="13"/>
                  </a:lnTo>
                  <a:lnTo>
                    <a:pt x="134" y="15"/>
                  </a:lnTo>
                  <a:lnTo>
                    <a:pt x="129" y="30"/>
                  </a:lnTo>
                  <a:lnTo>
                    <a:pt x="134" y="43"/>
                  </a:lnTo>
                  <a:lnTo>
                    <a:pt x="138" y="74"/>
                  </a:lnTo>
                  <a:lnTo>
                    <a:pt x="131" y="115"/>
                  </a:lnTo>
                  <a:lnTo>
                    <a:pt x="123" y="77"/>
                  </a:lnTo>
                  <a:lnTo>
                    <a:pt x="115" y="76"/>
                  </a:lnTo>
                  <a:lnTo>
                    <a:pt x="121" y="93"/>
                  </a:lnTo>
                  <a:lnTo>
                    <a:pt x="108" y="96"/>
                  </a:lnTo>
                  <a:lnTo>
                    <a:pt x="119" y="104"/>
                  </a:lnTo>
                  <a:lnTo>
                    <a:pt x="119" y="125"/>
                  </a:lnTo>
                  <a:lnTo>
                    <a:pt x="114" y="136"/>
                  </a:lnTo>
                  <a:lnTo>
                    <a:pt x="106" y="123"/>
                  </a:lnTo>
                  <a:lnTo>
                    <a:pt x="96" y="125"/>
                  </a:lnTo>
                  <a:lnTo>
                    <a:pt x="68" y="106"/>
                  </a:lnTo>
                  <a:lnTo>
                    <a:pt x="74" y="83"/>
                  </a:lnTo>
                  <a:lnTo>
                    <a:pt x="72" y="64"/>
                  </a:lnTo>
                  <a:lnTo>
                    <a:pt x="55" y="70"/>
                  </a:lnTo>
                  <a:lnTo>
                    <a:pt x="53" y="83"/>
                  </a:lnTo>
                  <a:lnTo>
                    <a:pt x="38" y="76"/>
                  </a:lnTo>
                  <a:lnTo>
                    <a:pt x="28" y="87"/>
                  </a:lnTo>
                  <a:lnTo>
                    <a:pt x="24" y="72"/>
                  </a:lnTo>
                  <a:lnTo>
                    <a:pt x="11" y="91"/>
                  </a:lnTo>
                  <a:lnTo>
                    <a:pt x="19" y="98"/>
                  </a:lnTo>
                  <a:lnTo>
                    <a:pt x="9" y="108"/>
                  </a:lnTo>
                  <a:lnTo>
                    <a:pt x="0" y="100"/>
                  </a:lnTo>
                  <a:lnTo>
                    <a:pt x="7" y="87"/>
                  </a:lnTo>
                  <a:lnTo>
                    <a:pt x="15" y="60"/>
                  </a:lnTo>
                  <a:lnTo>
                    <a:pt x="38" y="57"/>
                  </a:lnTo>
                  <a:lnTo>
                    <a:pt x="39" y="49"/>
                  </a:lnTo>
                  <a:lnTo>
                    <a:pt x="55" y="43"/>
                  </a:lnTo>
                  <a:lnTo>
                    <a:pt x="62" y="51"/>
                  </a:lnTo>
                  <a:lnTo>
                    <a:pt x="60" y="6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8" name="Freeform 154"/>
            <p:cNvSpPr>
              <a:spLocks/>
            </p:cNvSpPr>
            <p:nvPr/>
          </p:nvSpPr>
          <p:spPr bwMode="auto">
            <a:xfrm>
              <a:off x="4778713" y="4216558"/>
              <a:ext cx="8820" cy="8148"/>
            </a:xfrm>
            <a:custGeom>
              <a:avLst/>
              <a:gdLst>
                <a:gd name="T0" fmla="*/ 0 w 17"/>
                <a:gd name="T1" fmla="*/ 2147483647 h 15"/>
                <a:gd name="T2" fmla="*/ 2147483647 w 17"/>
                <a:gd name="T3" fmla="*/ 0 h 15"/>
                <a:gd name="T4" fmla="*/ 2147483647 w 17"/>
                <a:gd name="T5" fmla="*/ 2147483647 h 15"/>
                <a:gd name="T6" fmla="*/ 2147483647 w 17"/>
                <a:gd name="T7" fmla="*/ 2147483647 h 15"/>
                <a:gd name="T8" fmla="*/ 2147483647 w 17"/>
                <a:gd name="T9" fmla="*/ 2147483647 h 15"/>
                <a:gd name="T10" fmla="*/ 0 w 17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"/>
                  </a:moveTo>
                  <a:lnTo>
                    <a:pt x="17" y="0"/>
                  </a:lnTo>
                  <a:lnTo>
                    <a:pt x="17" y="3"/>
                  </a:lnTo>
                  <a:lnTo>
                    <a:pt x="8" y="7"/>
                  </a:lnTo>
                  <a:lnTo>
                    <a:pt x="4" y="15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79" name="Freeform 155"/>
            <p:cNvSpPr>
              <a:spLocks/>
            </p:cNvSpPr>
            <p:nvPr/>
          </p:nvSpPr>
          <p:spPr bwMode="auto">
            <a:xfrm>
              <a:off x="3463388" y="3709042"/>
              <a:ext cx="350606" cy="329419"/>
            </a:xfrm>
            <a:custGeom>
              <a:avLst/>
              <a:gdLst>
                <a:gd name="T0" fmla="*/ 2147483647 w 644"/>
                <a:gd name="T1" fmla="*/ 0 h 528"/>
                <a:gd name="T2" fmla="*/ 2147483647 w 644"/>
                <a:gd name="T3" fmla="*/ 2147483647 h 528"/>
                <a:gd name="T4" fmla="*/ 2147483647 w 644"/>
                <a:gd name="T5" fmla="*/ 2147483647 h 528"/>
                <a:gd name="T6" fmla="*/ 2147483647 w 644"/>
                <a:gd name="T7" fmla="*/ 2147483647 h 528"/>
                <a:gd name="T8" fmla="*/ 2147483647 w 644"/>
                <a:gd name="T9" fmla="*/ 2147483647 h 528"/>
                <a:gd name="T10" fmla="*/ 2147483647 w 644"/>
                <a:gd name="T11" fmla="*/ 2147483647 h 528"/>
                <a:gd name="T12" fmla="*/ 2147483647 w 644"/>
                <a:gd name="T13" fmla="*/ 2147483647 h 528"/>
                <a:gd name="T14" fmla="*/ 2147483647 w 644"/>
                <a:gd name="T15" fmla="*/ 2147483647 h 528"/>
                <a:gd name="T16" fmla="*/ 2147483647 w 644"/>
                <a:gd name="T17" fmla="*/ 2147483647 h 528"/>
                <a:gd name="T18" fmla="*/ 2147483647 w 644"/>
                <a:gd name="T19" fmla="*/ 2147483647 h 528"/>
                <a:gd name="T20" fmla="*/ 2147483647 w 644"/>
                <a:gd name="T21" fmla="*/ 2147483647 h 528"/>
                <a:gd name="T22" fmla="*/ 2147483647 w 644"/>
                <a:gd name="T23" fmla="*/ 2147483647 h 528"/>
                <a:gd name="T24" fmla="*/ 2147483647 w 644"/>
                <a:gd name="T25" fmla="*/ 2147483647 h 528"/>
                <a:gd name="T26" fmla="*/ 2147483647 w 644"/>
                <a:gd name="T27" fmla="*/ 2147483647 h 528"/>
                <a:gd name="T28" fmla="*/ 2147483647 w 644"/>
                <a:gd name="T29" fmla="*/ 2147483647 h 528"/>
                <a:gd name="T30" fmla="*/ 2147483647 w 644"/>
                <a:gd name="T31" fmla="*/ 2147483647 h 528"/>
                <a:gd name="T32" fmla="*/ 2147483647 w 644"/>
                <a:gd name="T33" fmla="*/ 2147483647 h 528"/>
                <a:gd name="T34" fmla="*/ 2147483647 w 644"/>
                <a:gd name="T35" fmla="*/ 2147483647 h 528"/>
                <a:gd name="T36" fmla="*/ 2147483647 w 644"/>
                <a:gd name="T37" fmla="*/ 2147483647 h 528"/>
                <a:gd name="T38" fmla="*/ 2147483647 w 644"/>
                <a:gd name="T39" fmla="*/ 2147483647 h 528"/>
                <a:gd name="T40" fmla="*/ 2147483647 w 644"/>
                <a:gd name="T41" fmla="*/ 2147483647 h 528"/>
                <a:gd name="T42" fmla="*/ 2147483647 w 644"/>
                <a:gd name="T43" fmla="*/ 2147483647 h 528"/>
                <a:gd name="T44" fmla="*/ 2147483647 w 644"/>
                <a:gd name="T45" fmla="*/ 2147483647 h 528"/>
                <a:gd name="T46" fmla="*/ 2147483647 w 644"/>
                <a:gd name="T47" fmla="*/ 2147483647 h 528"/>
                <a:gd name="T48" fmla="*/ 2147483647 w 644"/>
                <a:gd name="T49" fmla="*/ 2147483647 h 528"/>
                <a:gd name="T50" fmla="*/ 2147483647 w 644"/>
                <a:gd name="T51" fmla="*/ 2147483647 h 528"/>
                <a:gd name="T52" fmla="*/ 2147483647 w 644"/>
                <a:gd name="T53" fmla="*/ 2147483647 h 528"/>
                <a:gd name="T54" fmla="*/ 2147483647 w 644"/>
                <a:gd name="T55" fmla="*/ 2147483647 h 528"/>
                <a:gd name="T56" fmla="*/ 2147483647 w 644"/>
                <a:gd name="T57" fmla="*/ 2147483647 h 528"/>
                <a:gd name="T58" fmla="*/ 2147483647 w 644"/>
                <a:gd name="T59" fmla="*/ 2147483647 h 528"/>
                <a:gd name="T60" fmla="*/ 2147483647 w 644"/>
                <a:gd name="T61" fmla="*/ 2147483647 h 528"/>
                <a:gd name="T62" fmla="*/ 2147483647 w 644"/>
                <a:gd name="T63" fmla="*/ 2147483647 h 528"/>
                <a:gd name="T64" fmla="*/ 2147483647 w 644"/>
                <a:gd name="T65" fmla="*/ 2147483647 h 528"/>
                <a:gd name="T66" fmla="*/ 2147483647 w 644"/>
                <a:gd name="T67" fmla="*/ 2147483647 h 528"/>
                <a:gd name="T68" fmla="*/ 2147483647 w 644"/>
                <a:gd name="T69" fmla="*/ 2147483647 h 528"/>
                <a:gd name="T70" fmla="*/ 2147483647 w 644"/>
                <a:gd name="T71" fmla="*/ 2147483647 h 528"/>
                <a:gd name="T72" fmla="*/ 2147483647 w 644"/>
                <a:gd name="T73" fmla="*/ 2147483647 h 528"/>
                <a:gd name="T74" fmla="*/ 2147483647 w 644"/>
                <a:gd name="T75" fmla="*/ 2147483647 h 528"/>
                <a:gd name="T76" fmla="*/ 2147483647 w 644"/>
                <a:gd name="T77" fmla="*/ 2147483647 h 528"/>
                <a:gd name="T78" fmla="*/ 2147483647 w 644"/>
                <a:gd name="T79" fmla="*/ 2147483647 h 528"/>
                <a:gd name="T80" fmla="*/ 2147483647 w 644"/>
                <a:gd name="T81" fmla="*/ 2147483647 h 528"/>
                <a:gd name="T82" fmla="*/ 2147483647 w 644"/>
                <a:gd name="T83" fmla="*/ 2147483647 h 528"/>
                <a:gd name="T84" fmla="*/ 2147483647 w 644"/>
                <a:gd name="T85" fmla="*/ 2147483647 h 528"/>
                <a:gd name="T86" fmla="*/ 2147483647 w 644"/>
                <a:gd name="T87" fmla="*/ 2147483647 h 528"/>
                <a:gd name="T88" fmla="*/ 2147483647 w 644"/>
                <a:gd name="T89" fmla="*/ 2147483647 h 528"/>
                <a:gd name="T90" fmla="*/ 2147483647 w 644"/>
                <a:gd name="T91" fmla="*/ 2147483647 h 528"/>
                <a:gd name="T92" fmla="*/ 2147483647 w 644"/>
                <a:gd name="T93" fmla="*/ 2147483647 h 528"/>
                <a:gd name="T94" fmla="*/ 2147483647 w 644"/>
                <a:gd name="T95" fmla="*/ 2147483647 h 528"/>
                <a:gd name="T96" fmla="*/ 2147483647 w 644"/>
                <a:gd name="T97" fmla="*/ 2147483647 h 528"/>
                <a:gd name="T98" fmla="*/ 2147483647 w 644"/>
                <a:gd name="T99" fmla="*/ 2147483647 h 528"/>
                <a:gd name="T100" fmla="*/ 2147483647 w 644"/>
                <a:gd name="T101" fmla="*/ 2147483647 h 528"/>
                <a:gd name="T102" fmla="*/ 2147483647 w 644"/>
                <a:gd name="T103" fmla="*/ 2147483647 h 528"/>
                <a:gd name="T104" fmla="*/ 2147483647 w 644"/>
                <a:gd name="T105" fmla="*/ 2147483647 h 528"/>
                <a:gd name="T106" fmla="*/ 2147483647 w 644"/>
                <a:gd name="T107" fmla="*/ 2147483647 h 528"/>
                <a:gd name="T108" fmla="*/ 0 w 644"/>
                <a:gd name="T109" fmla="*/ 2147483647 h 528"/>
                <a:gd name="T110" fmla="*/ 2147483647 w 644"/>
                <a:gd name="T111" fmla="*/ 2147483647 h 528"/>
                <a:gd name="T112" fmla="*/ 2147483647 w 644"/>
                <a:gd name="T113" fmla="*/ 2147483647 h 528"/>
                <a:gd name="T114" fmla="*/ 2147483647 w 644"/>
                <a:gd name="T115" fmla="*/ 2147483647 h 528"/>
                <a:gd name="T116" fmla="*/ 2147483647 w 644"/>
                <a:gd name="T117" fmla="*/ 2147483647 h 528"/>
                <a:gd name="T118" fmla="*/ 2147483647 w 644"/>
                <a:gd name="T119" fmla="*/ 2147483647 h 528"/>
                <a:gd name="T120" fmla="*/ 2147483647 w 644"/>
                <a:gd name="T121" fmla="*/ 2147483647 h 528"/>
                <a:gd name="T122" fmla="*/ 2147483647 w 644"/>
                <a:gd name="T123" fmla="*/ 0 h 52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4"/>
                <a:gd name="T187" fmla="*/ 0 h 528"/>
                <a:gd name="T188" fmla="*/ 644 w 644"/>
                <a:gd name="T189" fmla="*/ 528 h 52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4" h="528">
                  <a:moveTo>
                    <a:pt x="138" y="0"/>
                  </a:moveTo>
                  <a:lnTo>
                    <a:pt x="182" y="9"/>
                  </a:lnTo>
                  <a:lnTo>
                    <a:pt x="245" y="47"/>
                  </a:lnTo>
                  <a:lnTo>
                    <a:pt x="250" y="68"/>
                  </a:lnTo>
                  <a:lnTo>
                    <a:pt x="267" y="70"/>
                  </a:lnTo>
                  <a:lnTo>
                    <a:pt x="266" y="93"/>
                  </a:lnTo>
                  <a:lnTo>
                    <a:pt x="296" y="106"/>
                  </a:lnTo>
                  <a:lnTo>
                    <a:pt x="342" y="106"/>
                  </a:lnTo>
                  <a:lnTo>
                    <a:pt x="374" y="110"/>
                  </a:lnTo>
                  <a:lnTo>
                    <a:pt x="380" y="125"/>
                  </a:lnTo>
                  <a:lnTo>
                    <a:pt x="404" y="115"/>
                  </a:lnTo>
                  <a:lnTo>
                    <a:pt x="421" y="140"/>
                  </a:lnTo>
                  <a:lnTo>
                    <a:pt x="425" y="157"/>
                  </a:lnTo>
                  <a:lnTo>
                    <a:pt x="446" y="171"/>
                  </a:lnTo>
                  <a:lnTo>
                    <a:pt x="446" y="197"/>
                  </a:lnTo>
                  <a:lnTo>
                    <a:pt x="463" y="226"/>
                  </a:lnTo>
                  <a:lnTo>
                    <a:pt x="482" y="281"/>
                  </a:lnTo>
                  <a:lnTo>
                    <a:pt x="509" y="294"/>
                  </a:lnTo>
                  <a:lnTo>
                    <a:pt x="560" y="279"/>
                  </a:lnTo>
                  <a:lnTo>
                    <a:pt x="585" y="264"/>
                  </a:lnTo>
                  <a:lnTo>
                    <a:pt x="587" y="311"/>
                  </a:lnTo>
                  <a:lnTo>
                    <a:pt x="608" y="307"/>
                  </a:lnTo>
                  <a:lnTo>
                    <a:pt x="636" y="319"/>
                  </a:lnTo>
                  <a:lnTo>
                    <a:pt x="644" y="361"/>
                  </a:lnTo>
                  <a:lnTo>
                    <a:pt x="632" y="385"/>
                  </a:lnTo>
                  <a:lnTo>
                    <a:pt x="608" y="393"/>
                  </a:lnTo>
                  <a:lnTo>
                    <a:pt x="534" y="440"/>
                  </a:lnTo>
                  <a:lnTo>
                    <a:pt x="501" y="461"/>
                  </a:lnTo>
                  <a:lnTo>
                    <a:pt x="458" y="471"/>
                  </a:lnTo>
                  <a:lnTo>
                    <a:pt x="319" y="528"/>
                  </a:lnTo>
                  <a:lnTo>
                    <a:pt x="324" y="482"/>
                  </a:lnTo>
                  <a:lnTo>
                    <a:pt x="262" y="467"/>
                  </a:lnTo>
                  <a:lnTo>
                    <a:pt x="252" y="486"/>
                  </a:lnTo>
                  <a:lnTo>
                    <a:pt x="247" y="488"/>
                  </a:lnTo>
                  <a:lnTo>
                    <a:pt x="241" y="480"/>
                  </a:lnTo>
                  <a:lnTo>
                    <a:pt x="235" y="484"/>
                  </a:lnTo>
                  <a:lnTo>
                    <a:pt x="186" y="404"/>
                  </a:lnTo>
                  <a:lnTo>
                    <a:pt x="180" y="389"/>
                  </a:lnTo>
                  <a:lnTo>
                    <a:pt x="157" y="376"/>
                  </a:lnTo>
                  <a:lnTo>
                    <a:pt x="136" y="349"/>
                  </a:lnTo>
                  <a:lnTo>
                    <a:pt x="136" y="336"/>
                  </a:lnTo>
                  <a:lnTo>
                    <a:pt x="123" y="324"/>
                  </a:lnTo>
                  <a:lnTo>
                    <a:pt x="123" y="319"/>
                  </a:lnTo>
                  <a:lnTo>
                    <a:pt x="129" y="321"/>
                  </a:lnTo>
                  <a:lnTo>
                    <a:pt x="133" y="309"/>
                  </a:lnTo>
                  <a:lnTo>
                    <a:pt x="125" y="298"/>
                  </a:lnTo>
                  <a:lnTo>
                    <a:pt x="119" y="273"/>
                  </a:lnTo>
                  <a:lnTo>
                    <a:pt x="96" y="248"/>
                  </a:lnTo>
                  <a:lnTo>
                    <a:pt x="81" y="245"/>
                  </a:lnTo>
                  <a:lnTo>
                    <a:pt x="74" y="229"/>
                  </a:lnTo>
                  <a:lnTo>
                    <a:pt x="81" y="226"/>
                  </a:lnTo>
                  <a:lnTo>
                    <a:pt x="76" y="207"/>
                  </a:lnTo>
                  <a:lnTo>
                    <a:pt x="57" y="193"/>
                  </a:lnTo>
                  <a:lnTo>
                    <a:pt x="20" y="129"/>
                  </a:lnTo>
                  <a:lnTo>
                    <a:pt x="0" y="127"/>
                  </a:lnTo>
                  <a:lnTo>
                    <a:pt x="5" y="119"/>
                  </a:lnTo>
                  <a:lnTo>
                    <a:pt x="17" y="93"/>
                  </a:lnTo>
                  <a:lnTo>
                    <a:pt x="58" y="96"/>
                  </a:lnTo>
                  <a:lnTo>
                    <a:pt x="72" y="74"/>
                  </a:lnTo>
                  <a:lnTo>
                    <a:pt x="100" y="59"/>
                  </a:lnTo>
                  <a:lnTo>
                    <a:pt x="87" y="24"/>
                  </a:lnTo>
                  <a:lnTo>
                    <a:pt x="138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0" name="Freeform 156"/>
            <p:cNvSpPr>
              <a:spLocks/>
            </p:cNvSpPr>
            <p:nvPr/>
          </p:nvSpPr>
          <p:spPr bwMode="auto">
            <a:xfrm>
              <a:off x="4530642" y="4286399"/>
              <a:ext cx="9923" cy="8148"/>
            </a:xfrm>
            <a:custGeom>
              <a:avLst/>
              <a:gdLst>
                <a:gd name="T0" fmla="*/ 0 w 17"/>
                <a:gd name="T1" fmla="*/ 2147483647 h 15"/>
                <a:gd name="T2" fmla="*/ 2147483647 w 17"/>
                <a:gd name="T3" fmla="*/ 0 h 15"/>
                <a:gd name="T4" fmla="*/ 2147483647 w 17"/>
                <a:gd name="T5" fmla="*/ 2147483647 h 15"/>
                <a:gd name="T6" fmla="*/ 2147483647 w 17"/>
                <a:gd name="T7" fmla="*/ 2147483647 h 15"/>
                <a:gd name="T8" fmla="*/ 0 w 17"/>
                <a:gd name="T9" fmla="*/ 2147483647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9"/>
                  </a:moveTo>
                  <a:lnTo>
                    <a:pt x="7" y="0"/>
                  </a:lnTo>
                  <a:lnTo>
                    <a:pt x="17" y="7"/>
                  </a:lnTo>
                  <a:lnTo>
                    <a:pt x="11" y="15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1" name="Freeform 157"/>
            <p:cNvSpPr>
              <a:spLocks/>
            </p:cNvSpPr>
            <p:nvPr/>
          </p:nvSpPr>
          <p:spPr bwMode="auto">
            <a:xfrm>
              <a:off x="4161293" y="4140896"/>
              <a:ext cx="37486" cy="68677"/>
            </a:xfrm>
            <a:custGeom>
              <a:avLst/>
              <a:gdLst>
                <a:gd name="T0" fmla="*/ 0 w 69"/>
                <a:gd name="T1" fmla="*/ 2147483647 h 110"/>
                <a:gd name="T2" fmla="*/ 2147483647 w 69"/>
                <a:gd name="T3" fmla="*/ 2147483647 h 110"/>
                <a:gd name="T4" fmla="*/ 0 w 69"/>
                <a:gd name="T5" fmla="*/ 2147483647 h 110"/>
                <a:gd name="T6" fmla="*/ 2147483647 w 69"/>
                <a:gd name="T7" fmla="*/ 2147483647 h 110"/>
                <a:gd name="T8" fmla="*/ 2147483647 w 69"/>
                <a:gd name="T9" fmla="*/ 2147483647 h 110"/>
                <a:gd name="T10" fmla="*/ 2147483647 w 69"/>
                <a:gd name="T11" fmla="*/ 2147483647 h 110"/>
                <a:gd name="T12" fmla="*/ 2147483647 w 69"/>
                <a:gd name="T13" fmla="*/ 2147483647 h 110"/>
                <a:gd name="T14" fmla="*/ 2147483647 w 69"/>
                <a:gd name="T15" fmla="*/ 0 h 110"/>
                <a:gd name="T16" fmla="*/ 2147483647 w 69"/>
                <a:gd name="T17" fmla="*/ 2147483647 h 110"/>
                <a:gd name="T18" fmla="*/ 2147483647 w 69"/>
                <a:gd name="T19" fmla="*/ 2147483647 h 110"/>
                <a:gd name="T20" fmla="*/ 2147483647 w 69"/>
                <a:gd name="T21" fmla="*/ 2147483647 h 110"/>
                <a:gd name="T22" fmla="*/ 2147483647 w 69"/>
                <a:gd name="T23" fmla="*/ 2147483647 h 110"/>
                <a:gd name="T24" fmla="*/ 2147483647 w 69"/>
                <a:gd name="T25" fmla="*/ 2147483647 h 110"/>
                <a:gd name="T26" fmla="*/ 0 w 69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10"/>
                <a:gd name="T44" fmla="*/ 69 w 69"/>
                <a:gd name="T45" fmla="*/ 110 h 11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10">
                  <a:moveTo>
                    <a:pt x="0" y="82"/>
                  </a:moveTo>
                  <a:lnTo>
                    <a:pt x="8" y="74"/>
                  </a:lnTo>
                  <a:lnTo>
                    <a:pt x="0" y="47"/>
                  </a:lnTo>
                  <a:lnTo>
                    <a:pt x="6" y="49"/>
                  </a:lnTo>
                  <a:lnTo>
                    <a:pt x="6" y="27"/>
                  </a:lnTo>
                  <a:lnTo>
                    <a:pt x="16" y="15"/>
                  </a:lnTo>
                  <a:lnTo>
                    <a:pt x="8" y="6"/>
                  </a:lnTo>
                  <a:lnTo>
                    <a:pt x="16" y="0"/>
                  </a:lnTo>
                  <a:lnTo>
                    <a:pt x="38" y="11"/>
                  </a:lnTo>
                  <a:lnTo>
                    <a:pt x="67" y="65"/>
                  </a:lnTo>
                  <a:lnTo>
                    <a:pt x="69" y="93"/>
                  </a:lnTo>
                  <a:lnTo>
                    <a:pt x="40" y="110"/>
                  </a:lnTo>
                  <a:lnTo>
                    <a:pt x="17" y="104"/>
                  </a:lnTo>
                  <a:lnTo>
                    <a:pt x="0" y="8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2" name="Freeform 158"/>
            <p:cNvSpPr>
              <a:spLocks/>
            </p:cNvSpPr>
            <p:nvPr/>
          </p:nvSpPr>
          <p:spPr bwMode="auto">
            <a:xfrm>
              <a:off x="3484336" y="3596131"/>
              <a:ext cx="106946" cy="109419"/>
            </a:xfrm>
            <a:custGeom>
              <a:avLst/>
              <a:gdLst>
                <a:gd name="T0" fmla="*/ 2147483647 w 195"/>
                <a:gd name="T1" fmla="*/ 2147483647 h 173"/>
                <a:gd name="T2" fmla="*/ 2147483647 w 195"/>
                <a:gd name="T3" fmla="*/ 2147483647 h 173"/>
                <a:gd name="T4" fmla="*/ 2147483647 w 195"/>
                <a:gd name="T5" fmla="*/ 2147483647 h 173"/>
                <a:gd name="T6" fmla="*/ 2147483647 w 195"/>
                <a:gd name="T7" fmla="*/ 2147483647 h 173"/>
                <a:gd name="T8" fmla="*/ 2147483647 w 195"/>
                <a:gd name="T9" fmla="*/ 2147483647 h 173"/>
                <a:gd name="T10" fmla="*/ 2147483647 w 195"/>
                <a:gd name="T11" fmla="*/ 2147483647 h 173"/>
                <a:gd name="T12" fmla="*/ 2147483647 w 195"/>
                <a:gd name="T13" fmla="*/ 2147483647 h 173"/>
                <a:gd name="T14" fmla="*/ 2147483647 w 195"/>
                <a:gd name="T15" fmla="*/ 0 h 173"/>
                <a:gd name="T16" fmla="*/ 2147483647 w 195"/>
                <a:gd name="T17" fmla="*/ 2147483647 h 173"/>
                <a:gd name="T18" fmla="*/ 2147483647 w 195"/>
                <a:gd name="T19" fmla="*/ 2147483647 h 173"/>
                <a:gd name="T20" fmla="*/ 2147483647 w 195"/>
                <a:gd name="T21" fmla="*/ 2147483647 h 173"/>
                <a:gd name="T22" fmla="*/ 2147483647 w 195"/>
                <a:gd name="T23" fmla="*/ 2147483647 h 173"/>
                <a:gd name="T24" fmla="*/ 2147483647 w 195"/>
                <a:gd name="T25" fmla="*/ 2147483647 h 173"/>
                <a:gd name="T26" fmla="*/ 2147483647 w 195"/>
                <a:gd name="T27" fmla="*/ 2147483647 h 173"/>
                <a:gd name="T28" fmla="*/ 2147483647 w 195"/>
                <a:gd name="T29" fmla="*/ 2147483647 h 173"/>
                <a:gd name="T30" fmla="*/ 2147483647 w 195"/>
                <a:gd name="T31" fmla="*/ 2147483647 h 173"/>
                <a:gd name="T32" fmla="*/ 2147483647 w 195"/>
                <a:gd name="T33" fmla="*/ 2147483647 h 173"/>
                <a:gd name="T34" fmla="*/ 2147483647 w 195"/>
                <a:gd name="T35" fmla="*/ 2147483647 h 173"/>
                <a:gd name="T36" fmla="*/ 2147483647 w 195"/>
                <a:gd name="T37" fmla="*/ 2147483647 h 173"/>
                <a:gd name="T38" fmla="*/ 2147483647 w 195"/>
                <a:gd name="T39" fmla="*/ 2147483647 h 173"/>
                <a:gd name="T40" fmla="*/ 0 w 195"/>
                <a:gd name="T41" fmla="*/ 2147483647 h 173"/>
                <a:gd name="T42" fmla="*/ 2147483647 w 195"/>
                <a:gd name="T43" fmla="*/ 2147483647 h 173"/>
                <a:gd name="T44" fmla="*/ 2147483647 w 195"/>
                <a:gd name="T45" fmla="*/ 2147483647 h 173"/>
                <a:gd name="T46" fmla="*/ 2147483647 w 195"/>
                <a:gd name="T47" fmla="*/ 2147483647 h 17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5"/>
                <a:gd name="T73" fmla="*/ 0 h 173"/>
                <a:gd name="T74" fmla="*/ 195 w 195"/>
                <a:gd name="T75" fmla="*/ 173 h 17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5" h="173">
                  <a:moveTo>
                    <a:pt x="1" y="51"/>
                  </a:moveTo>
                  <a:lnTo>
                    <a:pt x="19" y="55"/>
                  </a:lnTo>
                  <a:lnTo>
                    <a:pt x="32" y="40"/>
                  </a:lnTo>
                  <a:lnTo>
                    <a:pt x="30" y="17"/>
                  </a:lnTo>
                  <a:lnTo>
                    <a:pt x="72" y="15"/>
                  </a:lnTo>
                  <a:lnTo>
                    <a:pt x="108" y="17"/>
                  </a:lnTo>
                  <a:lnTo>
                    <a:pt x="142" y="12"/>
                  </a:lnTo>
                  <a:lnTo>
                    <a:pt x="186" y="0"/>
                  </a:lnTo>
                  <a:lnTo>
                    <a:pt x="195" y="8"/>
                  </a:lnTo>
                  <a:lnTo>
                    <a:pt x="188" y="23"/>
                  </a:lnTo>
                  <a:lnTo>
                    <a:pt x="163" y="36"/>
                  </a:lnTo>
                  <a:lnTo>
                    <a:pt x="155" y="88"/>
                  </a:lnTo>
                  <a:lnTo>
                    <a:pt x="89" y="139"/>
                  </a:lnTo>
                  <a:lnTo>
                    <a:pt x="76" y="139"/>
                  </a:lnTo>
                  <a:lnTo>
                    <a:pt x="66" y="150"/>
                  </a:lnTo>
                  <a:lnTo>
                    <a:pt x="32" y="173"/>
                  </a:lnTo>
                  <a:lnTo>
                    <a:pt x="7" y="162"/>
                  </a:lnTo>
                  <a:lnTo>
                    <a:pt x="5" y="137"/>
                  </a:lnTo>
                  <a:lnTo>
                    <a:pt x="24" y="105"/>
                  </a:lnTo>
                  <a:lnTo>
                    <a:pt x="17" y="89"/>
                  </a:lnTo>
                  <a:lnTo>
                    <a:pt x="0" y="89"/>
                  </a:lnTo>
                  <a:lnTo>
                    <a:pt x="7" y="78"/>
                  </a:lnTo>
                  <a:lnTo>
                    <a:pt x="1" y="70"/>
                  </a:lnTo>
                  <a:lnTo>
                    <a:pt x="1" y="5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3" name="Freeform 159"/>
            <p:cNvSpPr>
              <a:spLocks/>
            </p:cNvSpPr>
            <p:nvPr/>
          </p:nvSpPr>
          <p:spPr bwMode="auto">
            <a:xfrm>
              <a:off x="4433619" y="3941847"/>
              <a:ext cx="122382" cy="268890"/>
            </a:xfrm>
            <a:custGeom>
              <a:avLst/>
              <a:gdLst>
                <a:gd name="T0" fmla="*/ 2147483647 w 224"/>
                <a:gd name="T1" fmla="*/ 2147483647 h 429"/>
                <a:gd name="T2" fmla="*/ 2147483647 w 224"/>
                <a:gd name="T3" fmla="*/ 2147483647 h 429"/>
                <a:gd name="T4" fmla="*/ 2147483647 w 224"/>
                <a:gd name="T5" fmla="*/ 2147483647 h 429"/>
                <a:gd name="T6" fmla="*/ 2147483647 w 224"/>
                <a:gd name="T7" fmla="*/ 2147483647 h 429"/>
                <a:gd name="T8" fmla="*/ 2147483647 w 224"/>
                <a:gd name="T9" fmla="*/ 2147483647 h 429"/>
                <a:gd name="T10" fmla="*/ 2147483647 w 224"/>
                <a:gd name="T11" fmla="*/ 2147483647 h 429"/>
                <a:gd name="T12" fmla="*/ 2147483647 w 224"/>
                <a:gd name="T13" fmla="*/ 2147483647 h 429"/>
                <a:gd name="T14" fmla="*/ 2147483647 w 224"/>
                <a:gd name="T15" fmla="*/ 2147483647 h 429"/>
                <a:gd name="T16" fmla="*/ 2147483647 w 224"/>
                <a:gd name="T17" fmla="*/ 2147483647 h 429"/>
                <a:gd name="T18" fmla="*/ 2147483647 w 224"/>
                <a:gd name="T19" fmla="*/ 2147483647 h 429"/>
                <a:gd name="T20" fmla="*/ 2147483647 w 224"/>
                <a:gd name="T21" fmla="*/ 2147483647 h 429"/>
                <a:gd name="T22" fmla="*/ 2147483647 w 224"/>
                <a:gd name="T23" fmla="*/ 2147483647 h 429"/>
                <a:gd name="T24" fmla="*/ 0 w 224"/>
                <a:gd name="T25" fmla="*/ 2147483647 h 429"/>
                <a:gd name="T26" fmla="*/ 2147483647 w 224"/>
                <a:gd name="T27" fmla="*/ 2147483647 h 429"/>
                <a:gd name="T28" fmla="*/ 2147483647 w 224"/>
                <a:gd name="T29" fmla="*/ 2147483647 h 429"/>
                <a:gd name="T30" fmla="*/ 2147483647 w 224"/>
                <a:gd name="T31" fmla="*/ 0 h 429"/>
                <a:gd name="T32" fmla="*/ 2147483647 w 224"/>
                <a:gd name="T33" fmla="*/ 2147483647 h 429"/>
                <a:gd name="T34" fmla="*/ 2147483647 w 224"/>
                <a:gd name="T35" fmla="*/ 2147483647 h 429"/>
                <a:gd name="T36" fmla="*/ 2147483647 w 224"/>
                <a:gd name="T37" fmla="*/ 2147483647 h 429"/>
                <a:gd name="T38" fmla="*/ 2147483647 w 224"/>
                <a:gd name="T39" fmla="*/ 2147483647 h 429"/>
                <a:gd name="T40" fmla="*/ 2147483647 w 224"/>
                <a:gd name="T41" fmla="*/ 2147483647 h 429"/>
                <a:gd name="T42" fmla="*/ 2147483647 w 224"/>
                <a:gd name="T43" fmla="*/ 2147483647 h 429"/>
                <a:gd name="T44" fmla="*/ 2147483647 w 224"/>
                <a:gd name="T45" fmla="*/ 2147483647 h 429"/>
                <a:gd name="T46" fmla="*/ 2147483647 w 224"/>
                <a:gd name="T47" fmla="*/ 2147483647 h 429"/>
                <a:gd name="T48" fmla="*/ 2147483647 w 224"/>
                <a:gd name="T49" fmla="*/ 2147483647 h 429"/>
                <a:gd name="T50" fmla="*/ 2147483647 w 224"/>
                <a:gd name="T51" fmla="*/ 2147483647 h 429"/>
                <a:gd name="T52" fmla="*/ 2147483647 w 224"/>
                <a:gd name="T53" fmla="*/ 2147483647 h 429"/>
                <a:gd name="T54" fmla="*/ 2147483647 w 224"/>
                <a:gd name="T55" fmla="*/ 2147483647 h 429"/>
                <a:gd name="T56" fmla="*/ 2147483647 w 224"/>
                <a:gd name="T57" fmla="*/ 2147483647 h 429"/>
                <a:gd name="T58" fmla="*/ 2147483647 w 224"/>
                <a:gd name="T59" fmla="*/ 2147483647 h 429"/>
                <a:gd name="T60" fmla="*/ 2147483647 w 224"/>
                <a:gd name="T61" fmla="*/ 2147483647 h 429"/>
                <a:gd name="T62" fmla="*/ 2147483647 w 224"/>
                <a:gd name="T63" fmla="*/ 2147483647 h 429"/>
                <a:gd name="T64" fmla="*/ 2147483647 w 224"/>
                <a:gd name="T65" fmla="*/ 2147483647 h 429"/>
                <a:gd name="T66" fmla="*/ 2147483647 w 224"/>
                <a:gd name="T67" fmla="*/ 2147483647 h 429"/>
                <a:gd name="T68" fmla="*/ 2147483647 w 224"/>
                <a:gd name="T69" fmla="*/ 2147483647 h 429"/>
                <a:gd name="T70" fmla="*/ 2147483647 w 224"/>
                <a:gd name="T71" fmla="*/ 2147483647 h 429"/>
                <a:gd name="T72" fmla="*/ 2147483647 w 224"/>
                <a:gd name="T73" fmla="*/ 2147483647 h 429"/>
                <a:gd name="T74" fmla="*/ 2147483647 w 224"/>
                <a:gd name="T75" fmla="*/ 2147483647 h 429"/>
                <a:gd name="T76" fmla="*/ 2147483647 w 224"/>
                <a:gd name="T77" fmla="*/ 2147483647 h 429"/>
                <a:gd name="T78" fmla="*/ 2147483647 w 224"/>
                <a:gd name="T79" fmla="*/ 2147483647 h 429"/>
                <a:gd name="T80" fmla="*/ 2147483647 w 224"/>
                <a:gd name="T81" fmla="*/ 2147483647 h 429"/>
                <a:gd name="T82" fmla="*/ 2147483647 w 224"/>
                <a:gd name="T83" fmla="*/ 2147483647 h 429"/>
                <a:gd name="T84" fmla="*/ 2147483647 w 224"/>
                <a:gd name="T85" fmla="*/ 2147483647 h 429"/>
                <a:gd name="T86" fmla="*/ 2147483647 w 224"/>
                <a:gd name="T87" fmla="*/ 2147483647 h 429"/>
                <a:gd name="T88" fmla="*/ 2147483647 w 224"/>
                <a:gd name="T89" fmla="*/ 2147483647 h 429"/>
                <a:gd name="T90" fmla="*/ 2147483647 w 224"/>
                <a:gd name="T91" fmla="*/ 2147483647 h 429"/>
                <a:gd name="T92" fmla="*/ 2147483647 w 224"/>
                <a:gd name="T93" fmla="*/ 2147483647 h 429"/>
                <a:gd name="T94" fmla="*/ 2147483647 w 224"/>
                <a:gd name="T95" fmla="*/ 2147483647 h 429"/>
                <a:gd name="T96" fmla="*/ 2147483647 w 224"/>
                <a:gd name="T97" fmla="*/ 2147483647 h 429"/>
                <a:gd name="T98" fmla="*/ 2147483647 w 224"/>
                <a:gd name="T99" fmla="*/ 2147483647 h 429"/>
                <a:gd name="T100" fmla="*/ 2147483647 w 224"/>
                <a:gd name="T101" fmla="*/ 2147483647 h 429"/>
                <a:gd name="T102" fmla="*/ 2147483647 w 224"/>
                <a:gd name="T103" fmla="*/ 2147483647 h 429"/>
                <a:gd name="T104" fmla="*/ 2147483647 w 224"/>
                <a:gd name="T105" fmla="*/ 2147483647 h 429"/>
                <a:gd name="T106" fmla="*/ 2147483647 w 224"/>
                <a:gd name="T107" fmla="*/ 2147483647 h 429"/>
                <a:gd name="T108" fmla="*/ 2147483647 w 224"/>
                <a:gd name="T109" fmla="*/ 2147483647 h 429"/>
                <a:gd name="T110" fmla="*/ 2147483647 w 224"/>
                <a:gd name="T111" fmla="*/ 2147483647 h 429"/>
                <a:gd name="T112" fmla="*/ 2147483647 w 224"/>
                <a:gd name="T113" fmla="*/ 2147483647 h 429"/>
                <a:gd name="T114" fmla="*/ 2147483647 w 224"/>
                <a:gd name="T115" fmla="*/ 2147483647 h 429"/>
                <a:gd name="T116" fmla="*/ 2147483647 w 224"/>
                <a:gd name="T117" fmla="*/ 2147483647 h 4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4"/>
                <a:gd name="T178" fmla="*/ 0 h 429"/>
                <a:gd name="T179" fmla="*/ 224 w 224"/>
                <a:gd name="T180" fmla="*/ 429 h 4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4" h="429">
                  <a:moveTo>
                    <a:pt x="34" y="313"/>
                  </a:moveTo>
                  <a:lnTo>
                    <a:pt x="44" y="290"/>
                  </a:lnTo>
                  <a:lnTo>
                    <a:pt x="55" y="281"/>
                  </a:lnTo>
                  <a:lnTo>
                    <a:pt x="59" y="264"/>
                  </a:lnTo>
                  <a:lnTo>
                    <a:pt x="51" y="235"/>
                  </a:lnTo>
                  <a:lnTo>
                    <a:pt x="57" y="205"/>
                  </a:lnTo>
                  <a:lnTo>
                    <a:pt x="23" y="173"/>
                  </a:lnTo>
                  <a:lnTo>
                    <a:pt x="21" y="157"/>
                  </a:lnTo>
                  <a:lnTo>
                    <a:pt x="34" y="144"/>
                  </a:lnTo>
                  <a:lnTo>
                    <a:pt x="29" y="114"/>
                  </a:lnTo>
                  <a:lnTo>
                    <a:pt x="10" y="100"/>
                  </a:lnTo>
                  <a:lnTo>
                    <a:pt x="10" y="74"/>
                  </a:lnTo>
                  <a:lnTo>
                    <a:pt x="0" y="61"/>
                  </a:lnTo>
                  <a:lnTo>
                    <a:pt x="15" y="28"/>
                  </a:lnTo>
                  <a:lnTo>
                    <a:pt x="38" y="23"/>
                  </a:lnTo>
                  <a:lnTo>
                    <a:pt x="61" y="0"/>
                  </a:lnTo>
                  <a:lnTo>
                    <a:pt x="82" y="2"/>
                  </a:lnTo>
                  <a:lnTo>
                    <a:pt x="93" y="9"/>
                  </a:lnTo>
                  <a:lnTo>
                    <a:pt x="89" y="23"/>
                  </a:lnTo>
                  <a:lnTo>
                    <a:pt x="107" y="30"/>
                  </a:lnTo>
                  <a:lnTo>
                    <a:pt x="101" y="95"/>
                  </a:lnTo>
                  <a:lnTo>
                    <a:pt x="133" y="70"/>
                  </a:lnTo>
                  <a:lnTo>
                    <a:pt x="148" y="83"/>
                  </a:lnTo>
                  <a:lnTo>
                    <a:pt x="164" y="64"/>
                  </a:lnTo>
                  <a:lnTo>
                    <a:pt x="184" y="66"/>
                  </a:lnTo>
                  <a:lnTo>
                    <a:pt x="198" y="112"/>
                  </a:lnTo>
                  <a:lnTo>
                    <a:pt x="224" y="138"/>
                  </a:lnTo>
                  <a:lnTo>
                    <a:pt x="213" y="178"/>
                  </a:lnTo>
                  <a:lnTo>
                    <a:pt x="156" y="184"/>
                  </a:lnTo>
                  <a:lnTo>
                    <a:pt x="141" y="213"/>
                  </a:lnTo>
                  <a:lnTo>
                    <a:pt x="156" y="251"/>
                  </a:lnTo>
                  <a:lnTo>
                    <a:pt x="156" y="270"/>
                  </a:lnTo>
                  <a:lnTo>
                    <a:pt x="141" y="254"/>
                  </a:lnTo>
                  <a:lnTo>
                    <a:pt x="120" y="243"/>
                  </a:lnTo>
                  <a:lnTo>
                    <a:pt x="97" y="239"/>
                  </a:lnTo>
                  <a:lnTo>
                    <a:pt x="93" y="214"/>
                  </a:lnTo>
                  <a:lnTo>
                    <a:pt x="76" y="213"/>
                  </a:lnTo>
                  <a:lnTo>
                    <a:pt x="76" y="245"/>
                  </a:lnTo>
                  <a:lnTo>
                    <a:pt x="63" y="277"/>
                  </a:lnTo>
                  <a:lnTo>
                    <a:pt x="50" y="332"/>
                  </a:lnTo>
                  <a:lnTo>
                    <a:pt x="72" y="334"/>
                  </a:lnTo>
                  <a:lnTo>
                    <a:pt x="84" y="359"/>
                  </a:lnTo>
                  <a:lnTo>
                    <a:pt x="93" y="393"/>
                  </a:lnTo>
                  <a:lnTo>
                    <a:pt x="118" y="401"/>
                  </a:lnTo>
                  <a:lnTo>
                    <a:pt x="133" y="412"/>
                  </a:lnTo>
                  <a:lnTo>
                    <a:pt x="126" y="429"/>
                  </a:lnTo>
                  <a:lnTo>
                    <a:pt x="107" y="429"/>
                  </a:lnTo>
                  <a:lnTo>
                    <a:pt x="86" y="404"/>
                  </a:lnTo>
                  <a:lnTo>
                    <a:pt x="74" y="412"/>
                  </a:lnTo>
                  <a:lnTo>
                    <a:pt x="61" y="404"/>
                  </a:lnTo>
                  <a:lnTo>
                    <a:pt x="53" y="389"/>
                  </a:lnTo>
                  <a:lnTo>
                    <a:pt x="48" y="397"/>
                  </a:lnTo>
                  <a:lnTo>
                    <a:pt x="38" y="393"/>
                  </a:lnTo>
                  <a:lnTo>
                    <a:pt x="44" y="382"/>
                  </a:lnTo>
                  <a:lnTo>
                    <a:pt x="34" y="370"/>
                  </a:lnTo>
                  <a:lnTo>
                    <a:pt x="23" y="378"/>
                  </a:lnTo>
                  <a:lnTo>
                    <a:pt x="21" y="359"/>
                  </a:lnTo>
                  <a:lnTo>
                    <a:pt x="25" y="338"/>
                  </a:lnTo>
                  <a:lnTo>
                    <a:pt x="34" y="3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4" name="Freeform 160"/>
            <p:cNvSpPr>
              <a:spLocks/>
            </p:cNvSpPr>
            <p:nvPr/>
          </p:nvSpPr>
          <p:spPr bwMode="auto">
            <a:xfrm>
              <a:off x="3716971" y="3832429"/>
              <a:ext cx="84896" cy="60529"/>
            </a:xfrm>
            <a:custGeom>
              <a:avLst/>
              <a:gdLst>
                <a:gd name="T0" fmla="*/ 0 w 158"/>
                <a:gd name="T1" fmla="*/ 2147483647 h 97"/>
                <a:gd name="T2" fmla="*/ 2147483647 w 158"/>
                <a:gd name="T3" fmla="*/ 2147483647 h 97"/>
                <a:gd name="T4" fmla="*/ 2147483647 w 158"/>
                <a:gd name="T5" fmla="*/ 2147483647 h 97"/>
                <a:gd name="T6" fmla="*/ 2147483647 w 158"/>
                <a:gd name="T7" fmla="*/ 2147483647 h 97"/>
                <a:gd name="T8" fmla="*/ 2147483647 w 158"/>
                <a:gd name="T9" fmla="*/ 2147483647 h 97"/>
                <a:gd name="T10" fmla="*/ 2147483647 w 158"/>
                <a:gd name="T11" fmla="*/ 2147483647 h 97"/>
                <a:gd name="T12" fmla="*/ 2147483647 w 158"/>
                <a:gd name="T13" fmla="*/ 2147483647 h 97"/>
                <a:gd name="T14" fmla="*/ 2147483647 w 158"/>
                <a:gd name="T15" fmla="*/ 2147483647 h 97"/>
                <a:gd name="T16" fmla="*/ 2147483647 w 158"/>
                <a:gd name="T17" fmla="*/ 2147483647 h 97"/>
                <a:gd name="T18" fmla="*/ 2147483647 w 158"/>
                <a:gd name="T19" fmla="*/ 0 h 97"/>
                <a:gd name="T20" fmla="*/ 2147483647 w 158"/>
                <a:gd name="T21" fmla="*/ 2147483647 h 97"/>
                <a:gd name="T22" fmla="*/ 2147483647 w 158"/>
                <a:gd name="T23" fmla="*/ 2147483647 h 97"/>
                <a:gd name="T24" fmla="*/ 2147483647 w 158"/>
                <a:gd name="T25" fmla="*/ 2147483647 h 97"/>
                <a:gd name="T26" fmla="*/ 2147483647 w 158"/>
                <a:gd name="T27" fmla="*/ 2147483647 h 97"/>
                <a:gd name="T28" fmla="*/ 2147483647 w 158"/>
                <a:gd name="T29" fmla="*/ 2147483647 h 97"/>
                <a:gd name="T30" fmla="*/ 2147483647 w 158"/>
                <a:gd name="T31" fmla="*/ 2147483647 h 97"/>
                <a:gd name="T32" fmla="*/ 2147483647 w 158"/>
                <a:gd name="T33" fmla="*/ 2147483647 h 97"/>
                <a:gd name="T34" fmla="*/ 2147483647 w 158"/>
                <a:gd name="T35" fmla="*/ 2147483647 h 97"/>
                <a:gd name="T36" fmla="*/ 0 w 158"/>
                <a:gd name="T37" fmla="*/ 2147483647 h 9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8"/>
                <a:gd name="T58" fmla="*/ 0 h 97"/>
                <a:gd name="T59" fmla="*/ 158 w 158"/>
                <a:gd name="T60" fmla="*/ 97 h 9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8" h="97">
                  <a:moveTo>
                    <a:pt x="0" y="29"/>
                  </a:moveTo>
                  <a:lnTo>
                    <a:pt x="19" y="36"/>
                  </a:lnTo>
                  <a:lnTo>
                    <a:pt x="31" y="42"/>
                  </a:lnTo>
                  <a:lnTo>
                    <a:pt x="53" y="50"/>
                  </a:lnTo>
                  <a:lnTo>
                    <a:pt x="86" y="48"/>
                  </a:lnTo>
                  <a:lnTo>
                    <a:pt x="88" y="63"/>
                  </a:lnTo>
                  <a:lnTo>
                    <a:pt x="105" y="55"/>
                  </a:lnTo>
                  <a:lnTo>
                    <a:pt x="99" y="46"/>
                  </a:lnTo>
                  <a:lnTo>
                    <a:pt x="108" y="46"/>
                  </a:lnTo>
                  <a:lnTo>
                    <a:pt x="145" y="0"/>
                  </a:lnTo>
                  <a:lnTo>
                    <a:pt x="154" y="6"/>
                  </a:lnTo>
                  <a:lnTo>
                    <a:pt x="158" y="15"/>
                  </a:lnTo>
                  <a:lnTo>
                    <a:pt x="156" y="29"/>
                  </a:lnTo>
                  <a:lnTo>
                    <a:pt x="145" y="36"/>
                  </a:lnTo>
                  <a:lnTo>
                    <a:pt x="122" y="67"/>
                  </a:lnTo>
                  <a:lnTo>
                    <a:pt x="95" y="82"/>
                  </a:lnTo>
                  <a:lnTo>
                    <a:pt x="46" y="97"/>
                  </a:lnTo>
                  <a:lnTo>
                    <a:pt x="19" y="8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5" name="Freeform 161"/>
            <p:cNvSpPr>
              <a:spLocks/>
            </p:cNvSpPr>
            <p:nvPr/>
          </p:nvSpPr>
          <p:spPr bwMode="auto">
            <a:xfrm>
              <a:off x="4504182" y="3889466"/>
              <a:ext cx="116869" cy="274710"/>
            </a:xfrm>
            <a:custGeom>
              <a:avLst/>
              <a:gdLst>
                <a:gd name="T0" fmla="*/ 0 w 217"/>
                <a:gd name="T1" fmla="*/ 2147483647 h 441"/>
                <a:gd name="T2" fmla="*/ 2147483647 w 217"/>
                <a:gd name="T3" fmla="*/ 2147483647 h 441"/>
                <a:gd name="T4" fmla="*/ 2147483647 w 217"/>
                <a:gd name="T5" fmla="*/ 2147483647 h 441"/>
                <a:gd name="T6" fmla="*/ 2147483647 w 217"/>
                <a:gd name="T7" fmla="*/ 2147483647 h 441"/>
                <a:gd name="T8" fmla="*/ 2147483647 w 217"/>
                <a:gd name="T9" fmla="*/ 0 h 441"/>
                <a:gd name="T10" fmla="*/ 2147483647 w 217"/>
                <a:gd name="T11" fmla="*/ 2147483647 h 441"/>
                <a:gd name="T12" fmla="*/ 2147483647 w 217"/>
                <a:gd name="T13" fmla="*/ 2147483647 h 441"/>
                <a:gd name="T14" fmla="*/ 2147483647 w 217"/>
                <a:gd name="T15" fmla="*/ 2147483647 h 441"/>
                <a:gd name="T16" fmla="*/ 2147483647 w 217"/>
                <a:gd name="T17" fmla="*/ 2147483647 h 441"/>
                <a:gd name="T18" fmla="*/ 2147483647 w 217"/>
                <a:gd name="T19" fmla="*/ 2147483647 h 441"/>
                <a:gd name="T20" fmla="*/ 2147483647 w 217"/>
                <a:gd name="T21" fmla="*/ 2147483647 h 441"/>
                <a:gd name="T22" fmla="*/ 2147483647 w 217"/>
                <a:gd name="T23" fmla="*/ 2147483647 h 441"/>
                <a:gd name="T24" fmla="*/ 2147483647 w 217"/>
                <a:gd name="T25" fmla="*/ 2147483647 h 441"/>
                <a:gd name="T26" fmla="*/ 2147483647 w 217"/>
                <a:gd name="T27" fmla="*/ 2147483647 h 441"/>
                <a:gd name="T28" fmla="*/ 2147483647 w 217"/>
                <a:gd name="T29" fmla="*/ 2147483647 h 441"/>
                <a:gd name="T30" fmla="*/ 2147483647 w 217"/>
                <a:gd name="T31" fmla="*/ 2147483647 h 441"/>
                <a:gd name="T32" fmla="*/ 2147483647 w 217"/>
                <a:gd name="T33" fmla="*/ 2147483647 h 441"/>
                <a:gd name="T34" fmla="*/ 2147483647 w 217"/>
                <a:gd name="T35" fmla="*/ 2147483647 h 441"/>
                <a:gd name="T36" fmla="*/ 2147483647 w 217"/>
                <a:gd name="T37" fmla="*/ 2147483647 h 441"/>
                <a:gd name="T38" fmla="*/ 2147483647 w 217"/>
                <a:gd name="T39" fmla="*/ 2147483647 h 441"/>
                <a:gd name="T40" fmla="*/ 2147483647 w 217"/>
                <a:gd name="T41" fmla="*/ 2147483647 h 441"/>
                <a:gd name="T42" fmla="*/ 2147483647 w 217"/>
                <a:gd name="T43" fmla="*/ 2147483647 h 441"/>
                <a:gd name="T44" fmla="*/ 2147483647 w 217"/>
                <a:gd name="T45" fmla="*/ 2147483647 h 441"/>
                <a:gd name="T46" fmla="*/ 2147483647 w 217"/>
                <a:gd name="T47" fmla="*/ 2147483647 h 441"/>
                <a:gd name="T48" fmla="*/ 2147483647 w 217"/>
                <a:gd name="T49" fmla="*/ 2147483647 h 441"/>
                <a:gd name="T50" fmla="*/ 2147483647 w 217"/>
                <a:gd name="T51" fmla="*/ 2147483647 h 441"/>
                <a:gd name="T52" fmla="*/ 2147483647 w 217"/>
                <a:gd name="T53" fmla="*/ 2147483647 h 441"/>
                <a:gd name="T54" fmla="*/ 2147483647 w 217"/>
                <a:gd name="T55" fmla="*/ 2147483647 h 441"/>
                <a:gd name="T56" fmla="*/ 2147483647 w 217"/>
                <a:gd name="T57" fmla="*/ 2147483647 h 441"/>
                <a:gd name="T58" fmla="*/ 2147483647 w 217"/>
                <a:gd name="T59" fmla="*/ 2147483647 h 441"/>
                <a:gd name="T60" fmla="*/ 2147483647 w 217"/>
                <a:gd name="T61" fmla="*/ 2147483647 h 441"/>
                <a:gd name="T62" fmla="*/ 2147483647 w 217"/>
                <a:gd name="T63" fmla="*/ 2147483647 h 441"/>
                <a:gd name="T64" fmla="*/ 2147483647 w 217"/>
                <a:gd name="T65" fmla="*/ 2147483647 h 441"/>
                <a:gd name="T66" fmla="*/ 2147483647 w 217"/>
                <a:gd name="T67" fmla="*/ 2147483647 h 441"/>
                <a:gd name="T68" fmla="*/ 2147483647 w 217"/>
                <a:gd name="T69" fmla="*/ 2147483647 h 441"/>
                <a:gd name="T70" fmla="*/ 2147483647 w 217"/>
                <a:gd name="T71" fmla="*/ 2147483647 h 441"/>
                <a:gd name="T72" fmla="*/ 2147483647 w 217"/>
                <a:gd name="T73" fmla="*/ 2147483647 h 441"/>
                <a:gd name="T74" fmla="*/ 2147483647 w 217"/>
                <a:gd name="T75" fmla="*/ 2147483647 h 441"/>
                <a:gd name="T76" fmla="*/ 2147483647 w 217"/>
                <a:gd name="T77" fmla="*/ 2147483647 h 441"/>
                <a:gd name="T78" fmla="*/ 2147483647 w 217"/>
                <a:gd name="T79" fmla="*/ 2147483647 h 441"/>
                <a:gd name="T80" fmla="*/ 2147483647 w 217"/>
                <a:gd name="T81" fmla="*/ 2147483647 h 441"/>
                <a:gd name="T82" fmla="*/ 2147483647 w 217"/>
                <a:gd name="T83" fmla="*/ 2147483647 h 441"/>
                <a:gd name="T84" fmla="*/ 2147483647 w 217"/>
                <a:gd name="T85" fmla="*/ 2147483647 h 441"/>
                <a:gd name="T86" fmla="*/ 2147483647 w 217"/>
                <a:gd name="T87" fmla="*/ 2147483647 h 441"/>
                <a:gd name="T88" fmla="*/ 2147483647 w 217"/>
                <a:gd name="T89" fmla="*/ 2147483647 h 441"/>
                <a:gd name="T90" fmla="*/ 2147483647 w 217"/>
                <a:gd name="T91" fmla="*/ 2147483647 h 441"/>
                <a:gd name="T92" fmla="*/ 2147483647 w 217"/>
                <a:gd name="T93" fmla="*/ 2147483647 h 441"/>
                <a:gd name="T94" fmla="*/ 2147483647 w 217"/>
                <a:gd name="T95" fmla="*/ 2147483647 h 441"/>
                <a:gd name="T96" fmla="*/ 2147483647 w 217"/>
                <a:gd name="T97" fmla="*/ 2147483647 h 441"/>
                <a:gd name="T98" fmla="*/ 2147483647 w 217"/>
                <a:gd name="T99" fmla="*/ 2147483647 h 441"/>
                <a:gd name="T100" fmla="*/ 2147483647 w 217"/>
                <a:gd name="T101" fmla="*/ 2147483647 h 441"/>
                <a:gd name="T102" fmla="*/ 2147483647 w 217"/>
                <a:gd name="T103" fmla="*/ 2147483647 h 441"/>
                <a:gd name="T104" fmla="*/ 2147483647 w 217"/>
                <a:gd name="T105" fmla="*/ 2147483647 h 441"/>
                <a:gd name="T106" fmla="*/ 0 w 217"/>
                <a:gd name="T107" fmla="*/ 2147483647 h 44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17"/>
                <a:gd name="T163" fmla="*/ 0 h 441"/>
                <a:gd name="T164" fmla="*/ 217 w 217"/>
                <a:gd name="T165" fmla="*/ 441 h 44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17" h="441">
                  <a:moveTo>
                    <a:pt x="0" y="25"/>
                  </a:moveTo>
                  <a:lnTo>
                    <a:pt x="14" y="16"/>
                  </a:lnTo>
                  <a:lnTo>
                    <a:pt x="59" y="21"/>
                  </a:lnTo>
                  <a:lnTo>
                    <a:pt x="76" y="4"/>
                  </a:lnTo>
                  <a:lnTo>
                    <a:pt x="97" y="0"/>
                  </a:lnTo>
                  <a:lnTo>
                    <a:pt x="135" y="16"/>
                  </a:lnTo>
                  <a:lnTo>
                    <a:pt x="126" y="36"/>
                  </a:lnTo>
                  <a:lnTo>
                    <a:pt x="160" y="36"/>
                  </a:lnTo>
                  <a:lnTo>
                    <a:pt x="166" y="46"/>
                  </a:lnTo>
                  <a:lnTo>
                    <a:pt x="154" y="59"/>
                  </a:lnTo>
                  <a:lnTo>
                    <a:pt x="152" y="71"/>
                  </a:lnTo>
                  <a:lnTo>
                    <a:pt x="137" y="69"/>
                  </a:lnTo>
                  <a:lnTo>
                    <a:pt x="139" y="80"/>
                  </a:lnTo>
                  <a:lnTo>
                    <a:pt x="113" y="97"/>
                  </a:lnTo>
                  <a:lnTo>
                    <a:pt x="103" y="131"/>
                  </a:lnTo>
                  <a:lnTo>
                    <a:pt x="126" y="154"/>
                  </a:lnTo>
                  <a:lnTo>
                    <a:pt x="133" y="183"/>
                  </a:lnTo>
                  <a:lnTo>
                    <a:pt x="200" y="245"/>
                  </a:lnTo>
                  <a:lnTo>
                    <a:pt x="213" y="314"/>
                  </a:lnTo>
                  <a:lnTo>
                    <a:pt x="217" y="329"/>
                  </a:lnTo>
                  <a:lnTo>
                    <a:pt x="211" y="331"/>
                  </a:lnTo>
                  <a:lnTo>
                    <a:pt x="208" y="367"/>
                  </a:lnTo>
                  <a:lnTo>
                    <a:pt x="179" y="369"/>
                  </a:lnTo>
                  <a:lnTo>
                    <a:pt x="166" y="382"/>
                  </a:lnTo>
                  <a:lnTo>
                    <a:pt x="147" y="390"/>
                  </a:lnTo>
                  <a:lnTo>
                    <a:pt x="137" y="384"/>
                  </a:lnTo>
                  <a:lnTo>
                    <a:pt x="132" y="414"/>
                  </a:lnTo>
                  <a:lnTo>
                    <a:pt x="118" y="405"/>
                  </a:lnTo>
                  <a:lnTo>
                    <a:pt x="120" y="416"/>
                  </a:lnTo>
                  <a:lnTo>
                    <a:pt x="99" y="426"/>
                  </a:lnTo>
                  <a:lnTo>
                    <a:pt x="94" y="439"/>
                  </a:lnTo>
                  <a:lnTo>
                    <a:pt x="73" y="441"/>
                  </a:lnTo>
                  <a:lnTo>
                    <a:pt x="80" y="435"/>
                  </a:lnTo>
                  <a:lnTo>
                    <a:pt x="80" y="416"/>
                  </a:lnTo>
                  <a:lnTo>
                    <a:pt x="92" y="399"/>
                  </a:lnTo>
                  <a:lnTo>
                    <a:pt x="75" y="390"/>
                  </a:lnTo>
                  <a:lnTo>
                    <a:pt x="94" y="363"/>
                  </a:lnTo>
                  <a:lnTo>
                    <a:pt x="114" y="363"/>
                  </a:lnTo>
                  <a:lnTo>
                    <a:pt x="116" y="342"/>
                  </a:lnTo>
                  <a:lnTo>
                    <a:pt x="133" y="342"/>
                  </a:lnTo>
                  <a:lnTo>
                    <a:pt x="154" y="323"/>
                  </a:lnTo>
                  <a:lnTo>
                    <a:pt x="156" y="274"/>
                  </a:lnTo>
                  <a:lnTo>
                    <a:pt x="147" y="264"/>
                  </a:lnTo>
                  <a:lnTo>
                    <a:pt x="139" y="213"/>
                  </a:lnTo>
                  <a:lnTo>
                    <a:pt x="116" y="200"/>
                  </a:lnTo>
                  <a:lnTo>
                    <a:pt x="82" y="139"/>
                  </a:lnTo>
                  <a:lnTo>
                    <a:pt x="61" y="126"/>
                  </a:lnTo>
                  <a:lnTo>
                    <a:pt x="57" y="99"/>
                  </a:lnTo>
                  <a:lnTo>
                    <a:pt x="65" y="101"/>
                  </a:lnTo>
                  <a:lnTo>
                    <a:pt x="75" y="92"/>
                  </a:lnTo>
                  <a:lnTo>
                    <a:pt x="59" y="71"/>
                  </a:lnTo>
                  <a:lnTo>
                    <a:pt x="27" y="73"/>
                  </a:lnTo>
                  <a:lnTo>
                    <a:pt x="21" y="44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6" name="Freeform 162"/>
            <p:cNvSpPr>
              <a:spLocks/>
            </p:cNvSpPr>
            <p:nvPr/>
          </p:nvSpPr>
          <p:spPr bwMode="auto">
            <a:xfrm>
              <a:off x="3315648" y="3712534"/>
              <a:ext cx="168688" cy="207197"/>
            </a:xfrm>
            <a:custGeom>
              <a:avLst/>
              <a:gdLst>
                <a:gd name="T0" fmla="*/ 2147483647 w 308"/>
                <a:gd name="T1" fmla="*/ 2147483647 h 333"/>
                <a:gd name="T2" fmla="*/ 2147483647 w 308"/>
                <a:gd name="T3" fmla="*/ 2147483647 h 333"/>
                <a:gd name="T4" fmla="*/ 2147483647 w 308"/>
                <a:gd name="T5" fmla="*/ 2147483647 h 333"/>
                <a:gd name="T6" fmla="*/ 2147483647 w 308"/>
                <a:gd name="T7" fmla="*/ 2147483647 h 333"/>
                <a:gd name="T8" fmla="*/ 2147483647 w 308"/>
                <a:gd name="T9" fmla="*/ 2147483647 h 333"/>
                <a:gd name="T10" fmla="*/ 2147483647 w 308"/>
                <a:gd name="T11" fmla="*/ 2147483647 h 333"/>
                <a:gd name="T12" fmla="*/ 2147483647 w 308"/>
                <a:gd name="T13" fmla="*/ 2147483647 h 333"/>
                <a:gd name="T14" fmla="*/ 2147483647 w 308"/>
                <a:gd name="T15" fmla="*/ 2147483647 h 333"/>
                <a:gd name="T16" fmla="*/ 2147483647 w 308"/>
                <a:gd name="T17" fmla="*/ 2147483647 h 333"/>
                <a:gd name="T18" fmla="*/ 2147483647 w 308"/>
                <a:gd name="T19" fmla="*/ 2147483647 h 333"/>
                <a:gd name="T20" fmla="*/ 2147483647 w 308"/>
                <a:gd name="T21" fmla="*/ 2147483647 h 333"/>
                <a:gd name="T22" fmla="*/ 2147483647 w 308"/>
                <a:gd name="T23" fmla="*/ 2147483647 h 333"/>
                <a:gd name="T24" fmla="*/ 2147483647 w 308"/>
                <a:gd name="T25" fmla="*/ 2147483647 h 333"/>
                <a:gd name="T26" fmla="*/ 2147483647 w 308"/>
                <a:gd name="T27" fmla="*/ 2147483647 h 333"/>
                <a:gd name="T28" fmla="*/ 2147483647 w 308"/>
                <a:gd name="T29" fmla="*/ 2147483647 h 333"/>
                <a:gd name="T30" fmla="*/ 2147483647 w 308"/>
                <a:gd name="T31" fmla="*/ 2147483647 h 333"/>
                <a:gd name="T32" fmla="*/ 2147483647 w 308"/>
                <a:gd name="T33" fmla="*/ 2147483647 h 333"/>
                <a:gd name="T34" fmla="*/ 2147483647 w 308"/>
                <a:gd name="T35" fmla="*/ 2147483647 h 333"/>
                <a:gd name="T36" fmla="*/ 2147483647 w 308"/>
                <a:gd name="T37" fmla="*/ 2147483647 h 333"/>
                <a:gd name="T38" fmla="*/ 2147483647 w 308"/>
                <a:gd name="T39" fmla="*/ 2147483647 h 333"/>
                <a:gd name="T40" fmla="*/ 2147483647 w 308"/>
                <a:gd name="T41" fmla="*/ 2147483647 h 333"/>
                <a:gd name="T42" fmla="*/ 2147483647 w 308"/>
                <a:gd name="T43" fmla="*/ 2147483647 h 333"/>
                <a:gd name="T44" fmla="*/ 2147483647 w 308"/>
                <a:gd name="T45" fmla="*/ 2147483647 h 333"/>
                <a:gd name="T46" fmla="*/ 2147483647 w 308"/>
                <a:gd name="T47" fmla="*/ 2147483647 h 333"/>
                <a:gd name="T48" fmla="*/ 2147483647 w 308"/>
                <a:gd name="T49" fmla="*/ 2147483647 h 333"/>
                <a:gd name="T50" fmla="*/ 2147483647 w 308"/>
                <a:gd name="T51" fmla="*/ 2147483647 h 333"/>
                <a:gd name="T52" fmla="*/ 0 w 308"/>
                <a:gd name="T53" fmla="*/ 2147483647 h 333"/>
                <a:gd name="T54" fmla="*/ 2147483647 w 308"/>
                <a:gd name="T55" fmla="*/ 2147483647 h 333"/>
                <a:gd name="T56" fmla="*/ 0 w 308"/>
                <a:gd name="T57" fmla="*/ 2147483647 h 333"/>
                <a:gd name="T58" fmla="*/ 2147483647 w 308"/>
                <a:gd name="T59" fmla="*/ 2147483647 h 333"/>
                <a:gd name="T60" fmla="*/ 2147483647 w 308"/>
                <a:gd name="T61" fmla="*/ 0 h 333"/>
                <a:gd name="T62" fmla="*/ 2147483647 w 308"/>
                <a:gd name="T63" fmla="*/ 2147483647 h 333"/>
                <a:gd name="T64" fmla="*/ 2147483647 w 308"/>
                <a:gd name="T65" fmla="*/ 2147483647 h 333"/>
                <a:gd name="T66" fmla="*/ 2147483647 w 308"/>
                <a:gd name="T67" fmla="*/ 2147483647 h 333"/>
                <a:gd name="T68" fmla="*/ 2147483647 w 308"/>
                <a:gd name="T69" fmla="*/ 2147483647 h 333"/>
                <a:gd name="T70" fmla="*/ 2147483647 w 308"/>
                <a:gd name="T71" fmla="*/ 2147483647 h 333"/>
                <a:gd name="T72" fmla="*/ 2147483647 w 308"/>
                <a:gd name="T73" fmla="*/ 2147483647 h 333"/>
                <a:gd name="T74" fmla="*/ 2147483647 w 308"/>
                <a:gd name="T75" fmla="*/ 2147483647 h 333"/>
                <a:gd name="T76" fmla="*/ 2147483647 w 308"/>
                <a:gd name="T77" fmla="*/ 2147483647 h 333"/>
                <a:gd name="T78" fmla="*/ 2147483647 w 308"/>
                <a:gd name="T79" fmla="*/ 2147483647 h 333"/>
                <a:gd name="T80" fmla="*/ 2147483647 w 308"/>
                <a:gd name="T81" fmla="*/ 2147483647 h 333"/>
                <a:gd name="T82" fmla="*/ 2147483647 w 308"/>
                <a:gd name="T83" fmla="*/ 2147483647 h 33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08"/>
                <a:gd name="T127" fmla="*/ 0 h 333"/>
                <a:gd name="T128" fmla="*/ 308 w 308"/>
                <a:gd name="T129" fmla="*/ 333 h 33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08" h="333">
                  <a:moveTo>
                    <a:pt x="270" y="10"/>
                  </a:moveTo>
                  <a:lnTo>
                    <a:pt x="279" y="17"/>
                  </a:lnTo>
                  <a:lnTo>
                    <a:pt x="270" y="36"/>
                  </a:lnTo>
                  <a:lnTo>
                    <a:pt x="285" y="78"/>
                  </a:lnTo>
                  <a:lnTo>
                    <a:pt x="279" y="78"/>
                  </a:lnTo>
                  <a:lnTo>
                    <a:pt x="266" y="118"/>
                  </a:lnTo>
                  <a:lnTo>
                    <a:pt x="258" y="133"/>
                  </a:lnTo>
                  <a:lnTo>
                    <a:pt x="251" y="124"/>
                  </a:lnTo>
                  <a:lnTo>
                    <a:pt x="224" y="84"/>
                  </a:lnTo>
                  <a:lnTo>
                    <a:pt x="218" y="71"/>
                  </a:lnTo>
                  <a:lnTo>
                    <a:pt x="211" y="71"/>
                  </a:lnTo>
                  <a:lnTo>
                    <a:pt x="213" y="93"/>
                  </a:lnTo>
                  <a:lnTo>
                    <a:pt x="241" y="128"/>
                  </a:lnTo>
                  <a:lnTo>
                    <a:pt x="251" y="147"/>
                  </a:lnTo>
                  <a:lnTo>
                    <a:pt x="251" y="164"/>
                  </a:lnTo>
                  <a:lnTo>
                    <a:pt x="285" y="236"/>
                  </a:lnTo>
                  <a:lnTo>
                    <a:pt x="308" y="255"/>
                  </a:lnTo>
                  <a:lnTo>
                    <a:pt x="294" y="257"/>
                  </a:lnTo>
                  <a:lnTo>
                    <a:pt x="298" y="280"/>
                  </a:lnTo>
                  <a:lnTo>
                    <a:pt x="296" y="287"/>
                  </a:lnTo>
                  <a:lnTo>
                    <a:pt x="287" y="310"/>
                  </a:lnTo>
                  <a:lnTo>
                    <a:pt x="275" y="314"/>
                  </a:lnTo>
                  <a:lnTo>
                    <a:pt x="254" y="333"/>
                  </a:lnTo>
                  <a:lnTo>
                    <a:pt x="243" y="323"/>
                  </a:lnTo>
                  <a:lnTo>
                    <a:pt x="11" y="323"/>
                  </a:lnTo>
                  <a:lnTo>
                    <a:pt x="11" y="86"/>
                  </a:lnTo>
                  <a:lnTo>
                    <a:pt x="0" y="69"/>
                  </a:lnTo>
                  <a:lnTo>
                    <a:pt x="11" y="52"/>
                  </a:lnTo>
                  <a:lnTo>
                    <a:pt x="0" y="31"/>
                  </a:lnTo>
                  <a:lnTo>
                    <a:pt x="15" y="6"/>
                  </a:lnTo>
                  <a:lnTo>
                    <a:pt x="34" y="0"/>
                  </a:lnTo>
                  <a:lnTo>
                    <a:pt x="72" y="16"/>
                  </a:lnTo>
                  <a:lnTo>
                    <a:pt x="87" y="12"/>
                  </a:lnTo>
                  <a:lnTo>
                    <a:pt x="118" y="31"/>
                  </a:lnTo>
                  <a:lnTo>
                    <a:pt x="142" y="17"/>
                  </a:lnTo>
                  <a:lnTo>
                    <a:pt x="157" y="17"/>
                  </a:lnTo>
                  <a:lnTo>
                    <a:pt x="159" y="8"/>
                  </a:lnTo>
                  <a:lnTo>
                    <a:pt x="180" y="4"/>
                  </a:lnTo>
                  <a:lnTo>
                    <a:pt x="203" y="10"/>
                  </a:lnTo>
                  <a:lnTo>
                    <a:pt x="213" y="27"/>
                  </a:lnTo>
                  <a:lnTo>
                    <a:pt x="247" y="27"/>
                  </a:lnTo>
                  <a:lnTo>
                    <a:pt x="270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7" name="Freeform 163"/>
            <p:cNvSpPr>
              <a:spLocks/>
            </p:cNvSpPr>
            <p:nvPr/>
          </p:nvSpPr>
          <p:spPr bwMode="auto">
            <a:xfrm>
              <a:off x="2802969" y="3592639"/>
              <a:ext cx="320838" cy="375980"/>
            </a:xfrm>
            <a:custGeom>
              <a:avLst/>
              <a:gdLst>
                <a:gd name="T0" fmla="*/ 2147483647 w 589"/>
                <a:gd name="T1" fmla="*/ 2147483647 h 603"/>
                <a:gd name="T2" fmla="*/ 2147483647 w 589"/>
                <a:gd name="T3" fmla="*/ 2147483647 h 603"/>
                <a:gd name="T4" fmla="*/ 2147483647 w 589"/>
                <a:gd name="T5" fmla="*/ 2147483647 h 603"/>
                <a:gd name="T6" fmla="*/ 2147483647 w 589"/>
                <a:gd name="T7" fmla="*/ 2147483647 h 603"/>
                <a:gd name="T8" fmla="*/ 2147483647 w 589"/>
                <a:gd name="T9" fmla="*/ 2147483647 h 603"/>
                <a:gd name="T10" fmla="*/ 2147483647 w 589"/>
                <a:gd name="T11" fmla="*/ 2147483647 h 603"/>
                <a:gd name="T12" fmla="*/ 2147483647 w 589"/>
                <a:gd name="T13" fmla="*/ 2147483647 h 603"/>
                <a:gd name="T14" fmla="*/ 2147483647 w 589"/>
                <a:gd name="T15" fmla="*/ 2147483647 h 603"/>
                <a:gd name="T16" fmla="*/ 2147483647 w 589"/>
                <a:gd name="T17" fmla="*/ 2147483647 h 603"/>
                <a:gd name="T18" fmla="*/ 2147483647 w 589"/>
                <a:gd name="T19" fmla="*/ 2147483647 h 603"/>
                <a:gd name="T20" fmla="*/ 2147483647 w 589"/>
                <a:gd name="T21" fmla="*/ 2147483647 h 603"/>
                <a:gd name="T22" fmla="*/ 2147483647 w 589"/>
                <a:gd name="T23" fmla="*/ 2147483647 h 603"/>
                <a:gd name="T24" fmla="*/ 2147483647 w 589"/>
                <a:gd name="T25" fmla="*/ 0 h 603"/>
                <a:gd name="T26" fmla="*/ 2147483647 w 589"/>
                <a:gd name="T27" fmla="*/ 2147483647 h 603"/>
                <a:gd name="T28" fmla="*/ 2147483647 w 589"/>
                <a:gd name="T29" fmla="*/ 2147483647 h 603"/>
                <a:gd name="T30" fmla="*/ 2147483647 w 589"/>
                <a:gd name="T31" fmla="*/ 2147483647 h 603"/>
                <a:gd name="T32" fmla="*/ 2147483647 w 589"/>
                <a:gd name="T33" fmla="*/ 2147483647 h 603"/>
                <a:gd name="T34" fmla="*/ 2147483647 w 589"/>
                <a:gd name="T35" fmla="*/ 2147483647 h 603"/>
                <a:gd name="T36" fmla="*/ 2147483647 w 589"/>
                <a:gd name="T37" fmla="*/ 2147483647 h 603"/>
                <a:gd name="T38" fmla="*/ 2147483647 w 589"/>
                <a:gd name="T39" fmla="*/ 2147483647 h 603"/>
                <a:gd name="T40" fmla="*/ 2147483647 w 589"/>
                <a:gd name="T41" fmla="*/ 2147483647 h 603"/>
                <a:gd name="T42" fmla="*/ 2147483647 w 589"/>
                <a:gd name="T43" fmla="*/ 2147483647 h 603"/>
                <a:gd name="T44" fmla="*/ 2147483647 w 589"/>
                <a:gd name="T45" fmla="*/ 2147483647 h 603"/>
                <a:gd name="T46" fmla="*/ 2147483647 w 589"/>
                <a:gd name="T47" fmla="*/ 2147483647 h 603"/>
                <a:gd name="T48" fmla="*/ 2147483647 w 589"/>
                <a:gd name="T49" fmla="*/ 2147483647 h 603"/>
                <a:gd name="T50" fmla="*/ 2147483647 w 589"/>
                <a:gd name="T51" fmla="*/ 2147483647 h 603"/>
                <a:gd name="T52" fmla="*/ 2147483647 w 589"/>
                <a:gd name="T53" fmla="*/ 2147483647 h 603"/>
                <a:gd name="T54" fmla="*/ 2147483647 w 589"/>
                <a:gd name="T55" fmla="*/ 2147483647 h 603"/>
                <a:gd name="T56" fmla="*/ 2147483647 w 589"/>
                <a:gd name="T57" fmla="*/ 2147483647 h 603"/>
                <a:gd name="T58" fmla="*/ 2147483647 w 589"/>
                <a:gd name="T59" fmla="*/ 2147483647 h 603"/>
                <a:gd name="T60" fmla="*/ 2147483647 w 589"/>
                <a:gd name="T61" fmla="*/ 2147483647 h 603"/>
                <a:gd name="T62" fmla="*/ 2147483647 w 589"/>
                <a:gd name="T63" fmla="*/ 2147483647 h 603"/>
                <a:gd name="T64" fmla="*/ 2147483647 w 589"/>
                <a:gd name="T65" fmla="*/ 2147483647 h 603"/>
                <a:gd name="T66" fmla="*/ 2147483647 w 589"/>
                <a:gd name="T67" fmla="*/ 2147483647 h 603"/>
                <a:gd name="T68" fmla="*/ 2147483647 w 589"/>
                <a:gd name="T69" fmla="*/ 2147483647 h 603"/>
                <a:gd name="T70" fmla="*/ 2147483647 w 589"/>
                <a:gd name="T71" fmla="*/ 2147483647 h 603"/>
                <a:gd name="T72" fmla="*/ 2147483647 w 589"/>
                <a:gd name="T73" fmla="*/ 2147483647 h 603"/>
                <a:gd name="T74" fmla="*/ 2147483647 w 589"/>
                <a:gd name="T75" fmla="*/ 2147483647 h 603"/>
                <a:gd name="T76" fmla="*/ 2147483647 w 589"/>
                <a:gd name="T77" fmla="*/ 2147483647 h 603"/>
                <a:gd name="T78" fmla="*/ 2147483647 w 589"/>
                <a:gd name="T79" fmla="*/ 2147483647 h 603"/>
                <a:gd name="T80" fmla="*/ 2147483647 w 589"/>
                <a:gd name="T81" fmla="*/ 2147483647 h 603"/>
                <a:gd name="T82" fmla="*/ 2147483647 w 589"/>
                <a:gd name="T83" fmla="*/ 2147483647 h 603"/>
                <a:gd name="T84" fmla="*/ 2147483647 w 589"/>
                <a:gd name="T85" fmla="*/ 2147483647 h 603"/>
                <a:gd name="T86" fmla="*/ 0 w 589"/>
                <a:gd name="T87" fmla="*/ 2147483647 h 603"/>
                <a:gd name="T88" fmla="*/ 0 w 589"/>
                <a:gd name="T89" fmla="*/ 2147483647 h 603"/>
                <a:gd name="T90" fmla="*/ 2147483647 w 589"/>
                <a:gd name="T91" fmla="*/ 2147483647 h 603"/>
                <a:gd name="T92" fmla="*/ 2147483647 w 589"/>
                <a:gd name="T93" fmla="*/ 2147483647 h 603"/>
                <a:gd name="T94" fmla="*/ 2147483647 w 589"/>
                <a:gd name="T95" fmla="*/ 2147483647 h 603"/>
                <a:gd name="T96" fmla="*/ 2147483647 w 589"/>
                <a:gd name="T97" fmla="*/ 2147483647 h 603"/>
                <a:gd name="T98" fmla="*/ 2147483647 w 589"/>
                <a:gd name="T99" fmla="*/ 2147483647 h 603"/>
                <a:gd name="T100" fmla="*/ 2147483647 w 589"/>
                <a:gd name="T101" fmla="*/ 2147483647 h 603"/>
                <a:gd name="T102" fmla="*/ 2147483647 w 589"/>
                <a:gd name="T103" fmla="*/ 2147483647 h 603"/>
                <a:gd name="T104" fmla="*/ 2147483647 w 589"/>
                <a:gd name="T105" fmla="*/ 2147483647 h 603"/>
                <a:gd name="T106" fmla="*/ 2147483647 w 589"/>
                <a:gd name="T107" fmla="*/ 2147483647 h 603"/>
                <a:gd name="T108" fmla="*/ 2147483647 w 589"/>
                <a:gd name="T109" fmla="*/ 2147483647 h 603"/>
                <a:gd name="T110" fmla="*/ 2147483647 w 589"/>
                <a:gd name="T111" fmla="*/ 2147483647 h 603"/>
                <a:gd name="T112" fmla="*/ 2147483647 w 589"/>
                <a:gd name="T113" fmla="*/ 2147483647 h 6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89"/>
                <a:gd name="T172" fmla="*/ 0 h 603"/>
                <a:gd name="T173" fmla="*/ 589 w 589"/>
                <a:gd name="T174" fmla="*/ 603 h 6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89" h="603">
                  <a:moveTo>
                    <a:pt x="181" y="78"/>
                  </a:moveTo>
                  <a:lnTo>
                    <a:pt x="194" y="75"/>
                  </a:lnTo>
                  <a:lnTo>
                    <a:pt x="232" y="52"/>
                  </a:lnTo>
                  <a:lnTo>
                    <a:pt x="249" y="50"/>
                  </a:lnTo>
                  <a:lnTo>
                    <a:pt x="274" y="31"/>
                  </a:lnTo>
                  <a:lnTo>
                    <a:pt x="319" y="19"/>
                  </a:lnTo>
                  <a:lnTo>
                    <a:pt x="329" y="27"/>
                  </a:lnTo>
                  <a:lnTo>
                    <a:pt x="333" y="18"/>
                  </a:lnTo>
                  <a:lnTo>
                    <a:pt x="363" y="10"/>
                  </a:lnTo>
                  <a:lnTo>
                    <a:pt x="393" y="18"/>
                  </a:lnTo>
                  <a:lnTo>
                    <a:pt x="431" y="6"/>
                  </a:lnTo>
                  <a:lnTo>
                    <a:pt x="441" y="12"/>
                  </a:lnTo>
                  <a:lnTo>
                    <a:pt x="447" y="0"/>
                  </a:lnTo>
                  <a:lnTo>
                    <a:pt x="487" y="8"/>
                  </a:lnTo>
                  <a:lnTo>
                    <a:pt x="477" y="27"/>
                  </a:lnTo>
                  <a:lnTo>
                    <a:pt x="479" y="84"/>
                  </a:lnTo>
                  <a:lnTo>
                    <a:pt x="452" y="114"/>
                  </a:lnTo>
                  <a:lnTo>
                    <a:pt x="464" y="152"/>
                  </a:lnTo>
                  <a:lnTo>
                    <a:pt x="477" y="175"/>
                  </a:lnTo>
                  <a:lnTo>
                    <a:pt x="496" y="189"/>
                  </a:lnTo>
                  <a:lnTo>
                    <a:pt x="500" y="257"/>
                  </a:lnTo>
                  <a:lnTo>
                    <a:pt x="509" y="270"/>
                  </a:lnTo>
                  <a:lnTo>
                    <a:pt x="507" y="312"/>
                  </a:lnTo>
                  <a:lnTo>
                    <a:pt x="517" y="335"/>
                  </a:lnTo>
                  <a:lnTo>
                    <a:pt x="513" y="359"/>
                  </a:lnTo>
                  <a:lnTo>
                    <a:pt x="500" y="377"/>
                  </a:lnTo>
                  <a:lnTo>
                    <a:pt x="525" y="409"/>
                  </a:lnTo>
                  <a:lnTo>
                    <a:pt x="521" y="422"/>
                  </a:lnTo>
                  <a:lnTo>
                    <a:pt x="536" y="432"/>
                  </a:lnTo>
                  <a:lnTo>
                    <a:pt x="549" y="426"/>
                  </a:lnTo>
                  <a:lnTo>
                    <a:pt x="589" y="460"/>
                  </a:lnTo>
                  <a:lnTo>
                    <a:pt x="589" y="468"/>
                  </a:lnTo>
                  <a:lnTo>
                    <a:pt x="439" y="570"/>
                  </a:lnTo>
                  <a:lnTo>
                    <a:pt x="367" y="591"/>
                  </a:lnTo>
                  <a:lnTo>
                    <a:pt x="344" y="603"/>
                  </a:lnTo>
                  <a:lnTo>
                    <a:pt x="335" y="599"/>
                  </a:lnTo>
                  <a:lnTo>
                    <a:pt x="338" y="572"/>
                  </a:lnTo>
                  <a:lnTo>
                    <a:pt x="317" y="563"/>
                  </a:lnTo>
                  <a:lnTo>
                    <a:pt x="302" y="568"/>
                  </a:lnTo>
                  <a:lnTo>
                    <a:pt x="295" y="555"/>
                  </a:lnTo>
                  <a:lnTo>
                    <a:pt x="274" y="549"/>
                  </a:lnTo>
                  <a:lnTo>
                    <a:pt x="266" y="532"/>
                  </a:lnTo>
                  <a:lnTo>
                    <a:pt x="101" y="418"/>
                  </a:lnTo>
                  <a:lnTo>
                    <a:pt x="0" y="348"/>
                  </a:lnTo>
                  <a:lnTo>
                    <a:pt x="0" y="331"/>
                  </a:lnTo>
                  <a:lnTo>
                    <a:pt x="4" y="306"/>
                  </a:lnTo>
                  <a:lnTo>
                    <a:pt x="23" y="283"/>
                  </a:lnTo>
                  <a:lnTo>
                    <a:pt x="63" y="272"/>
                  </a:lnTo>
                  <a:lnTo>
                    <a:pt x="80" y="274"/>
                  </a:lnTo>
                  <a:lnTo>
                    <a:pt x="158" y="211"/>
                  </a:lnTo>
                  <a:lnTo>
                    <a:pt x="173" y="187"/>
                  </a:lnTo>
                  <a:lnTo>
                    <a:pt x="209" y="192"/>
                  </a:lnTo>
                  <a:lnTo>
                    <a:pt x="217" y="171"/>
                  </a:lnTo>
                  <a:lnTo>
                    <a:pt x="200" y="164"/>
                  </a:lnTo>
                  <a:lnTo>
                    <a:pt x="188" y="130"/>
                  </a:lnTo>
                  <a:lnTo>
                    <a:pt x="192" y="105"/>
                  </a:lnTo>
                  <a:lnTo>
                    <a:pt x="181" y="7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8" name="Freeform 164"/>
            <p:cNvSpPr>
              <a:spLocks/>
            </p:cNvSpPr>
            <p:nvPr/>
          </p:nvSpPr>
          <p:spPr bwMode="auto">
            <a:xfrm>
              <a:off x="3112781" y="4391162"/>
              <a:ext cx="192944" cy="249102"/>
            </a:xfrm>
            <a:custGeom>
              <a:avLst/>
              <a:gdLst>
                <a:gd name="T0" fmla="*/ 2147483647 w 356"/>
                <a:gd name="T1" fmla="*/ 2147483647 h 399"/>
                <a:gd name="T2" fmla="*/ 0 w 356"/>
                <a:gd name="T3" fmla="*/ 2147483647 h 399"/>
                <a:gd name="T4" fmla="*/ 2147483647 w 356"/>
                <a:gd name="T5" fmla="*/ 2147483647 h 399"/>
                <a:gd name="T6" fmla="*/ 2147483647 w 356"/>
                <a:gd name="T7" fmla="*/ 2147483647 h 399"/>
                <a:gd name="T8" fmla="*/ 2147483647 w 356"/>
                <a:gd name="T9" fmla="*/ 2147483647 h 399"/>
                <a:gd name="T10" fmla="*/ 2147483647 w 356"/>
                <a:gd name="T11" fmla="*/ 2147483647 h 399"/>
                <a:gd name="T12" fmla="*/ 2147483647 w 356"/>
                <a:gd name="T13" fmla="*/ 2147483647 h 399"/>
                <a:gd name="T14" fmla="*/ 2147483647 w 356"/>
                <a:gd name="T15" fmla="*/ 2147483647 h 399"/>
                <a:gd name="T16" fmla="*/ 2147483647 w 356"/>
                <a:gd name="T17" fmla="*/ 2147483647 h 399"/>
                <a:gd name="T18" fmla="*/ 2147483647 w 356"/>
                <a:gd name="T19" fmla="*/ 2147483647 h 399"/>
                <a:gd name="T20" fmla="*/ 2147483647 w 356"/>
                <a:gd name="T21" fmla="*/ 2147483647 h 399"/>
                <a:gd name="T22" fmla="*/ 2147483647 w 356"/>
                <a:gd name="T23" fmla="*/ 2147483647 h 399"/>
                <a:gd name="T24" fmla="*/ 2147483647 w 356"/>
                <a:gd name="T25" fmla="*/ 2147483647 h 399"/>
                <a:gd name="T26" fmla="*/ 2147483647 w 356"/>
                <a:gd name="T27" fmla="*/ 2147483647 h 399"/>
                <a:gd name="T28" fmla="*/ 2147483647 w 356"/>
                <a:gd name="T29" fmla="*/ 2147483647 h 399"/>
                <a:gd name="T30" fmla="*/ 2147483647 w 356"/>
                <a:gd name="T31" fmla="*/ 2147483647 h 399"/>
                <a:gd name="T32" fmla="*/ 2147483647 w 356"/>
                <a:gd name="T33" fmla="*/ 0 h 399"/>
                <a:gd name="T34" fmla="*/ 2147483647 w 356"/>
                <a:gd name="T35" fmla="*/ 2147483647 h 399"/>
                <a:gd name="T36" fmla="*/ 2147483647 w 356"/>
                <a:gd name="T37" fmla="*/ 2147483647 h 399"/>
                <a:gd name="T38" fmla="*/ 2147483647 w 356"/>
                <a:gd name="T39" fmla="*/ 2147483647 h 399"/>
                <a:gd name="T40" fmla="*/ 2147483647 w 356"/>
                <a:gd name="T41" fmla="*/ 2147483647 h 399"/>
                <a:gd name="T42" fmla="*/ 2147483647 w 356"/>
                <a:gd name="T43" fmla="*/ 2147483647 h 399"/>
                <a:gd name="T44" fmla="*/ 2147483647 w 356"/>
                <a:gd name="T45" fmla="*/ 2147483647 h 399"/>
                <a:gd name="T46" fmla="*/ 2147483647 w 356"/>
                <a:gd name="T47" fmla="*/ 2147483647 h 399"/>
                <a:gd name="T48" fmla="*/ 2147483647 w 356"/>
                <a:gd name="T49" fmla="*/ 2147483647 h 399"/>
                <a:gd name="T50" fmla="*/ 2147483647 w 356"/>
                <a:gd name="T51" fmla="*/ 2147483647 h 399"/>
                <a:gd name="T52" fmla="*/ 2147483647 w 356"/>
                <a:gd name="T53" fmla="*/ 2147483647 h 399"/>
                <a:gd name="T54" fmla="*/ 2147483647 w 356"/>
                <a:gd name="T55" fmla="*/ 2147483647 h 399"/>
                <a:gd name="T56" fmla="*/ 2147483647 w 356"/>
                <a:gd name="T57" fmla="*/ 2147483647 h 399"/>
                <a:gd name="T58" fmla="*/ 2147483647 w 356"/>
                <a:gd name="T59" fmla="*/ 2147483647 h 399"/>
                <a:gd name="T60" fmla="*/ 2147483647 w 356"/>
                <a:gd name="T61" fmla="*/ 2147483647 h 399"/>
                <a:gd name="T62" fmla="*/ 2147483647 w 356"/>
                <a:gd name="T63" fmla="*/ 2147483647 h 399"/>
                <a:gd name="T64" fmla="*/ 2147483647 w 356"/>
                <a:gd name="T65" fmla="*/ 2147483647 h 399"/>
                <a:gd name="T66" fmla="*/ 2147483647 w 356"/>
                <a:gd name="T67" fmla="*/ 2147483647 h 399"/>
                <a:gd name="T68" fmla="*/ 2147483647 w 356"/>
                <a:gd name="T69" fmla="*/ 2147483647 h 399"/>
                <a:gd name="T70" fmla="*/ 2147483647 w 356"/>
                <a:gd name="T71" fmla="*/ 2147483647 h 399"/>
                <a:gd name="T72" fmla="*/ 2147483647 w 356"/>
                <a:gd name="T73" fmla="*/ 2147483647 h 399"/>
                <a:gd name="T74" fmla="*/ 2147483647 w 356"/>
                <a:gd name="T75" fmla="*/ 2147483647 h 399"/>
                <a:gd name="T76" fmla="*/ 2147483647 w 356"/>
                <a:gd name="T77" fmla="*/ 2147483647 h 399"/>
                <a:gd name="T78" fmla="*/ 2147483647 w 356"/>
                <a:gd name="T79" fmla="*/ 2147483647 h 399"/>
                <a:gd name="T80" fmla="*/ 2147483647 w 356"/>
                <a:gd name="T81" fmla="*/ 2147483647 h 399"/>
                <a:gd name="T82" fmla="*/ 2147483647 w 356"/>
                <a:gd name="T83" fmla="*/ 2147483647 h 399"/>
                <a:gd name="T84" fmla="*/ 2147483647 w 356"/>
                <a:gd name="T85" fmla="*/ 2147483647 h 399"/>
                <a:gd name="T86" fmla="*/ 2147483647 w 356"/>
                <a:gd name="T87" fmla="*/ 2147483647 h 399"/>
                <a:gd name="T88" fmla="*/ 2147483647 w 356"/>
                <a:gd name="T89" fmla="*/ 2147483647 h 39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56"/>
                <a:gd name="T136" fmla="*/ 0 h 399"/>
                <a:gd name="T137" fmla="*/ 356 w 356"/>
                <a:gd name="T138" fmla="*/ 399 h 39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56" h="399">
                  <a:moveTo>
                    <a:pt x="8" y="372"/>
                  </a:moveTo>
                  <a:lnTo>
                    <a:pt x="0" y="355"/>
                  </a:lnTo>
                  <a:lnTo>
                    <a:pt x="8" y="351"/>
                  </a:lnTo>
                  <a:lnTo>
                    <a:pt x="4" y="321"/>
                  </a:lnTo>
                  <a:lnTo>
                    <a:pt x="12" y="296"/>
                  </a:lnTo>
                  <a:lnTo>
                    <a:pt x="29" y="258"/>
                  </a:lnTo>
                  <a:lnTo>
                    <a:pt x="44" y="230"/>
                  </a:lnTo>
                  <a:lnTo>
                    <a:pt x="59" y="222"/>
                  </a:lnTo>
                  <a:lnTo>
                    <a:pt x="69" y="207"/>
                  </a:lnTo>
                  <a:lnTo>
                    <a:pt x="69" y="180"/>
                  </a:lnTo>
                  <a:lnTo>
                    <a:pt x="42" y="136"/>
                  </a:lnTo>
                  <a:lnTo>
                    <a:pt x="48" y="129"/>
                  </a:lnTo>
                  <a:lnTo>
                    <a:pt x="57" y="125"/>
                  </a:lnTo>
                  <a:lnTo>
                    <a:pt x="55" y="114"/>
                  </a:lnTo>
                  <a:lnTo>
                    <a:pt x="12" y="30"/>
                  </a:lnTo>
                  <a:lnTo>
                    <a:pt x="12" y="17"/>
                  </a:lnTo>
                  <a:lnTo>
                    <a:pt x="29" y="0"/>
                  </a:lnTo>
                  <a:lnTo>
                    <a:pt x="36" y="3"/>
                  </a:lnTo>
                  <a:lnTo>
                    <a:pt x="23" y="36"/>
                  </a:lnTo>
                  <a:lnTo>
                    <a:pt x="17" y="41"/>
                  </a:lnTo>
                  <a:lnTo>
                    <a:pt x="52" y="43"/>
                  </a:lnTo>
                  <a:lnTo>
                    <a:pt x="150" y="43"/>
                  </a:lnTo>
                  <a:lnTo>
                    <a:pt x="162" y="78"/>
                  </a:lnTo>
                  <a:lnTo>
                    <a:pt x="158" y="85"/>
                  </a:lnTo>
                  <a:lnTo>
                    <a:pt x="175" y="108"/>
                  </a:lnTo>
                  <a:lnTo>
                    <a:pt x="224" y="104"/>
                  </a:lnTo>
                  <a:lnTo>
                    <a:pt x="234" y="76"/>
                  </a:lnTo>
                  <a:lnTo>
                    <a:pt x="257" y="72"/>
                  </a:lnTo>
                  <a:lnTo>
                    <a:pt x="264" y="85"/>
                  </a:lnTo>
                  <a:lnTo>
                    <a:pt x="285" y="87"/>
                  </a:lnTo>
                  <a:lnTo>
                    <a:pt x="297" y="186"/>
                  </a:lnTo>
                  <a:lnTo>
                    <a:pt x="356" y="182"/>
                  </a:lnTo>
                  <a:lnTo>
                    <a:pt x="356" y="224"/>
                  </a:lnTo>
                  <a:lnTo>
                    <a:pt x="346" y="243"/>
                  </a:lnTo>
                  <a:lnTo>
                    <a:pt x="297" y="245"/>
                  </a:lnTo>
                  <a:lnTo>
                    <a:pt x="297" y="342"/>
                  </a:lnTo>
                  <a:lnTo>
                    <a:pt x="335" y="380"/>
                  </a:lnTo>
                  <a:lnTo>
                    <a:pt x="270" y="399"/>
                  </a:lnTo>
                  <a:lnTo>
                    <a:pt x="234" y="395"/>
                  </a:lnTo>
                  <a:lnTo>
                    <a:pt x="200" y="372"/>
                  </a:lnTo>
                  <a:lnTo>
                    <a:pt x="97" y="372"/>
                  </a:lnTo>
                  <a:lnTo>
                    <a:pt x="82" y="381"/>
                  </a:lnTo>
                  <a:lnTo>
                    <a:pt x="59" y="366"/>
                  </a:lnTo>
                  <a:lnTo>
                    <a:pt x="19" y="368"/>
                  </a:lnTo>
                  <a:lnTo>
                    <a:pt x="8" y="37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89" name="Freeform 165"/>
            <p:cNvSpPr>
              <a:spLocks/>
            </p:cNvSpPr>
            <p:nvPr/>
          </p:nvSpPr>
          <p:spPr bwMode="auto">
            <a:xfrm>
              <a:off x="3078602" y="4274759"/>
              <a:ext cx="30871" cy="18624"/>
            </a:xfrm>
            <a:custGeom>
              <a:avLst/>
              <a:gdLst>
                <a:gd name="T0" fmla="*/ 2147483647 w 57"/>
                <a:gd name="T1" fmla="*/ 2147483647 h 30"/>
                <a:gd name="T2" fmla="*/ 0 w 57"/>
                <a:gd name="T3" fmla="*/ 2147483647 h 30"/>
                <a:gd name="T4" fmla="*/ 2147483647 w 57"/>
                <a:gd name="T5" fmla="*/ 0 h 30"/>
                <a:gd name="T6" fmla="*/ 2147483647 w 57"/>
                <a:gd name="T7" fmla="*/ 2147483647 h 30"/>
                <a:gd name="T8" fmla="*/ 2147483647 w 57"/>
                <a:gd name="T9" fmla="*/ 2147483647 h 30"/>
                <a:gd name="T10" fmla="*/ 2147483647 w 57"/>
                <a:gd name="T11" fmla="*/ 2147483647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7"/>
                <a:gd name="T19" fmla="*/ 0 h 30"/>
                <a:gd name="T20" fmla="*/ 57 w 57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7" h="30">
                  <a:moveTo>
                    <a:pt x="15" y="30"/>
                  </a:moveTo>
                  <a:lnTo>
                    <a:pt x="0" y="26"/>
                  </a:lnTo>
                  <a:lnTo>
                    <a:pt x="9" y="0"/>
                  </a:lnTo>
                  <a:lnTo>
                    <a:pt x="57" y="3"/>
                  </a:lnTo>
                  <a:lnTo>
                    <a:pt x="5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0" name="Freeform 166"/>
            <p:cNvSpPr>
              <a:spLocks/>
            </p:cNvSpPr>
            <p:nvPr/>
          </p:nvSpPr>
          <p:spPr bwMode="auto">
            <a:xfrm>
              <a:off x="3065372" y="4239838"/>
              <a:ext cx="8820" cy="11640"/>
            </a:xfrm>
            <a:custGeom>
              <a:avLst/>
              <a:gdLst>
                <a:gd name="T0" fmla="*/ 2147483647 w 15"/>
                <a:gd name="T1" fmla="*/ 0 h 19"/>
                <a:gd name="T2" fmla="*/ 2147483647 w 15"/>
                <a:gd name="T3" fmla="*/ 2147483647 h 19"/>
                <a:gd name="T4" fmla="*/ 2147483647 w 15"/>
                <a:gd name="T5" fmla="*/ 2147483647 h 19"/>
                <a:gd name="T6" fmla="*/ 0 w 15"/>
                <a:gd name="T7" fmla="*/ 2147483647 h 19"/>
                <a:gd name="T8" fmla="*/ 2147483647 w 15"/>
                <a:gd name="T9" fmla="*/ 2147483647 h 19"/>
                <a:gd name="T10" fmla="*/ 2147483647 w 15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9"/>
                <a:gd name="T20" fmla="*/ 15 w 15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9">
                  <a:moveTo>
                    <a:pt x="11" y="0"/>
                  </a:moveTo>
                  <a:lnTo>
                    <a:pt x="15" y="11"/>
                  </a:lnTo>
                  <a:lnTo>
                    <a:pt x="7" y="19"/>
                  </a:lnTo>
                  <a:lnTo>
                    <a:pt x="0" y="15"/>
                  </a:lnTo>
                  <a:lnTo>
                    <a:pt x="4" y="7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1" name="Freeform 167"/>
            <p:cNvSpPr>
              <a:spLocks/>
            </p:cNvSpPr>
            <p:nvPr/>
          </p:nvSpPr>
          <p:spPr bwMode="auto">
            <a:xfrm>
              <a:off x="3447952" y="3986080"/>
              <a:ext cx="230430" cy="263070"/>
            </a:xfrm>
            <a:custGeom>
              <a:avLst/>
              <a:gdLst>
                <a:gd name="T0" fmla="*/ 2147483647 w 422"/>
                <a:gd name="T1" fmla="*/ 0 h 424"/>
                <a:gd name="T2" fmla="*/ 2147483647 w 422"/>
                <a:gd name="T3" fmla="*/ 2147483647 h 424"/>
                <a:gd name="T4" fmla="*/ 2147483647 w 422"/>
                <a:gd name="T5" fmla="*/ 2147483647 h 424"/>
                <a:gd name="T6" fmla="*/ 2147483647 w 422"/>
                <a:gd name="T7" fmla="*/ 2147483647 h 424"/>
                <a:gd name="T8" fmla="*/ 2147483647 w 422"/>
                <a:gd name="T9" fmla="*/ 2147483647 h 424"/>
                <a:gd name="T10" fmla="*/ 2147483647 w 422"/>
                <a:gd name="T11" fmla="*/ 2147483647 h 424"/>
                <a:gd name="T12" fmla="*/ 2147483647 w 422"/>
                <a:gd name="T13" fmla="*/ 2147483647 h 424"/>
                <a:gd name="T14" fmla="*/ 2147483647 w 422"/>
                <a:gd name="T15" fmla="*/ 2147483647 h 424"/>
                <a:gd name="T16" fmla="*/ 2147483647 w 422"/>
                <a:gd name="T17" fmla="*/ 2147483647 h 424"/>
                <a:gd name="T18" fmla="*/ 2147483647 w 422"/>
                <a:gd name="T19" fmla="*/ 2147483647 h 424"/>
                <a:gd name="T20" fmla="*/ 2147483647 w 422"/>
                <a:gd name="T21" fmla="*/ 2147483647 h 424"/>
                <a:gd name="T22" fmla="*/ 2147483647 w 422"/>
                <a:gd name="T23" fmla="*/ 2147483647 h 424"/>
                <a:gd name="T24" fmla="*/ 2147483647 w 422"/>
                <a:gd name="T25" fmla="*/ 2147483647 h 424"/>
                <a:gd name="T26" fmla="*/ 2147483647 w 422"/>
                <a:gd name="T27" fmla="*/ 2147483647 h 424"/>
                <a:gd name="T28" fmla="*/ 2147483647 w 422"/>
                <a:gd name="T29" fmla="*/ 2147483647 h 424"/>
                <a:gd name="T30" fmla="*/ 2147483647 w 422"/>
                <a:gd name="T31" fmla="*/ 2147483647 h 424"/>
                <a:gd name="T32" fmla="*/ 2147483647 w 422"/>
                <a:gd name="T33" fmla="*/ 2147483647 h 424"/>
                <a:gd name="T34" fmla="*/ 2147483647 w 422"/>
                <a:gd name="T35" fmla="*/ 2147483647 h 424"/>
                <a:gd name="T36" fmla="*/ 2147483647 w 422"/>
                <a:gd name="T37" fmla="*/ 2147483647 h 424"/>
                <a:gd name="T38" fmla="*/ 2147483647 w 422"/>
                <a:gd name="T39" fmla="*/ 2147483647 h 424"/>
                <a:gd name="T40" fmla="*/ 2147483647 w 422"/>
                <a:gd name="T41" fmla="*/ 2147483647 h 424"/>
                <a:gd name="T42" fmla="*/ 2147483647 w 422"/>
                <a:gd name="T43" fmla="*/ 2147483647 h 424"/>
                <a:gd name="T44" fmla="*/ 2147483647 w 422"/>
                <a:gd name="T45" fmla="*/ 2147483647 h 424"/>
                <a:gd name="T46" fmla="*/ 2147483647 w 422"/>
                <a:gd name="T47" fmla="*/ 2147483647 h 424"/>
                <a:gd name="T48" fmla="*/ 2147483647 w 422"/>
                <a:gd name="T49" fmla="*/ 2147483647 h 424"/>
                <a:gd name="T50" fmla="*/ 2147483647 w 422"/>
                <a:gd name="T51" fmla="*/ 2147483647 h 424"/>
                <a:gd name="T52" fmla="*/ 2147483647 w 422"/>
                <a:gd name="T53" fmla="*/ 2147483647 h 424"/>
                <a:gd name="T54" fmla="*/ 2147483647 w 422"/>
                <a:gd name="T55" fmla="*/ 2147483647 h 424"/>
                <a:gd name="T56" fmla="*/ 2147483647 w 422"/>
                <a:gd name="T57" fmla="*/ 2147483647 h 424"/>
                <a:gd name="T58" fmla="*/ 2147483647 w 422"/>
                <a:gd name="T59" fmla="*/ 2147483647 h 424"/>
                <a:gd name="T60" fmla="*/ 2147483647 w 422"/>
                <a:gd name="T61" fmla="*/ 2147483647 h 424"/>
                <a:gd name="T62" fmla="*/ 2147483647 w 422"/>
                <a:gd name="T63" fmla="*/ 2147483647 h 424"/>
                <a:gd name="T64" fmla="*/ 2147483647 w 422"/>
                <a:gd name="T65" fmla="*/ 2147483647 h 424"/>
                <a:gd name="T66" fmla="*/ 2147483647 w 422"/>
                <a:gd name="T67" fmla="*/ 2147483647 h 424"/>
                <a:gd name="T68" fmla="*/ 2147483647 w 422"/>
                <a:gd name="T69" fmla="*/ 2147483647 h 424"/>
                <a:gd name="T70" fmla="*/ 2147483647 w 422"/>
                <a:gd name="T71" fmla="*/ 2147483647 h 424"/>
                <a:gd name="T72" fmla="*/ 0 w 422"/>
                <a:gd name="T73" fmla="*/ 2147483647 h 424"/>
                <a:gd name="T74" fmla="*/ 2147483647 w 422"/>
                <a:gd name="T75" fmla="*/ 2147483647 h 424"/>
                <a:gd name="T76" fmla="*/ 2147483647 w 422"/>
                <a:gd name="T77" fmla="*/ 2147483647 h 424"/>
                <a:gd name="T78" fmla="*/ 2147483647 w 422"/>
                <a:gd name="T79" fmla="*/ 2147483647 h 424"/>
                <a:gd name="T80" fmla="*/ 2147483647 w 422"/>
                <a:gd name="T81" fmla="*/ 2147483647 h 424"/>
                <a:gd name="T82" fmla="*/ 2147483647 w 422"/>
                <a:gd name="T83" fmla="*/ 2147483647 h 424"/>
                <a:gd name="T84" fmla="*/ 2147483647 w 422"/>
                <a:gd name="T85" fmla="*/ 2147483647 h 424"/>
                <a:gd name="T86" fmla="*/ 2147483647 w 422"/>
                <a:gd name="T87" fmla="*/ 2147483647 h 424"/>
                <a:gd name="T88" fmla="*/ 2147483647 w 422"/>
                <a:gd name="T89" fmla="*/ 2147483647 h 424"/>
                <a:gd name="T90" fmla="*/ 2147483647 w 422"/>
                <a:gd name="T91" fmla="*/ 2147483647 h 424"/>
                <a:gd name="T92" fmla="*/ 2147483647 w 422"/>
                <a:gd name="T93" fmla="*/ 2147483647 h 424"/>
                <a:gd name="T94" fmla="*/ 2147483647 w 422"/>
                <a:gd name="T95" fmla="*/ 2147483647 h 424"/>
                <a:gd name="T96" fmla="*/ 2147483647 w 422"/>
                <a:gd name="T97" fmla="*/ 2147483647 h 424"/>
                <a:gd name="T98" fmla="*/ 2147483647 w 422"/>
                <a:gd name="T99" fmla="*/ 0 h 4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22"/>
                <a:gd name="T151" fmla="*/ 0 h 424"/>
                <a:gd name="T152" fmla="*/ 422 w 422"/>
                <a:gd name="T153" fmla="*/ 424 h 4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22" h="424">
                  <a:moveTo>
                    <a:pt x="156" y="0"/>
                  </a:moveTo>
                  <a:lnTo>
                    <a:pt x="161" y="27"/>
                  </a:lnTo>
                  <a:lnTo>
                    <a:pt x="180" y="80"/>
                  </a:lnTo>
                  <a:lnTo>
                    <a:pt x="190" y="69"/>
                  </a:lnTo>
                  <a:lnTo>
                    <a:pt x="192" y="44"/>
                  </a:lnTo>
                  <a:lnTo>
                    <a:pt x="198" y="70"/>
                  </a:lnTo>
                  <a:lnTo>
                    <a:pt x="207" y="76"/>
                  </a:lnTo>
                  <a:lnTo>
                    <a:pt x="194" y="78"/>
                  </a:lnTo>
                  <a:lnTo>
                    <a:pt x="198" y="97"/>
                  </a:lnTo>
                  <a:lnTo>
                    <a:pt x="205" y="93"/>
                  </a:lnTo>
                  <a:lnTo>
                    <a:pt x="243" y="118"/>
                  </a:lnTo>
                  <a:lnTo>
                    <a:pt x="287" y="165"/>
                  </a:lnTo>
                  <a:lnTo>
                    <a:pt x="251" y="183"/>
                  </a:lnTo>
                  <a:lnTo>
                    <a:pt x="245" y="211"/>
                  </a:lnTo>
                  <a:lnTo>
                    <a:pt x="272" y="205"/>
                  </a:lnTo>
                  <a:lnTo>
                    <a:pt x="281" y="209"/>
                  </a:lnTo>
                  <a:lnTo>
                    <a:pt x="275" y="221"/>
                  </a:lnTo>
                  <a:lnTo>
                    <a:pt x="289" y="247"/>
                  </a:lnTo>
                  <a:lnTo>
                    <a:pt x="310" y="268"/>
                  </a:lnTo>
                  <a:lnTo>
                    <a:pt x="384" y="298"/>
                  </a:lnTo>
                  <a:lnTo>
                    <a:pt x="422" y="300"/>
                  </a:lnTo>
                  <a:lnTo>
                    <a:pt x="325" y="386"/>
                  </a:lnTo>
                  <a:lnTo>
                    <a:pt x="274" y="395"/>
                  </a:lnTo>
                  <a:lnTo>
                    <a:pt x="253" y="409"/>
                  </a:lnTo>
                  <a:lnTo>
                    <a:pt x="226" y="409"/>
                  </a:lnTo>
                  <a:lnTo>
                    <a:pt x="217" y="399"/>
                  </a:lnTo>
                  <a:lnTo>
                    <a:pt x="194" y="409"/>
                  </a:lnTo>
                  <a:lnTo>
                    <a:pt x="188" y="424"/>
                  </a:lnTo>
                  <a:lnTo>
                    <a:pt x="142" y="420"/>
                  </a:lnTo>
                  <a:lnTo>
                    <a:pt x="104" y="397"/>
                  </a:lnTo>
                  <a:lnTo>
                    <a:pt x="85" y="397"/>
                  </a:lnTo>
                  <a:lnTo>
                    <a:pt x="68" y="388"/>
                  </a:lnTo>
                  <a:lnTo>
                    <a:pt x="70" y="371"/>
                  </a:lnTo>
                  <a:lnTo>
                    <a:pt x="47" y="361"/>
                  </a:lnTo>
                  <a:lnTo>
                    <a:pt x="49" y="344"/>
                  </a:lnTo>
                  <a:lnTo>
                    <a:pt x="30" y="323"/>
                  </a:lnTo>
                  <a:lnTo>
                    <a:pt x="0" y="312"/>
                  </a:lnTo>
                  <a:lnTo>
                    <a:pt x="6" y="289"/>
                  </a:lnTo>
                  <a:lnTo>
                    <a:pt x="30" y="287"/>
                  </a:lnTo>
                  <a:lnTo>
                    <a:pt x="30" y="215"/>
                  </a:lnTo>
                  <a:lnTo>
                    <a:pt x="49" y="215"/>
                  </a:lnTo>
                  <a:lnTo>
                    <a:pt x="49" y="196"/>
                  </a:lnTo>
                  <a:lnTo>
                    <a:pt x="66" y="156"/>
                  </a:lnTo>
                  <a:lnTo>
                    <a:pt x="85" y="158"/>
                  </a:lnTo>
                  <a:lnTo>
                    <a:pt x="97" y="122"/>
                  </a:lnTo>
                  <a:lnTo>
                    <a:pt x="85" y="88"/>
                  </a:lnTo>
                  <a:lnTo>
                    <a:pt x="106" y="65"/>
                  </a:lnTo>
                  <a:lnTo>
                    <a:pt x="106" y="32"/>
                  </a:lnTo>
                  <a:lnTo>
                    <a:pt x="125" y="12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2" name="Freeform 168"/>
            <p:cNvSpPr>
              <a:spLocks/>
            </p:cNvSpPr>
            <p:nvPr/>
          </p:nvSpPr>
          <p:spPr bwMode="auto">
            <a:xfrm>
              <a:off x="2950708" y="4087350"/>
              <a:ext cx="48512" cy="111747"/>
            </a:xfrm>
            <a:custGeom>
              <a:avLst/>
              <a:gdLst>
                <a:gd name="T0" fmla="*/ 2147483647 w 89"/>
                <a:gd name="T1" fmla="*/ 2147483647 h 180"/>
                <a:gd name="T2" fmla="*/ 2147483647 w 89"/>
                <a:gd name="T3" fmla="*/ 2147483647 h 180"/>
                <a:gd name="T4" fmla="*/ 2147483647 w 89"/>
                <a:gd name="T5" fmla="*/ 2147483647 h 180"/>
                <a:gd name="T6" fmla="*/ 2147483647 w 89"/>
                <a:gd name="T7" fmla="*/ 2147483647 h 180"/>
                <a:gd name="T8" fmla="*/ 2147483647 w 89"/>
                <a:gd name="T9" fmla="*/ 2147483647 h 180"/>
                <a:gd name="T10" fmla="*/ 2147483647 w 89"/>
                <a:gd name="T11" fmla="*/ 2147483647 h 180"/>
                <a:gd name="T12" fmla="*/ 0 w 89"/>
                <a:gd name="T13" fmla="*/ 2147483647 h 180"/>
                <a:gd name="T14" fmla="*/ 0 w 89"/>
                <a:gd name="T15" fmla="*/ 2147483647 h 180"/>
                <a:gd name="T16" fmla="*/ 2147483647 w 89"/>
                <a:gd name="T17" fmla="*/ 2147483647 h 180"/>
                <a:gd name="T18" fmla="*/ 2147483647 w 89"/>
                <a:gd name="T19" fmla="*/ 2147483647 h 180"/>
                <a:gd name="T20" fmla="*/ 2147483647 w 89"/>
                <a:gd name="T21" fmla="*/ 2147483647 h 180"/>
                <a:gd name="T22" fmla="*/ 2147483647 w 89"/>
                <a:gd name="T23" fmla="*/ 0 h 180"/>
                <a:gd name="T24" fmla="*/ 2147483647 w 89"/>
                <a:gd name="T25" fmla="*/ 2147483647 h 180"/>
                <a:gd name="T26" fmla="*/ 2147483647 w 89"/>
                <a:gd name="T27" fmla="*/ 2147483647 h 180"/>
                <a:gd name="T28" fmla="*/ 2147483647 w 89"/>
                <a:gd name="T29" fmla="*/ 2147483647 h 180"/>
                <a:gd name="T30" fmla="*/ 2147483647 w 89"/>
                <a:gd name="T31" fmla="*/ 2147483647 h 180"/>
                <a:gd name="T32" fmla="*/ 2147483647 w 89"/>
                <a:gd name="T33" fmla="*/ 2147483647 h 180"/>
                <a:gd name="T34" fmla="*/ 2147483647 w 89"/>
                <a:gd name="T35" fmla="*/ 2147483647 h 180"/>
                <a:gd name="T36" fmla="*/ 2147483647 w 89"/>
                <a:gd name="T37" fmla="*/ 2147483647 h 180"/>
                <a:gd name="T38" fmla="*/ 2147483647 w 89"/>
                <a:gd name="T39" fmla="*/ 2147483647 h 18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9"/>
                <a:gd name="T61" fmla="*/ 0 h 180"/>
                <a:gd name="T62" fmla="*/ 89 w 89"/>
                <a:gd name="T63" fmla="*/ 180 h 18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9" h="180">
                  <a:moveTo>
                    <a:pt x="72" y="180"/>
                  </a:moveTo>
                  <a:lnTo>
                    <a:pt x="30" y="180"/>
                  </a:lnTo>
                  <a:lnTo>
                    <a:pt x="25" y="161"/>
                  </a:lnTo>
                  <a:lnTo>
                    <a:pt x="28" y="108"/>
                  </a:lnTo>
                  <a:lnTo>
                    <a:pt x="19" y="102"/>
                  </a:lnTo>
                  <a:lnTo>
                    <a:pt x="17" y="77"/>
                  </a:lnTo>
                  <a:lnTo>
                    <a:pt x="0" y="58"/>
                  </a:lnTo>
                  <a:lnTo>
                    <a:pt x="0" y="36"/>
                  </a:lnTo>
                  <a:lnTo>
                    <a:pt x="17" y="34"/>
                  </a:lnTo>
                  <a:lnTo>
                    <a:pt x="30" y="17"/>
                  </a:lnTo>
                  <a:lnTo>
                    <a:pt x="44" y="19"/>
                  </a:lnTo>
                  <a:lnTo>
                    <a:pt x="61" y="0"/>
                  </a:lnTo>
                  <a:lnTo>
                    <a:pt x="85" y="17"/>
                  </a:lnTo>
                  <a:lnTo>
                    <a:pt x="80" y="32"/>
                  </a:lnTo>
                  <a:lnTo>
                    <a:pt x="89" y="49"/>
                  </a:lnTo>
                  <a:lnTo>
                    <a:pt x="85" y="81"/>
                  </a:lnTo>
                  <a:lnTo>
                    <a:pt x="74" y="108"/>
                  </a:lnTo>
                  <a:lnTo>
                    <a:pt x="61" y="110"/>
                  </a:lnTo>
                  <a:lnTo>
                    <a:pt x="59" y="146"/>
                  </a:lnTo>
                  <a:lnTo>
                    <a:pt x="72" y="18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3" name="Freeform 169"/>
            <p:cNvSpPr>
              <a:spLocks/>
            </p:cNvSpPr>
            <p:nvPr/>
          </p:nvSpPr>
          <p:spPr bwMode="auto">
            <a:xfrm>
              <a:off x="3242881" y="4635608"/>
              <a:ext cx="149945" cy="180424"/>
            </a:xfrm>
            <a:custGeom>
              <a:avLst/>
              <a:gdLst>
                <a:gd name="T0" fmla="*/ 2147483647 w 273"/>
                <a:gd name="T1" fmla="*/ 2147483647 h 291"/>
                <a:gd name="T2" fmla="*/ 2147483647 w 273"/>
                <a:gd name="T3" fmla="*/ 2147483647 h 291"/>
                <a:gd name="T4" fmla="*/ 2147483647 w 273"/>
                <a:gd name="T5" fmla="*/ 2147483647 h 291"/>
                <a:gd name="T6" fmla="*/ 2147483647 w 273"/>
                <a:gd name="T7" fmla="*/ 2147483647 h 291"/>
                <a:gd name="T8" fmla="*/ 2147483647 w 273"/>
                <a:gd name="T9" fmla="*/ 2147483647 h 291"/>
                <a:gd name="T10" fmla="*/ 2147483647 w 273"/>
                <a:gd name="T11" fmla="*/ 2147483647 h 291"/>
                <a:gd name="T12" fmla="*/ 2147483647 w 273"/>
                <a:gd name="T13" fmla="*/ 2147483647 h 291"/>
                <a:gd name="T14" fmla="*/ 2147483647 w 273"/>
                <a:gd name="T15" fmla="*/ 2147483647 h 291"/>
                <a:gd name="T16" fmla="*/ 2147483647 w 273"/>
                <a:gd name="T17" fmla="*/ 2147483647 h 291"/>
                <a:gd name="T18" fmla="*/ 2147483647 w 273"/>
                <a:gd name="T19" fmla="*/ 2147483647 h 291"/>
                <a:gd name="T20" fmla="*/ 2147483647 w 273"/>
                <a:gd name="T21" fmla="*/ 2147483647 h 291"/>
                <a:gd name="T22" fmla="*/ 2147483647 w 273"/>
                <a:gd name="T23" fmla="*/ 2147483647 h 291"/>
                <a:gd name="T24" fmla="*/ 2147483647 w 273"/>
                <a:gd name="T25" fmla="*/ 2147483647 h 291"/>
                <a:gd name="T26" fmla="*/ 2147483647 w 273"/>
                <a:gd name="T27" fmla="*/ 2147483647 h 291"/>
                <a:gd name="T28" fmla="*/ 2147483647 w 273"/>
                <a:gd name="T29" fmla="*/ 2147483647 h 291"/>
                <a:gd name="T30" fmla="*/ 0 w 273"/>
                <a:gd name="T31" fmla="*/ 2147483647 h 291"/>
                <a:gd name="T32" fmla="*/ 2147483647 w 273"/>
                <a:gd name="T33" fmla="*/ 2147483647 h 291"/>
                <a:gd name="T34" fmla="*/ 2147483647 w 273"/>
                <a:gd name="T35" fmla="*/ 2147483647 h 291"/>
                <a:gd name="T36" fmla="*/ 2147483647 w 273"/>
                <a:gd name="T37" fmla="*/ 2147483647 h 291"/>
                <a:gd name="T38" fmla="*/ 2147483647 w 273"/>
                <a:gd name="T39" fmla="*/ 2147483647 h 291"/>
                <a:gd name="T40" fmla="*/ 2147483647 w 273"/>
                <a:gd name="T41" fmla="*/ 2147483647 h 291"/>
                <a:gd name="T42" fmla="*/ 2147483647 w 273"/>
                <a:gd name="T43" fmla="*/ 2147483647 h 291"/>
                <a:gd name="T44" fmla="*/ 2147483647 w 273"/>
                <a:gd name="T45" fmla="*/ 2147483647 h 291"/>
                <a:gd name="T46" fmla="*/ 2147483647 w 273"/>
                <a:gd name="T47" fmla="*/ 0 h 291"/>
                <a:gd name="T48" fmla="*/ 2147483647 w 273"/>
                <a:gd name="T49" fmla="*/ 2147483647 h 291"/>
                <a:gd name="T50" fmla="*/ 2147483647 w 273"/>
                <a:gd name="T51" fmla="*/ 2147483647 h 291"/>
                <a:gd name="T52" fmla="*/ 2147483647 w 273"/>
                <a:gd name="T53" fmla="*/ 2147483647 h 291"/>
                <a:gd name="T54" fmla="*/ 2147483647 w 273"/>
                <a:gd name="T55" fmla="*/ 2147483647 h 291"/>
                <a:gd name="T56" fmla="*/ 2147483647 w 273"/>
                <a:gd name="T57" fmla="*/ 2147483647 h 29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73"/>
                <a:gd name="T88" fmla="*/ 0 h 291"/>
                <a:gd name="T89" fmla="*/ 273 w 273"/>
                <a:gd name="T90" fmla="*/ 291 h 29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73" h="291">
                  <a:moveTo>
                    <a:pt x="273" y="135"/>
                  </a:moveTo>
                  <a:lnTo>
                    <a:pt x="262" y="137"/>
                  </a:lnTo>
                  <a:lnTo>
                    <a:pt x="237" y="148"/>
                  </a:lnTo>
                  <a:lnTo>
                    <a:pt x="194" y="192"/>
                  </a:lnTo>
                  <a:lnTo>
                    <a:pt x="192" y="205"/>
                  </a:lnTo>
                  <a:lnTo>
                    <a:pt x="169" y="222"/>
                  </a:lnTo>
                  <a:lnTo>
                    <a:pt x="156" y="249"/>
                  </a:lnTo>
                  <a:lnTo>
                    <a:pt x="116" y="253"/>
                  </a:lnTo>
                  <a:lnTo>
                    <a:pt x="108" y="245"/>
                  </a:lnTo>
                  <a:lnTo>
                    <a:pt x="99" y="237"/>
                  </a:lnTo>
                  <a:lnTo>
                    <a:pt x="89" y="237"/>
                  </a:lnTo>
                  <a:lnTo>
                    <a:pt x="64" y="277"/>
                  </a:lnTo>
                  <a:lnTo>
                    <a:pt x="21" y="291"/>
                  </a:lnTo>
                  <a:lnTo>
                    <a:pt x="13" y="272"/>
                  </a:lnTo>
                  <a:lnTo>
                    <a:pt x="21" y="253"/>
                  </a:lnTo>
                  <a:lnTo>
                    <a:pt x="0" y="222"/>
                  </a:lnTo>
                  <a:lnTo>
                    <a:pt x="3" y="135"/>
                  </a:lnTo>
                  <a:lnTo>
                    <a:pt x="32" y="133"/>
                  </a:lnTo>
                  <a:lnTo>
                    <a:pt x="38" y="21"/>
                  </a:lnTo>
                  <a:lnTo>
                    <a:pt x="55" y="17"/>
                  </a:lnTo>
                  <a:lnTo>
                    <a:pt x="89" y="4"/>
                  </a:lnTo>
                  <a:lnTo>
                    <a:pt x="104" y="21"/>
                  </a:lnTo>
                  <a:lnTo>
                    <a:pt x="114" y="9"/>
                  </a:lnTo>
                  <a:lnTo>
                    <a:pt x="144" y="0"/>
                  </a:lnTo>
                  <a:lnTo>
                    <a:pt x="167" y="46"/>
                  </a:lnTo>
                  <a:lnTo>
                    <a:pt x="222" y="91"/>
                  </a:lnTo>
                  <a:lnTo>
                    <a:pt x="243" y="123"/>
                  </a:lnTo>
                  <a:lnTo>
                    <a:pt x="270" y="122"/>
                  </a:lnTo>
                  <a:lnTo>
                    <a:pt x="273" y="13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4" name="Freeform 170"/>
            <p:cNvSpPr>
              <a:spLocks/>
            </p:cNvSpPr>
            <p:nvPr/>
          </p:nvSpPr>
          <p:spPr bwMode="auto">
            <a:xfrm>
              <a:off x="2850378" y="4034970"/>
              <a:ext cx="120177" cy="110582"/>
            </a:xfrm>
            <a:custGeom>
              <a:avLst/>
              <a:gdLst>
                <a:gd name="T0" fmla="*/ 2147483647 w 219"/>
                <a:gd name="T1" fmla="*/ 2147483647 h 177"/>
                <a:gd name="T2" fmla="*/ 2147483647 w 219"/>
                <a:gd name="T3" fmla="*/ 2147483647 h 177"/>
                <a:gd name="T4" fmla="*/ 2147483647 w 219"/>
                <a:gd name="T5" fmla="*/ 2147483647 h 177"/>
                <a:gd name="T6" fmla="*/ 2147483647 w 219"/>
                <a:gd name="T7" fmla="*/ 2147483647 h 177"/>
                <a:gd name="T8" fmla="*/ 2147483647 w 219"/>
                <a:gd name="T9" fmla="*/ 2147483647 h 177"/>
                <a:gd name="T10" fmla="*/ 2147483647 w 219"/>
                <a:gd name="T11" fmla="*/ 2147483647 h 177"/>
                <a:gd name="T12" fmla="*/ 2147483647 w 219"/>
                <a:gd name="T13" fmla="*/ 2147483647 h 177"/>
                <a:gd name="T14" fmla="*/ 2147483647 w 219"/>
                <a:gd name="T15" fmla="*/ 2147483647 h 177"/>
                <a:gd name="T16" fmla="*/ 2147483647 w 219"/>
                <a:gd name="T17" fmla="*/ 2147483647 h 177"/>
                <a:gd name="T18" fmla="*/ 2147483647 w 219"/>
                <a:gd name="T19" fmla="*/ 2147483647 h 177"/>
                <a:gd name="T20" fmla="*/ 2147483647 w 219"/>
                <a:gd name="T21" fmla="*/ 2147483647 h 177"/>
                <a:gd name="T22" fmla="*/ 2147483647 w 219"/>
                <a:gd name="T23" fmla="*/ 2147483647 h 177"/>
                <a:gd name="T24" fmla="*/ 0 w 219"/>
                <a:gd name="T25" fmla="*/ 2147483647 h 177"/>
                <a:gd name="T26" fmla="*/ 2147483647 w 219"/>
                <a:gd name="T27" fmla="*/ 2147483647 h 177"/>
                <a:gd name="T28" fmla="*/ 2147483647 w 219"/>
                <a:gd name="T29" fmla="*/ 2147483647 h 177"/>
                <a:gd name="T30" fmla="*/ 2147483647 w 219"/>
                <a:gd name="T31" fmla="*/ 2147483647 h 177"/>
                <a:gd name="T32" fmla="*/ 2147483647 w 219"/>
                <a:gd name="T33" fmla="*/ 2147483647 h 177"/>
                <a:gd name="T34" fmla="*/ 2147483647 w 219"/>
                <a:gd name="T35" fmla="*/ 0 h 177"/>
                <a:gd name="T36" fmla="*/ 2147483647 w 219"/>
                <a:gd name="T37" fmla="*/ 2147483647 h 177"/>
                <a:gd name="T38" fmla="*/ 2147483647 w 219"/>
                <a:gd name="T39" fmla="*/ 2147483647 h 177"/>
                <a:gd name="T40" fmla="*/ 2147483647 w 219"/>
                <a:gd name="T41" fmla="*/ 2147483647 h 177"/>
                <a:gd name="T42" fmla="*/ 2147483647 w 219"/>
                <a:gd name="T43" fmla="*/ 2147483647 h 177"/>
                <a:gd name="T44" fmla="*/ 2147483647 w 219"/>
                <a:gd name="T45" fmla="*/ 2147483647 h 177"/>
                <a:gd name="T46" fmla="*/ 2147483647 w 219"/>
                <a:gd name="T47" fmla="*/ 2147483647 h 177"/>
                <a:gd name="T48" fmla="*/ 2147483647 w 219"/>
                <a:gd name="T49" fmla="*/ 2147483647 h 17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19"/>
                <a:gd name="T76" fmla="*/ 0 h 177"/>
                <a:gd name="T77" fmla="*/ 219 w 219"/>
                <a:gd name="T78" fmla="*/ 177 h 17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19" h="177">
                  <a:moveTo>
                    <a:pt x="213" y="103"/>
                  </a:moveTo>
                  <a:lnTo>
                    <a:pt x="200" y="120"/>
                  </a:lnTo>
                  <a:lnTo>
                    <a:pt x="185" y="122"/>
                  </a:lnTo>
                  <a:lnTo>
                    <a:pt x="164" y="122"/>
                  </a:lnTo>
                  <a:lnTo>
                    <a:pt x="156" y="116"/>
                  </a:lnTo>
                  <a:lnTo>
                    <a:pt x="139" y="125"/>
                  </a:lnTo>
                  <a:lnTo>
                    <a:pt x="76" y="131"/>
                  </a:lnTo>
                  <a:lnTo>
                    <a:pt x="76" y="156"/>
                  </a:lnTo>
                  <a:lnTo>
                    <a:pt x="80" y="177"/>
                  </a:lnTo>
                  <a:lnTo>
                    <a:pt x="67" y="177"/>
                  </a:lnTo>
                  <a:lnTo>
                    <a:pt x="56" y="163"/>
                  </a:lnTo>
                  <a:lnTo>
                    <a:pt x="27" y="173"/>
                  </a:lnTo>
                  <a:lnTo>
                    <a:pt x="0" y="146"/>
                  </a:lnTo>
                  <a:lnTo>
                    <a:pt x="16" y="97"/>
                  </a:lnTo>
                  <a:lnTo>
                    <a:pt x="31" y="87"/>
                  </a:lnTo>
                  <a:lnTo>
                    <a:pt x="40" y="51"/>
                  </a:lnTo>
                  <a:lnTo>
                    <a:pt x="63" y="51"/>
                  </a:lnTo>
                  <a:lnTo>
                    <a:pt x="130" y="0"/>
                  </a:lnTo>
                  <a:lnTo>
                    <a:pt x="166" y="8"/>
                  </a:lnTo>
                  <a:lnTo>
                    <a:pt x="166" y="34"/>
                  </a:lnTo>
                  <a:lnTo>
                    <a:pt x="185" y="59"/>
                  </a:lnTo>
                  <a:lnTo>
                    <a:pt x="181" y="74"/>
                  </a:lnTo>
                  <a:lnTo>
                    <a:pt x="200" y="84"/>
                  </a:lnTo>
                  <a:lnTo>
                    <a:pt x="219" y="74"/>
                  </a:lnTo>
                  <a:lnTo>
                    <a:pt x="213" y="10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5" name="Freeform 171"/>
            <p:cNvSpPr>
              <a:spLocks/>
            </p:cNvSpPr>
            <p:nvPr/>
          </p:nvSpPr>
          <p:spPr bwMode="auto">
            <a:xfrm>
              <a:off x="3388415" y="4352749"/>
              <a:ext cx="27564" cy="43069"/>
            </a:xfrm>
            <a:custGeom>
              <a:avLst/>
              <a:gdLst>
                <a:gd name="T0" fmla="*/ 2147483647 w 51"/>
                <a:gd name="T1" fmla="*/ 2147483647 h 70"/>
                <a:gd name="T2" fmla="*/ 2147483647 w 51"/>
                <a:gd name="T3" fmla="*/ 2147483647 h 70"/>
                <a:gd name="T4" fmla="*/ 0 w 51"/>
                <a:gd name="T5" fmla="*/ 2147483647 h 70"/>
                <a:gd name="T6" fmla="*/ 2147483647 w 51"/>
                <a:gd name="T7" fmla="*/ 2147483647 h 70"/>
                <a:gd name="T8" fmla="*/ 2147483647 w 51"/>
                <a:gd name="T9" fmla="*/ 2147483647 h 70"/>
                <a:gd name="T10" fmla="*/ 2147483647 w 51"/>
                <a:gd name="T11" fmla="*/ 0 h 70"/>
                <a:gd name="T12" fmla="*/ 2147483647 w 51"/>
                <a:gd name="T13" fmla="*/ 2147483647 h 70"/>
                <a:gd name="T14" fmla="*/ 2147483647 w 51"/>
                <a:gd name="T15" fmla="*/ 2147483647 h 70"/>
                <a:gd name="T16" fmla="*/ 2147483647 w 51"/>
                <a:gd name="T17" fmla="*/ 2147483647 h 70"/>
                <a:gd name="T18" fmla="*/ 2147483647 w 51"/>
                <a:gd name="T19" fmla="*/ 2147483647 h 70"/>
                <a:gd name="T20" fmla="*/ 2147483647 w 51"/>
                <a:gd name="T21" fmla="*/ 2147483647 h 7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70"/>
                <a:gd name="T35" fmla="*/ 51 w 51"/>
                <a:gd name="T36" fmla="*/ 70 h 7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70">
                  <a:moveTo>
                    <a:pt x="7" y="70"/>
                  </a:moveTo>
                  <a:lnTo>
                    <a:pt x="4" y="36"/>
                  </a:lnTo>
                  <a:lnTo>
                    <a:pt x="0" y="11"/>
                  </a:lnTo>
                  <a:lnTo>
                    <a:pt x="15" y="17"/>
                  </a:lnTo>
                  <a:lnTo>
                    <a:pt x="21" y="4"/>
                  </a:lnTo>
                  <a:lnTo>
                    <a:pt x="40" y="0"/>
                  </a:lnTo>
                  <a:lnTo>
                    <a:pt x="43" y="17"/>
                  </a:lnTo>
                  <a:lnTo>
                    <a:pt x="51" y="19"/>
                  </a:lnTo>
                  <a:lnTo>
                    <a:pt x="51" y="38"/>
                  </a:lnTo>
                  <a:lnTo>
                    <a:pt x="19" y="70"/>
                  </a:lnTo>
                  <a:lnTo>
                    <a:pt x="7" y="7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6" name="Freeform 172"/>
            <p:cNvSpPr>
              <a:spLocks/>
            </p:cNvSpPr>
            <p:nvPr/>
          </p:nvSpPr>
          <p:spPr bwMode="auto">
            <a:xfrm>
              <a:off x="3582462" y="4088515"/>
              <a:ext cx="27564" cy="27937"/>
            </a:xfrm>
            <a:custGeom>
              <a:avLst/>
              <a:gdLst>
                <a:gd name="T0" fmla="*/ 2147483647 w 51"/>
                <a:gd name="T1" fmla="*/ 2147483647 h 46"/>
                <a:gd name="T2" fmla="*/ 2147483647 w 51"/>
                <a:gd name="T3" fmla="*/ 2147483647 h 46"/>
                <a:gd name="T4" fmla="*/ 0 w 51"/>
                <a:gd name="T5" fmla="*/ 2147483647 h 46"/>
                <a:gd name="T6" fmla="*/ 2147483647 w 51"/>
                <a:gd name="T7" fmla="*/ 2147483647 h 46"/>
                <a:gd name="T8" fmla="*/ 2147483647 w 51"/>
                <a:gd name="T9" fmla="*/ 0 h 46"/>
                <a:gd name="T10" fmla="*/ 2147483647 w 51"/>
                <a:gd name="T11" fmla="*/ 2147483647 h 46"/>
                <a:gd name="T12" fmla="*/ 2147483647 w 51"/>
                <a:gd name="T13" fmla="*/ 2147483647 h 46"/>
                <a:gd name="T14" fmla="*/ 2147483647 w 51"/>
                <a:gd name="T15" fmla="*/ 2147483647 h 46"/>
                <a:gd name="T16" fmla="*/ 2147483647 w 51"/>
                <a:gd name="T17" fmla="*/ 2147483647 h 46"/>
                <a:gd name="T18" fmla="*/ 2147483647 w 51"/>
                <a:gd name="T19" fmla="*/ 2147483647 h 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46"/>
                <a:gd name="T32" fmla="*/ 51 w 51"/>
                <a:gd name="T33" fmla="*/ 46 h 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46">
                  <a:moveTo>
                    <a:pt x="36" y="44"/>
                  </a:moveTo>
                  <a:lnTo>
                    <a:pt x="27" y="42"/>
                  </a:lnTo>
                  <a:lnTo>
                    <a:pt x="0" y="46"/>
                  </a:lnTo>
                  <a:lnTo>
                    <a:pt x="6" y="18"/>
                  </a:lnTo>
                  <a:lnTo>
                    <a:pt x="42" y="0"/>
                  </a:lnTo>
                  <a:lnTo>
                    <a:pt x="51" y="10"/>
                  </a:lnTo>
                  <a:lnTo>
                    <a:pt x="25" y="27"/>
                  </a:lnTo>
                  <a:lnTo>
                    <a:pt x="40" y="25"/>
                  </a:lnTo>
                  <a:lnTo>
                    <a:pt x="49" y="35"/>
                  </a:lnTo>
                  <a:lnTo>
                    <a:pt x="36" y="4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7" name="Freeform 173"/>
            <p:cNvSpPr>
              <a:spLocks/>
            </p:cNvSpPr>
            <p:nvPr/>
          </p:nvSpPr>
          <p:spPr bwMode="auto">
            <a:xfrm>
              <a:off x="2805174" y="4124599"/>
              <a:ext cx="93716" cy="110582"/>
            </a:xfrm>
            <a:custGeom>
              <a:avLst/>
              <a:gdLst>
                <a:gd name="T0" fmla="*/ 2147483647 w 171"/>
                <a:gd name="T1" fmla="*/ 2147483647 h 179"/>
                <a:gd name="T2" fmla="*/ 2147483647 w 171"/>
                <a:gd name="T3" fmla="*/ 2147483647 h 179"/>
                <a:gd name="T4" fmla="*/ 2147483647 w 171"/>
                <a:gd name="T5" fmla="*/ 2147483647 h 179"/>
                <a:gd name="T6" fmla="*/ 2147483647 w 171"/>
                <a:gd name="T7" fmla="*/ 2147483647 h 179"/>
                <a:gd name="T8" fmla="*/ 2147483647 w 171"/>
                <a:gd name="T9" fmla="*/ 2147483647 h 179"/>
                <a:gd name="T10" fmla="*/ 2147483647 w 171"/>
                <a:gd name="T11" fmla="*/ 2147483647 h 179"/>
                <a:gd name="T12" fmla="*/ 2147483647 w 171"/>
                <a:gd name="T13" fmla="*/ 2147483647 h 179"/>
                <a:gd name="T14" fmla="*/ 2147483647 w 171"/>
                <a:gd name="T15" fmla="*/ 2147483647 h 179"/>
                <a:gd name="T16" fmla="*/ 2147483647 w 171"/>
                <a:gd name="T17" fmla="*/ 2147483647 h 179"/>
                <a:gd name="T18" fmla="*/ 2147483647 w 171"/>
                <a:gd name="T19" fmla="*/ 2147483647 h 179"/>
                <a:gd name="T20" fmla="*/ 2147483647 w 171"/>
                <a:gd name="T21" fmla="*/ 2147483647 h 179"/>
                <a:gd name="T22" fmla="*/ 2147483647 w 171"/>
                <a:gd name="T23" fmla="*/ 2147483647 h 179"/>
                <a:gd name="T24" fmla="*/ 2147483647 w 171"/>
                <a:gd name="T25" fmla="*/ 2147483647 h 179"/>
                <a:gd name="T26" fmla="*/ 2147483647 w 171"/>
                <a:gd name="T27" fmla="*/ 2147483647 h 179"/>
                <a:gd name="T28" fmla="*/ 2147483647 w 171"/>
                <a:gd name="T29" fmla="*/ 2147483647 h 179"/>
                <a:gd name="T30" fmla="*/ 0 w 171"/>
                <a:gd name="T31" fmla="*/ 2147483647 h 179"/>
                <a:gd name="T32" fmla="*/ 0 w 171"/>
                <a:gd name="T33" fmla="*/ 2147483647 h 179"/>
                <a:gd name="T34" fmla="*/ 2147483647 w 171"/>
                <a:gd name="T35" fmla="*/ 2147483647 h 179"/>
                <a:gd name="T36" fmla="*/ 2147483647 w 171"/>
                <a:gd name="T37" fmla="*/ 2147483647 h 179"/>
                <a:gd name="T38" fmla="*/ 2147483647 w 171"/>
                <a:gd name="T39" fmla="*/ 2147483647 h 179"/>
                <a:gd name="T40" fmla="*/ 2147483647 w 171"/>
                <a:gd name="T41" fmla="*/ 2147483647 h 179"/>
                <a:gd name="T42" fmla="*/ 2147483647 w 171"/>
                <a:gd name="T43" fmla="*/ 2147483647 h 179"/>
                <a:gd name="T44" fmla="*/ 2147483647 w 171"/>
                <a:gd name="T45" fmla="*/ 0 h 179"/>
                <a:gd name="T46" fmla="*/ 2147483647 w 171"/>
                <a:gd name="T47" fmla="*/ 2147483647 h 179"/>
                <a:gd name="T48" fmla="*/ 2147483647 w 171"/>
                <a:gd name="T49" fmla="*/ 2147483647 h 17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1"/>
                <a:gd name="T76" fmla="*/ 0 h 179"/>
                <a:gd name="T77" fmla="*/ 171 w 171"/>
                <a:gd name="T78" fmla="*/ 179 h 17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1" h="179">
                  <a:moveTo>
                    <a:pt x="81" y="2"/>
                  </a:moveTo>
                  <a:lnTo>
                    <a:pt x="110" y="29"/>
                  </a:lnTo>
                  <a:lnTo>
                    <a:pt x="137" y="19"/>
                  </a:lnTo>
                  <a:lnTo>
                    <a:pt x="150" y="33"/>
                  </a:lnTo>
                  <a:lnTo>
                    <a:pt x="163" y="33"/>
                  </a:lnTo>
                  <a:lnTo>
                    <a:pt x="171" y="65"/>
                  </a:lnTo>
                  <a:lnTo>
                    <a:pt x="157" y="82"/>
                  </a:lnTo>
                  <a:lnTo>
                    <a:pt x="148" y="111"/>
                  </a:lnTo>
                  <a:lnTo>
                    <a:pt x="159" y="139"/>
                  </a:lnTo>
                  <a:lnTo>
                    <a:pt x="161" y="156"/>
                  </a:lnTo>
                  <a:lnTo>
                    <a:pt x="114" y="145"/>
                  </a:lnTo>
                  <a:lnTo>
                    <a:pt x="72" y="154"/>
                  </a:lnTo>
                  <a:lnTo>
                    <a:pt x="38" y="179"/>
                  </a:lnTo>
                  <a:lnTo>
                    <a:pt x="26" y="179"/>
                  </a:lnTo>
                  <a:lnTo>
                    <a:pt x="30" y="131"/>
                  </a:lnTo>
                  <a:lnTo>
                    <a:pt x="0" y="111"/>
                  </a:lnTo>
                  <a:lnTo>
                    <a:pt x="0" y="78"/>
                  </a:lnTo>
                  <a:lnTo>
                    <a:pt x="2" y="59"/>
                  </a:lnTo>
                  <a:lnTo>
                    <a:pt x="17" y="52"/>
                  </a:lnTo>
                  <a:lnTo>
                    <a:pt x="7" y="25"/>
                  </a:lnTo>
                  <a:lnTo>
                    <a:pt x="17" y="4"/>
                  </a:lnTo>
                  <a:lnTo>
                    <a:pt x="30" y="6"/>
                  </a:lnTo>
                  <a:lnTo>
                    <a:pt x="62" y="0"/>
                  </a:lnTo>
                  <a:lnTo>
                    <a:pt x="72" y="8"/>
                  </a:lnTo>
                  <a:lnTo>
                    <a:pt x="81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8" name="Freeform 174"/>
            <p:cNvSpPr>
              <a:spLocks/>
            </p:cNvSpPr>
            <p:nvPr/>
          </p:nvSpPr>
          <p:spPr bwMode="auto">
            <a:xfrm>
              <a:off x="3070885" y="4271267"/>
              <a:ext cx="87101" cy="108254"/>
            </a:xfrm>
            <a:custGeom>
              <a:avLst/>
              <a:gdLst>
                <a:gd name="T0" fmla="*/ 2147483647 w 162"/>
                <a:gd name="T1" fmla="*/ 2147483647 h 173"/>
                <a:gd name="T2" fmla="*/ 2147483647 w 162"/>
                <a:gd name="T3" fmla="*/ 2147483647 h 173"/>
                <a:gd name="T4" fmla="*/ 2147483647 w 162"/>
                <a:gd name="T5" fmla="*/ 2147483647 h 173"/>
                <a:gd name="T6" fmla="*/ 2147483647 w 162"/>
                <a:gd name="T7" fmla="*/ 0 h 173"/>
                <a:gd name="T8" fmla="*/ 2147483647 w 162"/>
                <a:gd name="T9" fmla="*/ 2147483647 h 173"/>
                <a:gd name="T10" fmla="*/ 2147483647 w 162"/>
                <a:gd name="T11" fmla="*/ 2147483647 h 173"/>
                <a:gd name="T12" fmla="*/ 2147483647 w 162"/>
                <a:gd name="T13" fmla="*/ 2147483647 h 173"/>
                <a:gd name="T14" fmla="*/ 2147483647 w 162"/>
                <a:gd name="T15" fmla="*/ 2147483647 h 173"/>
                <a:gd name="T16" fmla="*/ 2147483647 w 162"/>
                <a:gd name="T17" fmla="*/ 2147483647 h 173"/>
                <a:gd name="T18" fmla="*/ 2147483647 w 162"/>
                <a:gd name="T19" fmla="*/ 2147483647 h 173"/>
                <a:gd name="T20" fmla="*/ 2147483647 w 162"/>
                <a:gd name="T21" fmla="*/ 2147483647 h 173"/>
                <a:gd name="T22" fmla="*/ 2147483647 w 162"/>
                <a:gd name="T23" fmla="*/ 2147483647 h 173"/>
                <a:gd name="T24" fmla="*/ 2147483647 w 162"/>
                <a:gd name="T25" fmla="*/ 2147483647 h 173"/>
                <a:gd name="T26" fmla="*/ 2147483647 w 162"/>
                <a:gd name="T27" fmla="*/ 2147483647 h 173"/>
                <a:gd name="T28" fmla="*/ 2147483647 w 162"/>
                <a:gd name="T29" fmla="*/ 2147483647 h 173"/>
                <a:gd name="T30" fmla="*/ 2147483647 w 162"/>
                <a:gd name="T31" fmla="*/ 2147483647 h 173"/>
                <a:gd name="T32" fmla="*/ 2147483647 w 162"/>
                <a:gd name="T33" fmla="*/ 2147483647 h 173"/>
                <a:gd name="T34" fmla="*/ 2147483647 w 162"/>
                <a:gd name="T35" fmla="*/ 2147483647 h 173"/>
                <a:gd name="T36" fmla="*/ 2147483647 w 162"/>
                <a:gd name="T37" fmla="*/ 2147483647 h 173"/>
                <a:gd name="T38" fmla="*/ 2147483647 w 162"/>
                <a:gd name="T39" fmla="*/ 2147483647 h 173"/>
                <a:gd name="T40" fmla="*/ 2147483647 w 162"/>
                <a:gd name="T41" fmla="*/ 2147483647 h 173"/>
                <a:gd name="T42" fmla="*/ 2147483647 w 162"/>
                <a:gd name="T43" fmla="*/ 2147483647 h 173"/>
                <a:gd name="T44" fmla="*/ 0 w 162"/>
                <a:gd name="T45" fmla="*/ 2147483647 h 173"/>
                <a:gd name="T46" fmla="*/ 2147483647 w 162"/>
                <a:gd name="T47" fmla="*/ 2147483647 h 173"/>
                <a:gd name="T48" fmla="*/ 2147483647 w 162"/>
                <a:gd name="T49" fmla="*/ 2147483647 h 173"/>
                <a:gd name="T50" fmla="*/ 2147483647 w 162"/>
                <a:gd name="T51" fmla="*/ 2147483647 h 173"/>
                <a:gd name="T52" fmla="*/ 2147483647 w 162"/>
                <a:gd name="T53" fmla="*/ 2147483647 h 17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2"/>
                <a:gd name="T82" fmla="*/ 0 h 173"/>
                <a:gd name="T83" fmla="*/ 162 w 162"/>
                <a:gd name="T84" fmla="*/ 173 h 17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2" h="173">
                  <a:moveTo>
                    <a:pt x="31" y="36"/>
                  </a:moveTo>
                  <a:lnTo>
                    <a:pt x="73" y="36"/>
                  </a:lnTo>
                  <a:lnTo>
                    <a:pt x="73" y="9"/>
                  </a:lnTo>
                  <a:lnTo>
                    <a:pt x="109" y="0"/>
                  </a:lnTo>
                  <a:lnTo>
                    <a:pt x="131" y="2"/>
                  </a:lnTo>
                  <a:lnTo>
                    <a:pt x="126" y="30"/>
                  </a:lnTo>
                  <a:lnTo>
                    <a:pt x="156" y="32"/>
                  </a:lnTo>
                  <a:lnTo>
                    <a:pt x="160" y="45"/>
                  </a:lnTo>
                  <a:lnTo>
                    <a:pt x="147" y="55"/>
                  </a:lnTo>
                  <a:lnTo>
                    <a:pt x="162" y="102"/>
                  </a:lnTo>
                  <a:lnTo>
                    <a:pt x="160" y="123"/>
                  </a:lnTo>
                  <a:lnTo>
                    <a:pt x="122" y="135"/>
                  </a:lnTo>
                  <a:lnTo>
                    <a:pt x="105" y="120"/>
                  </a:lnTo>
                  <a:lnTo>
                    <a:pt x="90" y="131"/>
                  </a:lnTo>
                  <a:lnTo>
                    <a:pt x="71" y="131"/>
                  </a:lnTo>
                  <a:lnTo>
                    <a:pt x="84" y="146"/>
                  </a:lnTo>
                  <a:lnTo>
                    <a:pt x="84" y="161"/>
                  </a:lnTo>
                  <a:lnTo>
                    <a:pt x="71" y="157"/>
                  </a:lnTo>
                  <a:lnTo>
                    <a:pt x="59" y="173"/>
                  </a:lnTo>
                  <a:lnTo>
                    <a:pt x="35" y="146"/>
                  </a:lnTo>
                  <a:lnTo>
                    <a:pt x="14" y="110"/>
                  </a:lnTo>
                  <a:lnTo>
                    <a:pt x="27" y="99"/>
                  </a:lnTo>
                  <a:lnTo>
                    <a:pt x="0" y="85"/>
                  </a:lnTo>
                  <a:lnTo>
                    <a:pt x="4" y="78"/>
                  </a:lnTo>
                  <a:lnTo>
                    <a:pt x="12" y="74"/>
                  </a:lnTo>
                  <a:lnTo>
                    <a:pt x="19" y="49"/>
                  </a:lnTo>
                  <a:lnTo>
                    <a:pt x="31" y="3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199" name="Freeform 175"/>
            <p:cNvSpPr>
              <a:spLocks/>
            </p:cNvSpPr>
            <p:nvPr/>
          </p:nvSpPr>
          <p:spPr bwMode="auto">
            <a:xfrm>
              <a:off x="2679485" y="4061742"/>
              <a:ext cx="45204" cy="17460"/>
            </a:xfrm>
            <a:custGeom>
              <a:avLst/>
              <a:gdLst>
                <a:gd name="T0" fmla="*/ 0 w 86"/>
                <a:gd name="T1" fmla="*/ 2147483647 h 26"/>
                <a:gd name="T2" fmla="*/ 0 w 86"/>
                <a:gd name="T3" fmla="*/ 2147483647 h 26"/>
                <a:gd name="T4" fmla="*/ 2147483647 w 86"/>
                <a:gd name="T5" fmla="*/ 2147483647 h 26"/>
                <a:gd name="T6" fmla="*/ 2147483647 w 86"/>
                <a:gd name="T7" fmla="*/ 2147483647 h 26"/>
                <a:gd name="T8" fmla="*/ 2147483647 w 86"/>
                <a:gd name="T9" fmla="*/ 0 h 26"/>
                <a:gd name="T10" fmla="*/ 2147483647 w 86"/>
                <a:gd name="T11" fmla="*/ 2147483647 h 26"/>
                <a:gd name="T12" fmla="*/ 2147483647 w 86"/>
                <a:gd name="T13" fmla="*/ 2147483647 h 26"/>
                <a:gd name="T14" fmla="*/ 2147483647 w 86"/>
                <a:gd name="T15" fmla="*/ 2147483647 h 26"/>
                <a:gd name="T16" fmla="*/ 2147483647 w 86"/>
                <a:gd name="T17" fmla="*/ 2147483647 h 26"/>
                <a:gd name="T18" fmla="*/ 2147483647 w 86"/>
                <a:gd name="T19" fmla="*/ 2147483647 h 26"/>
                <a:gd name="T20" fmla="*/ 0 w 86"/>
                <a:gd name="T21" fmla="*/ 2147483647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26"/>
                <a:gd name="T35" fmla="*/ 86 w 86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26">
                  <a:moveTo>
                    <a:pt x="0" y="24"/>
                  </a:moveTo>
                  <a:lnTo>
                    <a:pt x="0" y="11"/>
                  </a:lnTo>
                  <a:lnTo>
                    <a:pt x="11" y="13"/>
                  </a:lnTo>
                  <a:lnTo>
                    <a:pt x="10" y="3"/>
                  </a:lnTo>
                  <a:lnTo>
                    <a:pt x="55" y="0"/>
                  </a:lnTo>
                  <a:lnTo>
                    <a:pt x="78" y="5"/>
                  </a:lnTo>
                  <a:lnTo>
                    <a:pt x="86" y="15"/>
                  </a:lnTo>
                  <a:lnTo>
                    <a:pt x="72" y="24"/>
                  </a:lnTo>
                  <a:lnTo>
                    <a:pt x="59" y="15"/>
                  </a:lnTo>
                  <a:lnTo>
                    <a:pt x="36" y="26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0" name="Freeform 176"/>
            <p:cNvSpPr>
              <a:spLocks/>
            </p:cNvSpPr>
            <p:nvPr/>
          </p:nvSpPr>
          <p:spPr bwMode="auto">
            <a:xfrm>
              <a:off x="2886761" y="4107139"/>
              <a:ext cx="67255" cy="119894"/>
            </a:xfrm>
            <a:custGeom>
              <a:avLst/>
              <a:gdLst>
                <a:gd name="T0" fmla="*/ 2147483647 w 124"/>
                <a:gd name="T1" fmla="*/ 2147483647 h 192"/>
                <a:gd name="T2" fmla="*/ 2147483647 w 124"/>
                <a:gd name="T3" fmla="*/ 2147483647 h 192"/>
                <a:gd name="T4" fmla="*/ 2147483647 w 124"/>
                <a:gd name="T5" fmla="*/ 2147483647 h 192"/>
                <a:gd name="T6" fmla="*/ 2147483647 w 124"/>
                <a:gd name="T7" fmla="*/ 2147483647 h 192"/>
                <a:gd name="T8" fmla="*/ 2147483647 w 124"/>
                <a:gd name="T9" fmla="*/ 0 h 192"/>
                <a:gd name="T10" fmla="*/ 2147483647 w 124"/>
                <a:gd name="T11" fmla="*/ 2147483647 h 192"/>
                <a:gd name="T12" fmla="*/ 2147483647 w 124"/>
                <a:gd name="T13" fmla="*/ 2147483647 h 192"/>
                <a:gd name="T14" fmla="*/ 2147483647 w 124"/>
                <a:gd name="T15" fmla="*/ 2147483647 h 192"/>
                <a:gd name="T16" fmla="*/ 2147483647 w 124"/>
                <a:gd name="T17" fmla="*/ 2147483647 h 192"/>
                <a:gd name="T18" fmla="*/ 2147483647 w 124"/>
                <a:gd name="T19" fmla="*/ 2147483647 h 192"/>
                <a:gd name="T20" fmla="*/ 2147483647 w 124"/>
                <a:gd name="T21" fmla="*/ 2147483647 h 192"/>
                <a:gd name="T22" fmla="*/ 2147483647 w 124"/>
                <a:gd name="T23" fmla="*/ 2147483647 h 192"/>
                <a:gd name="T24" fmla="*/ 2147483647 w 124"/>
                <a:gd name="T25" fmla="*/ 2147483647 h 192"/>
                <a:gd name="T26" fmla="*/ 2147483647 w 124"/>
                <a:gd name="T27" fmla="*/ 2147483647 h 192"/>
                <a:gd name="T28" fmla="*/ 2147483647 w 124"/>
                <a:gd name="T29" fmla="*/ 2147483647 h 192"/>
                <a:gd name="T30" fmla="*/ 2147483647 w 124"/>
                <a:gd name="T31" fmla="*/ 2147483647 h 192"/>
                <a:gd name="T32" fmla="*/ 2147483647 w 124"/>
                <a:gd name="T33" fmla="*/ 2147483647 h 192"/>
                <a:gd name="T34" fmla="*/ 2147483647 w 124"/>
                <a:gd name="T35" fmla="*/ 2147483647 h 192"/>
                <a:gd name="T36" fmla="*/ 2147483647 w 124"/>
                <a:gd name="T37" fmla="*/ 2147483647 h 192"/>
                <a:gd name="T38" fmla="*/ 2147483647 w 124"/>
                <a:gd name="T39" fmla="*/ 2147483647 h 192"/>
                <a:gd name="T40" fmla="*/ 2147483647 w 124"/>
                <a:gd name="T41" fmla="*/ 2147483647 h 192"/>
                <a:gd name="T42" fmla="*/ 0 w 124"/>
                <a:gd name="T43" fmla="*/ 2147483647 h 192"/>
                <a:gd name="T44" fmla="*/ 2147483647 w 124"/>
                <a:gd name="T45" fmla="*/ 2147483647 h 192"/>
                <a:gd name="T46" fmla="*/ 2147483647 w 124"/>
                <a:gd name="T47" fmla="*/ 2147483647 h 192"/>
                <a:gd name="T48" fmla="*/ 2147483647 w 124"/>
                <a:gd name="T49" fmla="*/ 2147483647 h 1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24"/>
                <a:gd name="T76" fmla="*/ 0 h 192"/>
                <a:gd name="T77" fmla="*/ 124 w 124"/>
                <a:gd name="T78" fmla="*/ 192 h 19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24" h="192">
                  <a:moveTo>
                    <a:pt x="13" y="59"/>
                  </a:moveTo>
                  <a:lnTo>
                    <a:pt x="9" y="40"/>
                  </a:lnTo>
                  <a:lnTo>
                    <a:pt x="11" y="13"/>
                  </a:lnTo>
                  <a:lnTo>
                    <a:pt x="74" y="9"/>
                  </a:lnTo>
                  <a:lnTo>
                    <a:pt x="91" y="0"/>
                  </a:lnTo>
                  <a:lnTo>
                    <a:pt x="99" y="4"/>
                  </a:lnTo>
                  <a:lnTo>
                    <a:pt x="91" y="19"/>
                  </a:lnTo>
                  <a:lnTo>
                    <a:pt x="105" y="32"/>
                  </a:lnTo>
                  <a:lnTo>
                    <a:pt x="108" y="74"/>
                  </a:lnTo>
                  <a:lnTo>
                    <a:pt x="101" y="78"/>
                  </a:lnTo>
                  <a:lnTo>
                    <a:pt x="112" y="106"/>
                  </a:lnTo>
                  <a:lnTo>
                    <a:pt x="108" y="121"/>
                  </a:lnTo>
                  <a:lnTo>
                    <a:pt x="114" y="142"/>
                  </a:lnTo>
                  <a:lnTo>
                    <a:pt x="124" y="150"/>
                  </a:lnTo>
                  <a:lnTo>
                    <a:pt x="118" y="159"/>
                  </a:lnTo>
                  <a:lnTo>
                    <a:pt x="91" y="159"/>
                  </a:lnTo>
                  <a:lnTo>
                    <a:pt x="61" y="178"/>
                  </a:lnTo>
                  <a:lnTo>
                    <a:pt x="38" y="180"/>
                  </a:lnTo>
                  <a:lnTo>
                    <a:pt x="27" y="192"/>
                  </a:lnTo>
                  <a:lnTo>
                    <a:pt x="13" y="180"/>
                  </a:lnTo>
                  <a:lnTo>
                    <a:pt x="11" y="165"/>
                  </a:lnTo>
                  <a:lnTo>
                    <a:pt x="0" y="137"/>
                  </a:lnTo>
                  <a:lnTo>
                    <a:pt x="9" y="108"/>
                  </a:lnTo>
                  <a:lnTo>
                    <a:pt x="23" y="91"/>
                  </a:lnTo>
                  <a:lnTo>
                    <a:pt x="13" y="5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1" name="Freeform 177"/>
            <p:cNvSpPr>
              <a:spLocks/>
            </p:cNvSpPr>
            <p:nvPr/>
          </p:nvSpPr>
          <p:spPr bwMode="auto">
            <a:xfrm>
              <a:off x="2708150" y="4087350"/>
              <a:ext cx="106946" cy="93122"/>
            </a:xfrm>
            <a:custGeom>
              <a:avLst/>
              <a:gdLst>
                <a:gd name="T0" fmla="*/ 2147483647 w 196"/>
                <a:gd name="T1" fmla="*/ 2147483647 h 150"/>
                <a:gd name="T2" fmla="*/ 2147483647 w 196"/>
                <a:gd name="T3" fmla="*/ 2147483647 h 150"/>
                <a:gd name="T4" fmla="*/ 2147483647 w 196"/>
                <a:gd name="T5" fmla="*/ 2147483647 h 150"/>
                <a:gd name="T6" fmla="*/ 2147483647 w 196"/>
                <a:gd name="T7" fmla="*/ 2147483647 h 150"/>
                <a:gd name="T8" fmla="*/ 2147483647 w 196"/>
                <a:gd name="T9" fmla="*/ 2147483647 h 150"/>
                <a:gd name="T10" fmla="*/ 2147483647 w 196"/>
                <a:gd name="T11" fmla="*/ 2147483647 h 150"/>
                <a:gd name="T12" fmla="*/ 2147483647 w 196"/>
                <a:gd name="T13" fmla="*/ 2147483647 h 150"/>
                <a:gd name="T14" fmla="*/ 2147483647 w 196"/>
                <a:gd name="T15" fmla="*/ 2147483647 h 150"/>
                <a:gd name="T16" fmla="*/ 2147483647 w 196"/>
                <a:gd name="T17" fmla="*/ 2147483647 h 150"/>
                <a:gd name="T18" fmla="*/ 2147483647 w 196"/>
                <a:gd name="T19" fmla="*/ 2147483647 h 150"/>
                <a:gd name="T20" fmla="*/ 2147483647 w 196"/>
                <a:gd name="T21" fmla="*/ 2147483647 h 150"/>
                <a:gd name="T22" fmla="*/ 2147483647 w 196"/>
                <a:gd name="T23" fmla="*/ 2147483647 h 150"/>
                <a:gd name="T24" fmla="*/ 2147483647 w 196"/>
                <a:gd name="T25" fmla="*/ 2147483647 h 150"/>
                <a:gd name="T26" fmla="*/ 2147483647 w 196"/>
                <a:gd name="T27" fmla="*/ 2147483647 h 150"/>
                <a:gd name="T28" fmla="*/ 2147483647 w 196"/>
                <a:gd name="T29" fmla="*/ 2147483647 h 150"/>
                <a:gd name="T30" fmla="*/ 2147483647 w 196"/>
                <a:gd name="T31" fmla="*/ 2147483647 h 150"/>
                <a:gd name="T32" fmla="*/ 2147483647 w 196"/>
                <a:gd name="T33" fmla="*/ 2147483647 h 150"/>
                <a:gd name="T34" fmla="*/ 2147483647 w 196"/>
                <a:gd name="T35" fmla="*/ 2147483647 h 150"/>
                <a:gd name="T36" fmla="*/ 0 w 196"/>
                <a:gd name="T37" fmla="*/ 2147483647 h 150"/>
                <a:gd name="T38" fmla="*/ 2147483647 w 196"/>
                <a:gd name="T39" fmla="*/ 2147483647 h 150"/>
                <a:gd name="T40" fmla="*/ 2147483647 w 196"/>
                <a:gd name="T41" fmla="*/ 2147483647 h 150"/>
                <a:gd name="T42" fmla="*/ 2147483647 w 196"/>
                <a:gd name="T43" fmla="*/ 2147483647 h 150"/>
                <a:gd name="T44" fmla="*/ 2147483647 w 196"/>
                <a:gd name="T45" fmla="*/ 2147483647 h 150"/>
                <a:gd name="T46" fmla="*/ 2147483647 w 196"/>
                <a:gd name="T47" fmla="*/ 2147483647 h 150"/>
                <a:gd name="T48" fmla="*/ 2147483647 w 196"/>
                <a:gd name="T49" fmla="*/ 2147483647 h 150"/>
                <a:gd name="T50" fmla="*/ 2147483647 w 196"/>
                <a:gd name="T51" fmla="*/ 2147483647 h 150"/>
                <a:gd name="T52" fmla="*/ 2147483647 w 196"/>
                <a:gd name="T53" fmla="*/ 0 h 150"/>
                <a:gd name="T54" fmla="*/ 2147483647 w 196"/>
                <a:gd name="T55" fmla="*/ 2147483647 h 150"/>
                <a:gd name="T56" fmla="*/ 2147483647 w 196"/>
                <a:gd name="T57" fmla="*/ 2147483647 h 150"/>
                <a:gd name="T58" fmla="*/ 2147483647 w 196"/>
                <a:gd name="T59" fmla="*/ 2147483647 h 150"/>
                <a:gd name="T60" fmla="*/ 2147483647 w 196"/>
                <a:gd name="T61" fmla="*/ 2147483647 h 1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6"/>
                <a:gd name="T94" fmla="*/ 0 h 150"/>
                <a:gd name="T95" fmla="*/ 196 w 196"/>
                <a:gd name="T96" fmla="*/ 150 h 1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6" h="150">
                  <a:moveTo>
                    <a:pt x="196" y="62"/>
                  </a:moveTo>
                  <a:lnTo>
                    <a:pt x="186" y="83"/>
                  </a:lnTo>
                  <a:lnTo>
                    <a:pt x="196" y="110"/>
                  </a:lnTo>
                  <a:lnTo>
                    <a:pt x="181" y="117"/>
                  </a:lnTo>
                  <a:lnTo>
                    <a:pt x="179" y="136"/>
                  </a:lnTo>
                  <a:lnTo>
                    <a:pt x="169" y="150"/>
                  </a:lnTo>
                  <a:lnTo>
                    <a:pt x="154" y="146"/>
                  </a:lnTo>
                  <a:lnTo>
                    <a:pt x="154" y="123"/>
                  </a:lnTo>
                  <a:lnTo>
                    <a:pt x="127" y="121"/>
                  </a:lnTo>
                  <a:lnTo>
                    <a:pt x="114" y="127"/>
                  </a:lnTo>
                  <a:lnTo>
                    <a:pt x="118" y="104"/>
                  </a:lnTo>
                  <a:lnTo>
                    <a:pt x="108" y="83"/>
                  </a:lnTo>
                  <a:lnTo>
                    <a:pt x="97" y="77"/>
                  </a:lnTo>
                  <a:lnTo>
                    <a:pt x="69" y="83"/>
                  </a:lnTo>
                  <a:lnTo>
                    <a:pt x="59" y="100"/>
                  </a:lnTo>
                  <a:lnTo>
                    <a:pt x="40" y="100"/>
                  </a:lnTo>
                  <a:lnTo>
                    <a:pt x="34" y="83"/>
                  </a:lnTo>
                  <a:lnTo>
                    <a:pt x="12" y="74"/>
                  </a:lnTo>
                  <a:lnTo>
                    <a:pt x="0" y="57"/>
                  </a:lnTo>
                  <a:lnTo>
                    <a:pt x="13" y="39"/>
                  </a:lnTo>
                  <a:lnTo>
                    <a:pt x="34" y="28"/>
                  </a:lnTo>
                  <a:lnTo>
                    <a:pt x="34" y="5"/>
                  </a:lnTo>
                  <a:lnTo>
                    <a:pt x="93" y="9"/>
                  </a:lnTo>
                  <a:lnTo>
                    <a:pt x="101" y="22"/>
                  </a:lnTo>
                  <a:lnTo>
                    <a:pt x="110" y="11"/>
                  </a:lnTo>
                  <a:lnTo>
                    <a:pt x="124" y="19"/>
                  </a:lnTo>
                  <a:lnTo>
                    <a:pt x="164" y="0"/>
                  </a:lnTo>
                  <a:lnTo>
                    <a:pt x="167" y="24"/>
                  </a:lnTo>
                  <a:lnTo>
                    <a:pt x="181" y="32"/>
                  </a:lnTo>
                  <a:lnTo>
                    <a:pt x="181" y="53"/>
                  </a:lnTo>
                  <a:lnTo>
                    <a:pt x="196" y="6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2" name="Freeform 178"/>
            <p:cNvSpPr>
              <a:spLocks/>
            </p:cNvSpPr>
            <p:nvPr/>
          </p:nvSpPr>
          <p:spPr bwMode="auto">
            <a:xfrm>
              <a:off x="2684998" y="4087350"/>
              <a:ext cx="41896" cy="37249"/>
            </a:xfrm>
            <a:custGeom>
              <a:avLst/>
              <a:gdLst>
                <a:gd name="T0" fmla="*/ 2147483647 w 78"/>
                <a:gd name="T1" fmla="*/ 2147483647 h 58"/>
                <a:gd name="T2" fmla="*/ 2147483647 w 78"/>
                <a:gd name="T3" fmla="*/ 2147483647 h 58"/>
                <a:gd name="T4" fmla="*/ 2147483647 w 78"/>
                <a:gd name="T5" fmla="*/ 2147483647 h 58"/>
                <a:gd name="T6" fmla="*/ 2147483647 w 78"/>
                <a:gd name="T7" fmla="*/ 2147483647 h 58"/>
                <a:gd name="T8" fmla="*/ 2147483647 w 78"/>
                <a:gd name="T9" fmla="*/ 2147483647 h 58"/>
                <a:gd name="T10" fmla="*/ 2147483647 w 78"/>
                <a:gd name="T11" fmla="*/ 2147483647 h 58"/>
                <a:gd name="T12" fmla="*/ 2147483647 w 78"/>
                <a:gd name="T13" fmla="*/ 2147483647 h 58"/>
                <a:gd name="T14" fmla="*/ 2147483647 w 78"/>
                <a:gd name="T15" fmla="*/ 2147483647 h 58"/>
                <a:gd name="T16" fmla="*/ 2147483647 w 78"/>
                <a:gd name="T17" fmla="*/ 2147483647 h 58"/>
                <a:gd name="T18" fmla="*/ 2147483647 w 78"/>
                <a:gd name="T19" fmla="*/ 2147483647 h 58"/>
                <a:gd name="T20" fmla="*/ 0 w 78"/>
                <a:gd name="T21" fmla="*/ 2147483647 h 58"/>
                <a:gd name="T22" fmla="*/ 2147483647 w 78"/>
                <a:gd name="T23" fmla="*/ 0 h 58"/>
                <a:gd name="T24" fmla="*/ 2147483647 w 78"/>
                <a:gd name="T25" fmla="*/ 2147483647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8"/>
                <a:gd name="T40" fmla="*/ 0 h 58"/>
                <a:gd name="T41" fmla="*/ 78 w 78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8" h="58">
                  <a:moveTo>
                    <a:pt x="78" y="5"/>
                  </a:moveTo>
                  <a:lnTo>
                    <a:pt x="76" y="28"/>
                  </a:lnTo>
                  <a:lnTo>
                    <a:pt x="57" y="41"/>
                  </a:lnTo>
                  <a:lnTo>
                    <a:pt x="44" y="58"/>
                  </a:lnTo>
                  <a:lnTo>
                    <a:pt x="31" y="53"/>
                  </a:lnTo>
                  <a:lnTo>
                    <a:pt x="31" y="41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31" y="22"/>
                  </a:lnTo>
                  <a:lnTo>
                    <a:pt x="14" y="28"/>
                  </a:lnTo>
                  <a:lnTo>
                    <a:pt x="0" y="13"/>
                  </a:lnTo>
                  <a:lnTo>
                    <a:pt x="52" y="0"/>
                  </a:lnTo>
                  <a:lnTo>
                    <a:pt x="78" y="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3" name="Freeform 179"/>
            <p:cNvSpPr>
              <a:spLocks/>
            </p:cNvSpPr>
            <p:nvPr/>
          </p:nvSpPr>
          <p:spPr bwMode="auto">
            <a:xfrm>
              <a:off x="2690510" y="4107139"/>
              <a:ext cx="8820" cy="16296"/>
            </a:xfrm>
            <a:custGeom>
              <a:avLst/>
              <a:gdLst>
                <a:gd name="T0" fmla="*/ 2147483647 w 19"/>
                <a:gd name="T1" fmla="*/ 2147483647 h 25"/>
                <a:gd name="T2" fmla="*/ 2147483647 w 19"/>
                <a:gd name="T3" fmla="*/ 2147483647 h 25"/>
                <a:gd name="T4" fmla="*/ 0 w 19"/>
                <a:gd name="T5" fmla="*/ 2147483647 h 25"/>
                <a:gd name="T6" fmla="*/ 2147483647 w 19"/>
                <a:gd name="T7" fmla="*/ 0 h 25"/>
                <a:gd name="T8" fmla="*/ 2147483647 w 19"/>
                <a:gd name="T9" fmla="*/ 2147483647 h 25"/>
                <a:gd name="T10" fmla="*/ 2147483647 w 19"/>
                <a:gd name="T11" fmla="*/ 2147483647 h 25"/>
                <a:gd name="T12" fmla="*/ 2147483647 w 19"/>
                <a:gd name="T13" fmla="*/ 214748364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5"/>
                <a:gd name="T23" fmla="*/ 19 w 19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5">
                  <a:moveTo>
                    <a:pt x="19" y="13"/>
                  </a:moveTo>
                  <a:lnTo>
                    <a:pt x="2" y="25"/>
                  </a:lnTo>
                  <a:lnTo>
                    <a:pt x="0" y="15"/>
                  </a:lnTo>
                  <a:lnTo>
                    <a:pt x="2" y="0"/>
                  </a:lnTo>
                  <a:lnTo>
                    <a:pt x="9" y="2"/>
                  </a:lnTo>
                  <a:lnTo>
                    <a:pt x="6" y="9"/>
                  </a:lnTo>
                  <a:lnTo>
                    <a:pt x="19" y="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4" name="Freeform 180"/>
            <p:cNvSpPr>
              <a:spLocks/>
            </p:cNvSpPr>
            <p:nvPr/>
          </p:nvSpPr>
          <p:spPr bwMode="auto">
            <a:xfrm>
              <a:off x="3074192" y="4081531"/>
              <a:ext cx="109151" cy="199048"/>
            </a:xfrm>
            <a:custGeom>
              <a:avLst/>
              <a:gdLst>
                <a:gd name="T0" fmla="*/ 2147483647 w 199"/>
                <a:gd name="T1" fmla="*/ 2147483647 h 317"/>
                <a:gd name="T2" fmla="*/ 2147483647 w 199"/>
                <a:gd name="T3" fmla="*/ 2147483647 h 317"/>
                <a:gd name="T4" fmla="*/ 2147483647 w 199"/>
                <a:gd name="T5" fmla="*/ 2147483647 h 317"/>
                <a:gd name="T6" fmla="*/ 2147483647 w 199"/>
                <a:gd name="T7" fmla="*/ 2147483647 h 317"/>
                <a:gd name="T8" fmla="*/ 2147483647 w 199"/>
                <a:gd name="T9" fmla="*/ 2147483647 h 317"/>
                <a:gd name="T10" fmla="*/ 2147483647 w 199"/>
                <a:gd name="T11" fmla="*/ 2147483647 h 317"/>
                <a:gd name="T12" fmla="*/ 0 w 199"/>
                <a:gd name="T13" fmla="*/ 2147483647 h 317"/>
                <a:gd name="T14" fmla="*/ 0 w 199"/>
                <a:gd name="T15" fmla="*/ 2147483647 h 317"/>
                <a:gd name="T16" fmla="*/ 2147483647 w 199"/>
                <a:gd name="T17" fmla="*/ 2147483647 h 317"/>
                <a:gd name="T18" fmla="*/ 2147483647 w 199"/>
                <a:gd name="T19" fmla="*/ 2147483647 h 317"/>
                <a:gd name="T20" fmla="*/ 2147483647 w 199"/>
                <a:gd name="T21" fmla="*/ 2147483647 h 317"/>
                <a:gd name="T22" fmla="*/ 2147483647 w 199"/>
                <a:gd name="T23" fmla="*/ 2147483647 h 317"/>
                <a:gd name="T24" fmla="*/ 2147483647 w 199"/>
                <a:gd name="T25" fmla="*/ 2147483647 h 317"/>
                <a:gd name="T26" fmla="*/ 2147483647 w 199"/>
                <a:gd name="T27" fmla="*/ 2147483647 h 317"/>
                <a:gd name="T28" fmla="*/ 2147483647 w 199"/>
                <a:gd name="T29" fmla="*/ 2147483647 h 317"/>
                <a:gd name="T30" fmla="*/ 2147483647 w 199"/>
                <a:gd name="T31" fmla="*/ 2147483647 h 317"/>
                <a:gd name="T32" fmla="*/ 2147483647 w 199"/>
                <a:gd name="T33" fmla="*/ 2147483647 h 317"/>
                <a:gd name="T34" fmla="*/ 2147483647 w 199"/>
                <a:gd name="T35" fmla="*/ 2147483647 h 317"/>
                <a:gd name="T36" fmla="*/ 2147483647 w 199"/>
                <a:gd name="T37" fmla="*/ 2147483647 h 317"/>
                <a:gd name="T38" fmla="*/ 2147483647 w 199"/>
                <a:gd name="T39" fmla="*/ 0 h 317"/>
                <a:gd name="T40" fmla="*/ 2147483647 w 199"/>
                <a:gd name="T41" fmla="*/ 2147483647 h 317"/>
                <a:gd name="T42" fmla="*/ 2147483647 w 199"/>
                <a:gd name="T43" fmla="*/ 2147483647 h 317"/>
                <a:gd name="T44" fmla="*/ 2147483647 w 199"/>
                <a:gd name="T45" fmla="*/ 2147483647 h 317"/>
                <a:gd name="T46" fmla="*/ 2147483647 w 199"/>
                <a:gd name="T47" fmla="*/ 2147483647 h 317"/>
                <a:gd name="T48" fmla="*/ 2147483647 w 199"/>
                <a:gd name="T49" fmla="*/ 2147483647 h 317"/>
                <a:gd name="T50" fmla="*/ 2147483647 w 199"/>
                <a:gd name="T51" fmla="*/ 2147483647 h 317"/>
                <a:gd name="T52" fmla="*/ 2147483647 w 199"/>
                <a:gd name="T53" fmla="*/ 2147483647 h 317"/>
                <a:gd name="T54" fmla="*/ 2147483647 w 199"/>
                <a:gd name="T55" fmla="*/ 2147483647 h 317"/>
                <a:gd name="T56" fmla="*/ 2147483647 w 199"/>
                <a:gd name="T57" fmla="*/ 2147483647 h 317"/>
                <a:gd name="T58" fmla="*/ 2147483647 w 199"/>
                <a:gd name="T59" fmla="*/ 2147483647 h 317"/>
                <a:gd name="T60" fmla="*/ 2147483647 w 199"/>
                <a:gd name="T61" fmla="*/ 2147483647 h 317"/>
                <a:gd name="T62" fmla="*/ 2147483647 w 199"/>
                <a:gd name="T63" fmla="*/ 2147483647 h 317"/>
                <a:gd name="T64" fmla="*/ 2147483647 w 199"/>
                <a:gd name="T65" fmla="*/ 2147483647 h 317"/>
                <a:gd name="T66" fmla="*/ 2147483647 w 199"/>
                <a:gd name="T67" fmla="*/ 2147483647 h 317"/>
                <a:gd name="T68" fmla="*/ 2147483647 w 199"/>
                <a:gd name="T69" fmla="*/ 2147483647 h 317"/>
                <a:gd name="T70" fmla="*/ 2147483647 w 199"/>
                <a:gd name="T71" fmla="*/ 2147483647 h 31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99"/>
                <a:gd name="T109" fmla="*/ 0 h 317"/>
                <a:gd name="T110" fmla="*/ 199 w 199"/>
                <a:gd name="T111" fmla="*/ 317 h 31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99" h="317">
                  <a:moveTo>
                    <a:pt x="65" y="313"/>
                  </a:moveTo>
                  <a:lnTo>
                    <a:pt x="19" y="310"/>
                  </a:lnTo>
                  <a:lnTo>
                    <a:pt x="23" y="281"/>
                  </a:lnTo>
                  <a:lnTo>
                    <a:pt x="19" y="268"/>
                  </a:lnTo>
                  <a:lnTo>
                    <a:pt x="25" y="254"/>
                  </a:lnTo>
                  <a:lnTo>
                    <a:pt x="9" y="254"/>
                  </a:lnTo>
                  <a:lnTo>
                    <a:pt x="0" y="245"/>
                  </a:lnTo>
                  <a:lnTo>
                    <a:pt x="0" y="226"/>
                  </a:lnTo>
                  <a:lnTo>
                    <a:pt x="9" y="222"/>
                  </a:lnTo>
                  <a:lnTo>
                    <a:pt x="27" y="169"/>
                  </a:lnTo>
                  <a:lnTo>
                    <a:pt x="42" y="163"/>
                  </a:lnTo>
                  <a:lnTo>
                    <a:pt x="65" y="178"/>
                  </a:lnTo>
                  <a:lnTo>
                    <a:pt x="89" y="125"/>
                  </a:lnTo>
                  <a:lnTo>
                    <a:pt x="108" y="121"/>
                  </a:lnTo>
                  <a:lnTo>
                    <a:pt x="114" y="99"/>
                  </a:lnTo>
                  <a:lnTo>
                    <a:pt x="122" y="89"/>
                  </a:lnTo>
                  <a:lnTo>
                    <a:pt x="133" y="42"/>
                  </a:lnTo>
                  <a:lnTo>
                    <a:pt x="150" y="36"/>
                  </a:lnTo>
                  <a:lnTo>
                    <a:pt x="150" y="4"/>
                  </a:lnTo>
                  <a:lnTo>
                    <a:pt x="158" y="0"/>
                  </a:lnTo>
                  <a:lnTo>
                    <a:pt x="167" y="34"/>
                  </a:lnTo>
                  <a:lnTo>
                    <a:pt x="165" y="57"/>
                  </a:lnTo>
                  <a:lnTo>
                    <a:pt x="180" y="84"/>
                  </a:lnTo>
                  <a:lnTo>
                    <a:pt x="142" y="80"/>
                  </a:lnTo>
                  <a:lnTo>
                    <a:pt x="139" y="89"/>
                  </a:lnTo>
                  <a:lnTo>
                    <a:pt x="179" y="135"/>
                  </a:lnTo>
                  <a:lnTo>
                    <a:pt x="182" y="154"/>
                  </a:lnTo>
                  <a:lnTo>
                    <a:pt x="150" y="192"/>
                  </a:lnTo>
                  <a:lnTo>
                    <a:pt x="161" y="243"/>
                  </a:lnTo>
                  <a:lnTo>
                    <a:pt x="182" y="273"/>
                  </a:lnTo>
                  <a:lnTo>
                    <a:pt x="199" y="277"/>
                  </a:lnTo>
                  <a:lnTo>
                    <a:pt x="196" y="317"/>
                  </a:lnTo>
                  <a:lnTo>
                    <a:pt x="163" y="308"/>
                  </a:lnTo>
                  <a:lnTo>
                    <a:pt x="122" y="304"/>
                  </a:lnTo>
                  <a:lnTo>
                    <a:pt x="101" y="304"/>
                  </a:lnTo>
                  <a:lnTo>
                    <a:pt x="65" y="31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5" name="Freeform 181"/>
            <p:cNvSpPr>
              <a:spLocks/>
            </p:cNvSpPr>
            <p:nvPr/>
          </p:nvSpPr>
          <p:spPr bwMode="auto">
            <a:xfrm>
              <a:off x="2567026" y="4031477"/>
              <a:ext cx="8820" cy="15132"/>
            </a:xfrm>
            <a:custGeom>
              <a:avLst/>
              <a:gdLst>
                <a:gd name="T0" fmla="*/ 2147483647 w 17"/>
                <a:gd name="T1" fmla="*/ 0 h 25"/>
                <a:gd name="T2" fmla="*/ 2147483647 w 17"/>
                <a:gd name="T3" fmla="*/ 2147483647 h 25"/>
                <a:gd name="T4" fmla="*/ 2147483647 w 17"/>
                <a:gd name="T5" fmla="*/ 2147483647 h 25"/>
                <a:gd name="T6" fmla="*/ 0 w 17"/>
                <a:gd name="T7" fmla="*/ 2147483647 h 25"/>
                <a:gd name="T8" fmla="*/ 2147483647 w 17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5"/>
                <a:gd name="T17" fmla="*/ 17 w 17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5">
                  <a:moveTo>
                    <a:pt x="4" y="0"/>
                  </a:moveTo>
                  <a:lnTo>
                    <a:pt x="17" y="17"/>
                  </a:lnTo>
                  <a:lnTo>
                    <a:pt x="7" y="25"/>
                  </a:lnTo>
                  <a:lnTo>
                    <a:pt x="0" y="17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6" name="Freeform 182"/>
            <p:cNvSpPr>
              <a:spLocks/>
            </p:cNvSpPr>
            <p:nvPr/>
          </p:nvSpPr>
          <p:spPr bwMode="auto">
            <a:xfrm>
              <a:off x="2583564" y="4017509"/>
              <a:ext cx="6615" cy="8148"/>
            </a:xfrm>
            <a:custGeom>
              <a:avLst/>
              <a:gdLst>
                <a:gd name="T0" fmla="*/ 2147483647 w 12"/>
                <a:gd name="T1" fmla="*/ 0 h 14"/>
                <a:gd name="T2" fmla="*/ 2147483647 w 12"/>
                <a:gd name="T3" fmla="*/ 2147483647 h 14"/>
                <a:gd name="T4" fmla="*/ 2147483647 w 12"/>
                <a:gd name="T5" fmla="*/ 2147483647 h 14"/>
                <a:gd name="T6" fmla="*/ 0 w 12"/>
                <a:gd name="T7" fmla="*/ 2147483647 h 14"/>
                <a:gd name="T8" fmla="*/ 2147483647 w 12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4"/>
                <a:gd name="T17" fmla="*/ 12 w 12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4">
                  <a:moveTo>
                    <a:pt x="2" y="0"/>
                  </a:moveTo>
                  <a:lnTo>
                    <a:pt x="12" y="6"/>
                  </a:lnTo>
                  <a:lnTo>
                    <a:pt x="6" y="14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7" name="Freeform 183"/>
            <p:cNvSpPr>
              <a:spLocks/>
            </p:cNvSpPr>
            <p:nvPr/>
          </p:nvSpPr>
          <p:spPr bwMode="auto">
            <a:xfrm>
              <a:off x="3457875" y="4227034"/>
              <a:ext cx="128997" cy="167620"/>
            </a:xfrm>
            <a:custGeom>
              <a:avLst/>
              <a:gdLst>
                <a:gd name="T0" fmla="*/ 2147483647 w 236"/>
                <a:gd name="T1" fmla="*/ 0 h 269"/>
                <a:gd name="T2" fmla="*/ 2147483647 w 236"/>
                <a:gd name="T3" fmla="*/ 2147483647 h 269"/>
                <a:gd name="T4" fmla="*/ 2147483647 w 236"/>
                <a:gd name="T5" fmla="*/ 2147483647 h 269"/>
                <a:gd name="T6" fmla="*/ 2147483647 w 236"/>
                <a:gd name="T7" fmla="*/ 2147483647 h 269"/>
                <a:gd name="T8" fmla="*/ 2147483647 w 236"/>
                <a:gd name="T9" fmla="*/ 2147483647 h 269"/>
                <a:gd name="T10" fmla="*/ 2147483647 w 236"/>
                <a:gd name="T11" fmla="*/ 2147483647 h 269"/>
                <a:gd name="T12" fmla="*/ 2147483647 w 236"/>
                <a:gd name="T13" fmla="*/ 2147483647 h 269"/>
                <a:gd name="T14" fmla="*/ 2147483647 w 236"/>
                <a:gd name="T15" fmla="*/ 2147483647 h 269"/>
                <a:gd name="T16" fmla="*/ 2147483647 w 236"/>
                <a:gd name="T17" fmla="*/ 2147483647 h 269"/>
                <a:gd name="T18" fmla="*/ 2147483647 w 236"/>
                <a:gd name="T19" fmla="*/ 2147483647 h 269"/>
                <a:gd name="T20" fmla="*/ 2147483647 w 236"/>
                <a:gd name="T21" fmla="*/ 2147483647 h 269"/>
                <a:gd name="T22" fmla="*/ 2147483647 w 236"/>
                <a:gd name="T23" fmla="*/ 2147483647 h 269"/>
                <a:gd name="T24" fmla="*/ 2147483647 w 236"/>
                <a:gd name="T25" fmla="*/ 2147483647 h 269"/>
                <a:gd name="T26" fmla="*/ 2147483647 w 236"/>
                <a:gd name="T27" fmla="*/ 2147483647 h 269"/>
                <a:gd name="T28" fmla="*/ 2147483647 w 236"/>
                <a:gd name="T29" fmla="*/ 2147483647 h 269"/>
                <a:gd name="T30" fmla="*/ 2147483647 w 236"/>
                <a:gd name="T31" fmla="*/ 2147483647 h 269"/>
                <a:gd name="T32" fmla="*/ 2147483647 w 236"/>
                <a:gd name="T33" fmla="*/ 2147483647 h 269"/>
                <a:gd name="T34" fmla="*/ 2147483647 w 236"/>
                <a:gd name="T35" fmla="*/ 2147483647 h 269"/>
                <a:gd name="T36" fmla="*/ 2147483647 w 236"/>
                <a:gd name="T37" fmla="*/ 2147483647 h 269"/>
                <a:gd name="T38" fmla="*/ 2147483647 w 236"/>
                <a:gd name="T39" fmla="*/ 2147483647 h 269"/>
                <a:gd name="T40" fmla="*/ 2147483647 w 236"/>
                <a:gd name="T41" fmla="*/ 2147483647 h 269"/>
                <a:gd name="T42" fmla="*/ 2147483647 w 236"/>
                <a:gd name="T43" fmla="*/ 2147483647 h 269"/>
                <a:gd name="T44" fmla="*/ 2147483647 w 236"/>
                <a:gd name="T45" fmla="*/ 2147483647 h 269"/>
                <a:gd name="T46" fmla="*/ 2147483647 w 236"/>
                <a:gd name="T47" fmla="*/ 2147483647 h 269"/>
                <a:gd name="T48" fmla="*/ 2147483647 w 236"/>
                <a:gd name="T49" fmla="*/ 2147483647 h 269"/>
                <a:gd name="T50" fmla="*/ 2147483647 w 236"/>
                <a:gd name="T51" fmla="*/ 2147483647 h 269"/>
                <a:gd name="T52" fmla="*/ 2147483647 w 236"/>
                <a:gd name="T53" fmla="*/ 2147483647 h 269"/>
                <a:gd name="T54" fmla="*/ 2147483647 w 236"/>
                <a:gd name="T55" fmla="*/ 2147483647 h 269"/>
                <a:gd name="T56" fmla="*/ 0 w 236"/>
                <a:gd name="T57" fmla="*/ 2147483647 h 269"/>
                <a:gd name="T58" fmla="*/ 2147483647 w 236"/>
                <a:gd name="T59" fmla="*/ 2147483647 h 269"/>
                <a:gd name="T60" fmla="*/ 2147483647 w 236"/>
                <a:gd name="T61" fmla="*/ 0 h 26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36"/>
                <a:gd name="T94" fmla="*/ 0 h 269"/>
                <a:gd name="T95" fmla="*/ 236 w 236"/>
                <a:gd name="T96" fmla="*/ 269 h 26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36" h="269">
                  <a:moveTo>
                    <a:pt x="51" y="0"/>
                  </a:moveTo>
                  <a:lnTo>
                    <a:pt x="68" y="9"/>
                  </a:lnTo>
                  <a:lnTo>
                    <a:pt x="86" y="7"/>
                  </a:lnTo>
                  <a:lnTo>
                    <a:pt x="125" y="32"/>
                  </a:lnTo>
                  <a:lnTo>
                    <a:pt x="169" y="34"/>
                  </a:lnTo>
                  <a:lnTo>
                    <a:pt x="177" y="19"/>
                  </a:lnTo>
                  <a:lnTo>
                    <a:pt x="200" y="9"/>
                  </a:lnTo>
                  <a:lnTo>
                    <a:pt x="209" y="19"/>
                  </a:lnTo>
                  <a:lnTo>
                    <a:pt x="236" y="19"/>
                  </a:lnTo>
                  <a:lnTo>
                    <a:pt x="207" y="49"/>
                  </a:lnTo>
                  <a:lnTo>
                    <a:pt x="211" y="152"/>
                  </a:lnTo>
                  <a:lnTo>
                    <a:pt x="224" y="192"/>
                  </a:lnTo>
                  <a:lnTo>
                    <a:pt x="209" y="195"/>
                  </a:lnTo>
                  <a:lnTo>
                    <a:pt x="205" y="209"/>
                  </a:lnTo>
                  <a:lnTo>
                    <a:pt x="190" y="214"/>
                  </a:lnTo>
                  <a:lnTo>
                    <a:pt x="186" y="235"/>
                  </a:lnTo>
                  <a:lnTo>
                    <a:pt x="175" y="235"/>
                  </a:lnTo>
                  <a:lnTo>
                    <a:pt x="165" y="267"/>
                  </a:lnTo>
                  <a:lnTo>
                    <a:pt x="156" y="269"/>
                  </a:lnTo>
                  <a:lnTo>
                    <a:pt x="84" y="209"/>
                  </a:lnTo>
                  <a:lnTo>
                    <a:pt x="6" y="165"/>
                  </a:lnTo>
                  <a:lnTo>
                    <a:pt x="10" y="152"/>
                  </a:lnTo>
                  <a:lnTo>
                    <a:pt x="23" y="146"/>
                  </a:lnTo>
                  <a:lnTo>
                    <a:pt x="8" y="138"/>
                  </a:lnTo>
                  <a:lnTo>
                    <a:pt x="8" y="131"/>
                  </a:lnTo>
                  <a:lnTo>
                    <a:pt x="19" y="102"/>
                  </a:lnTo>
                  <a:lnTo>
                    <a:pt x="30" y="59"/>
                  </a:lnTo>
                  <a:lnTo>
                    <a:pt x="15" y="30"/>
                  </a:lnTo>
                  <a:lnTo>
                    <a:pt x="0" y="15"/>
                  </a:lnTo>
                  <a:lnTo>
                    <a:pt x="11" y="2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8" name="Freeform 184"/>
            <p:cNvSpPr>
              <a:spLocks/>
            </p:cNvSpPr>
            <p:nvPr/>
          </p:nvSpPr>
          <p:spPr bwMode="auto">
            <a:xfrm>
              <a:off x="3603410" y="4513384"/>
              <a:ext cx="5513" cy="13968"/>
            </a:xfrm>
            <a:custGeom>
              <a:avLst/>
              <a:gdLst>
                <a:gd name="T0" fmla="*/ 2147483647 w 9"/>
                <a:gd name="T1" fmla="*/ 0 h 21"/>
                <a:gd name="T2" fmla="*/ 2147483647 w 9"/>
                <a:gd name="T3" fmla="*/ 2147483647 h 21"/>
                <a:gd name="T4" fmla="*/ 2147483647 w 9"/>
                <a:gd name="T5" fmla="*/ 2147483647 h 21"/>
                <a:gd name="T6" fmla="*/ 0 w 9"/>
                <a:gd name="T7" fmla="*/ 2147483647 h 21"/>
                <a:gd name="T8" fmla="*/ 0 w 9"/>
                <a:gd name="T9" fmla="*/ 2147483647 h 21"/>
                <a:gd name="T10" fmla="*/ 2147483647 w 9"/>
                <a:gd name="T11" fmla="*/ 0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1"/>
                <a:gd name="T20" fmla="*/ 9 w 9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1">
                  <a:moveTo>
                    <a:pt x="4" y="0"/>
                  </a:moveTo>
                  <a:lnTo>
                    <a:pt x="9" y="8"/>
                  </a:lnTo>
                  <a:lnTo>
                    <a:pt x="9" y="21"/>
                  </a:lnTo>
                  <a:lnTo>
                    <a:pt x="0" y="19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09" name="Freeform 185"/>
            <p:cNvSpPr>
              <a:spLocks/>
            </p:cNvSpPr>
            <p:nvPr/>
          </p:nvSpPr>
          <p:spPr bwMode="auto">
            <a:xfrm>
              <a:off x="3618845" y="4529681"/>
              <a:ext cx="4410" cy="5820"/>
            </a:xfrm>
            <a:custGeom>
              <a:avLst/>
              <a:gdLst>
                <a:gd name="T0" fmla="*/ 0 w 8"/>
                <a:gd name="T1" fmla="*/ 0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0 w 8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1"/>
                <a:gd name="T14" fmla="*/ 8 w 8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1">
                  <a:moveTo>
                    <a:pt x="0" y="0"/>
                  </a:moveTo>
                  <a:lnTo>
                    <a:pt x="8" y="2"/>
                  </a:lnTo>
                  <a:lnTo>
                    <a:pt x="6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0" name="Freeform 186"/>
            <p:cNvSpPr>
              <a:spLocks/>
            </p:cNvSpPr>
            <p:nvPr/>
          </p:nvSpPr>
          <p:spPr bwMode="auto">
            <a:xfrm>
              <a:off x="3101756" y="4241002"/>
              <a:ext cx="119074" cy="161799"/>
            </a:xfrm>
            <a:custGeom>
              <a:avLst/>
              <a:gdLst>
                <a:gd name="T0" fmla="*/ 2147483647 w 219"/>
                <a:gd name="T1" fmla="*/ 2147483647 h 259"/>
                <a:gd name="T2" fmla="*/ 2147483647 w 219"/>
                <a:gd name="T3" fmla="*/ 2147483647 h 259"/>
                <a:gd name="T4" fmla="*/ 2147483647 w 219"/>
                <a:gd name="T5" fmla="*/ 2147483647 h 259"/>
                <a:gd name="T6" fmla="*/ 2147483647 w 219"/>
                <a:gd name="T7" fmla="*/ 2147483647 h 259"/>
                <a:gd name="T8" fmla="*/ 0 w 219"/>
                <a:gd name="T9" fmla="*/ 2147483647 h 259"/>
                <a:gd name="T10" fmla="*/ 2147483647 w 219"/>
                <a:gd name="T11" fmla="*/ 2147483647 h 259"/>
                <a:gd name="T12" fmla="*/ 2147483647 w 219"/>
                <a:gd name="T13" fmla="*/ 2147483647 h 259"/>
                <a:gd name="T14" fmla="*/ 2147483647 w 219"/>
                <a:gd name="T15" fmla="*/ 2147483647 h 259"/>
                <a:gd name="T16" fmla="*/ 2147483647 w 219"/>
                <a:gd name="T17" fmla="*/ 2147483647 h 259"/>
                <a:gd name="T18" fmla="*/ 2147483647 w 219"/>
                <a:gd name="T19" fmla="*/ 2147483647 h 259"/>
                <a:gd name="T20" fmla="*/ 2147483647 w 219"/>
                <a:gd name="T21" fmla="*/ 2147483647 h 259"/>
                <a:gd name="T22" fmla="*/ 2147483647 w 219"/>
                <a:gd name="T23" fmla="*/ 2147483647 h 259"/>
                <a:gd name="T24" fmla="*/ 2147483647 w 219"/>
                <a:gd name="T25" fmla="*/ 2147483647 h 259"/>
                <a:gd name="T26" fmla="*/ 2147483647 w 219"/>
                <a:gd name="T27" fmla="*/ 2147483647 h 259"/>
                <a:gd name="T28" fmla="*/ 2147483647 w 219"/>
                <a:gd name="T29" fmla="*/ 2147483647 h 259"/>
                <a:gd name="T30" fmla="*/ 2147483647 w 219"/>
                <a:gd name="T31" fmla="*/ 2147483647 h 259"/>
                <a:gd name="T32" fmla="*/ 2147483647 w 219"/>
                <a:gd name="T33" fmla="*/ 2147483647 h 259"/>
                <a:gd name="T34" fmla="*/ 2147483647 w 219"/>
                <a:gd name="T35" fmla="*/ 2147483647 h 259"/>
                <a:gd name="T36" fmla="*/ 2147483647 w 219"/>
                <a:gd name="T37" fmla="*/ 2147483647 h 259"/>
                <a:gd name="T38" fmla="*/ 2147483647 w 219"/>
                <a:gd name="T39" fmla="*/ 2147483647 h 259"/>
                <a:gd name="T40" fmla="*/ 2147483647 w 219"/>
                <a:gd name="T41" fmla="*/ 2147483647 h 259"/>
                <a:gd name="T42" fmla="*/ 2147483647 w 219"/>
                <a:gd name="T43" fmla="*/ 2147483647 h 259"/>
                <a:gd name="T44" fmla="*/ 2147483647 w 219"/>
                <a:gd name="T45" fmla="*/ 0 h 259"/>
                <a:gd name="T46" fmla="*/ 2147483647 w 219"/>
                <a:gd name="T47" fmla="*/ 2147483647 h 259"/>
                <a:gd name="T48" fmla="*/ 2147483647 w 219"/>
                <a:gd name="T49" fmla="*/ 2147483647 h 259"/>
                <a:gd name="T50" fmla="*/ 2147483647 w 219"/>
                <a:gd name="T51" fmla="*/ 2147483647 h 259"/>
                <a:gd name="T52" fmla="*/ 2147483647 w 219"/>
                <a:gd name="T53" fmla="*/ 2147483647 h 259"/>
                <a:gd name="T54" fmla="*/ 2147483647 w 219"/>
                <a:gd name="T55" fmla="*/ 2147483647 h 259"/>
                <a:gd name="T56" fmla="*/ 2147483647 w 219"/>
                <a:gd name="T57" fmla="*/ 2147483647 h 259"/>
                <a:gd name="T58" fmla="*/ 2147483647 w 219"/>
                <a:gd name="T59" fmla="*/ 2147483647 h 259"/>
                <a:gd name="T60" fmla="*/ 2147483647 w 219"/>
                <a:gd name="T61" fmla="*/ 2147483647 h 259"/>
                <a:gd name="T62" fmla="*/ 2147483647 w 219"/>
                <a:gd name="T63" fmla="*/ 2147483647 h 259"/>
                <a:gd name="T64" fmla="*/ 2147483647 w 219"/>
                <a:gd name="T65" fmla="*/ 2147483647 h 259"/>
                <a:gd name="T66" fmla="*/ 2147483647 w 219"/>
                <a:gd name="T67" fmla="*/ 2147483647 h 259"/>
                <a:gd name="T68" fmla="*/ 2147483647 w 219"/>
                <a:gd name="T69" fmla="*/ 2147483647 h 25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9"/>
                <a:gd name="T106" fmla="*/ 0 h 259"/>
                <a:gd name="T107" fmla="*/ 219 w 219"/>
                <a:gd name="T108" fmla="*/ 259 h 25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9" h="259">
                  <a:moveTo>
                    <a:pt x="53" y="245"/>
                  </a:moveTo>
                  <a:lnTo>
                    <a:pt x="48" y="242"/>
                  </a:lnTo>
                  <a:lnTo>
                    <a:pt x="29" y="259"/>
                  </a:lnTo>
                  <a:lnTo>
                    <a:pt x="21" y="245"/>
                  </a:lnTo>
                  <a:lnTo>
                    <a:pt x="0" y="223"/>
                  </a:lnTo>
                  <a:lnTo>
                    <a:pt x="12" y="207"/>
                  </a:lnTo>
                  <a:lnTo>
                    <a:pt x="23" y="211"/>
                  </a:lnTo>
                  <a:lnTo>
                    <a:pt x="25" y="196"/>
                  </a:lnTo>
                  <a:lnTo>
                    <a:pt x="12" y="179"/>
                  </a:lnTo>
                  <a:lnTo>
                    <a:pt x="29" y="181"/>
                  </a:lnTo>
                  <a:lnTo>
                    <a:pt x="44" y="170"/>
                  </a:lnTo>
                  <a:lnTo>
                    <a:pt x="63" y="185"/>
                  </a:lnTo>
                  <a:lnTo>
                    <a:pt x="99" y="173"/>
                  </a:lnTo>
                  <a:lnTo>
                    <a:pt x="101" y="152"/>
                  </a:lnTo>
                  <a:lnTo>
                    <a:pt x="86" y="105"/>
                  </a:lnTo>
                  <a:lnTo>
                    <a:pt x="101" y="95"/>
                  </a:lnTo>
                  <a:lnTo>
                    <a:pt x="95" y="80"/>
                  </a:lnTo>
                  <a:lnTo>
                    <a:pt x="65" y="80"/>
                  </a:lnTo>
                  <a:lnTo>
                    <a:pt x="71" y="50"/>
                  </a:lnTo>
                  <a:lnTo>
                    <a:pt x="112" y="54"/>
                  </a:lnTo>
                  <a:lnTo>
                    <a:pt x="145" y="63"/>
                  </a:lnTo>
                  <a:lnTo>
                    <a:pt x="148" y="23"/>
                  </a:lnTo>
                  <a:lnTo>
                    <a:pt x="190" y="0"/>
                  </a:lnTo>
                  <a:lnTo>
                    <a:pt x="219" y="4"/>
                  </a:lnTo>
                  <a:lnTo>
                    <a:pt x="219" y="16"/>
                  </a:lnTo>
                  <a:lnTo>
                    <a:pt x="200" y="76"/>
                  </a:lnTo>
                  <a:lnTo>
                    <a:pt x="194" y="135"/>
                  </a:lnTo>
                  <a:lnTo>
                    <a:pt x="154" y="177"/>
                  </a:lnTo>
                  <a:lnTo>
                    <a:pt x="150" y="207"/>
                  </a:lnTo>
                  <a:lnTo>
                    <a:pt x="141" y="232"/>
                  </a:lnTo>
                  <a:lnTo>
                    <a:pt x="114" y="255"/>
                  </a:lnTo>
                  <a:lnTo>
                    <a:pt x="101" y="245"/>
                  </a:lnTo>
                  <a:lnTo>
                    <a:pt x="82" y="242"/>
                  </a:lnTo>
                  <a:lnTo>
                    <a:pt x="72" y="255"/>
                  </a:lnTo>
                  <a:lnTo>
                    <a:pt x="53" y="24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1" name="Freeform 187"/>
            <p:cNvSpPr>
              <a:spLocks/>
            </p:cNvSpPr>
            <p:nvPr/>
          </p:nvSpPr>
          <p:spPr bwMode="auto">
            <a:xfrm>
              <a:off x="3353134" y="4846296"/>
              <a:ext cx="42999" cy="41905"/>
            </a:xfrm>
            <a:custGeom>
              <a:avLst/>
              <a:gdLst>
                <a:gd name="T0" fmla="*/ 2147483647 w 80"/>
                <a:gd name="T1" fmla="*/ 2147483647 h 68"/>
                <a:gd name="T2" fmla="*/ 0 w 80"/>
                <a:gd name="T3" fmla="*/ 2147483647 h 68"/>
                <a:gd name="T4" fmla="*/ 2147483647 w 80"/>
                <a:gd name="T5" fmla="*/ 2147483647 h 68"/>
                <a:gd name="T6" fmla="*/ 2147483647 w 80"/>
                <a:gd name="T7" fmla="*/ 0 h 68"/>
                <a:gd name="T8" fmla="*/ 2147483647 w 80"/>
                <a:gd name="T9" fmla="*/ 2147483647 h 68"/>
                <a:gd name="T10" fmla="*/ 2147483647 w 80"/>
                <a:gd name="T11" fmla="*/ 2147483647 h 68"/>
                <a:gd name="T12" fmla="*/ 2147483647 w 80"/>
                <a:gd name="T13" fmla="*/ 2147483647 h 68"/>
                <a:gd name="T14" fmla="*/ 2147483647 w 80"/>
                <a:gd name="T15" fmla="*/ 2147483647 h 68"/>
                <a:gd name="T16" fmla="*/ 2147483647 w 80"/>
                <a:gd name="T17" fmla="*/ 2147483647 h 6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0"/>
                <a:gd name="T28" fmla="*/ 0 h 68"/>
                <a:gd name="T29" fmla="*/ 80 w 80"/>
                <a:gd name="T30" fmla="*/ 68 h 6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0" h="68">
                  <a:moveTo>
                    <a:pt x="15" y="59"/>
                  </a:moveTo>
                  <a:lnTo>
                    <a:pt x="0" y="34"/>
                  </a:lnTo>
                  <a:lnTo>
                    <a:pt x="21" y="10"/>
                  </a:lnTo>
                  <a:lnTo>
                    <a:pt x="53" y="0"/>
                  </a:lnTo>
                  <a:lnTo>
                    <a:pt x="80" y="29"/>
                  </a:lnTo>
                  <a:lnTo>
                    <a:pt x="57" y="49"/>
                  </a:lnTo>
                  <a:lnTo>
                    <a:pt x="36" y="53"/>
                  </a:lnTo>
                  <a:lnTo>
                    <a:pt x="29" y="68"/>
                  </a:lnTo>
                  <a:lnTo>
                    <a:pt x="15" y="5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2" name="Freeform 188"/>
            <p:cNvSpPr>
              <a:spLocks/>
            </p:cNvSpPr>
            <p:nvPr/>
          </p:nvSpPr>
          <p:spPr bwMode="auto">
            <a:xfrm>
              <a:off x="2757765" y="4163013"/>
              <a:ext cx="65050" cy="72170"/>
            </a:xfrm>
            <a:custGeom>
              <a:avLst/>
              <a:gdLst>
                <a:gd name="T0" fmla="*/ 2147483647 w 120"/>
                <a:gd name="T1" fmla="*/ 2147483647 h 116"/>
                <a:gd name="T2" fmla="*/ 2147483647 w 120"/>
                <a:gd name="T3" fmla="*/ 2147483647 h 116"/>
                <a:gd name="T4" fmla="*/ 2147483647 w 120"/>
                <a:gd name="T5" fmla="*/ 2147483647 h 116"/>
                <a:gd name="T6" fmla="*/ 2147483647 w 120"/>
                <a:gd name="T7" fmla="*/ 2147483647 h 116"/>
                <a:gd name="T8" fmla="*/ 2147483647 w 120"/>
                <a:gd name="T9" fmla="*/ 2147483647 h 116"/>
                <a:gd name="T10" fmla="*/ 2147483647 w 120"/>
                <a:gd name="T11" fmla="*/ 2147483647 h 116"/>
                <a:gd name="T12" fmla="*/ 0 w 120"/>
                <a:gd name="T13" fmla="*/ 2147483647 h 116"/>
                <a:gd name="T14" fmla="*/ 2147483647 w 120"/>
                <a:gd name="T15" fmla="*/ 2147483647 h 116"/>
                <a:gd name="T16" fmla="*/ 2147483647 w 120"/>
                <a:gd name="T17" fmla="*/ 2147483647 h 116"/>
                <a:gd name="T18" fmla="*/ 2147483647 w 120"/>
                <a:gd name="T19" fmla="*/ 2147483647 h 116"/>
                <a:gd name="T20" fmla="*/ 2147483647 w 120"/>
                <a:gd name="T21" fmla="*/ 2147483647 h 116"/>
                <a:gd name="T22" fmla="*/ 2147483647 w 120"/>
                <a:gd name="T23" fmla="*/ 0 h 116"/>
                <a:gd name="T24" fmla="*/ 2147483647 w 120"/>
                <a:gd name="T25" fmla="*/ 2147483647 h 116"/>
                <a:gd name="T26" fmla="*/ 2147483647 w 120"/>
                <a:gd name="T27" fmla="*/ 2147483647 h 116"/>
                <a:gd name="T28" fmla="*/ 2147483647 w 120"/>
                <a:gd name="T29" fmla="*/ 2147483647 h 116"/>
                <a:gd name="T30" fmla="*/ 2147483647 w 120"/>
                <a:gd name="T31" fmla="*/ 2147483647 h 11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0"/>
                <a:gd name="T49" fmla="*/ 0 h 116"/>
                <a:gd name="T50" fmla="*/ 120 w 120"/>
                <a:gd name="T51" fmla="*/ 116 h 11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0" h="116">
                  <a:moveTo>
                    <a:pt x="90" y="15"/>
                  </a:moveTo>
                  <a:lnTo>
                    <a:pt x="90" y="48"/>
                  </a:lnTo>
                  <a:lnTo>
                    <a:pt x="120" y="68"/>
                  </a:lnTo>
                  <a:lnTo>
                    <a:pt x="116" y="116"/>
                  </a:lnTo>
                  <a:lnTo>
                    <a:pt x="95" y="112"/>
                  </a:lnTo>
                  <a:lnTo>
                    <a:pt x="21" y="49"/>
                  </a:lnTo>
                  <a:lnTo>
                    <a:pt x="0" y="44"/>
                  </a:lnTo>
                  <a:lnTo>
                    <a:pt x="10" y="34"/>
                  </a:lnTo>
                  <a:lnTo>
                    <a:pt x="25" y="29"/>
                  </a:lnTo>
                  <a:lnTo>
                    <a:pt x="27" y="19"/>
                  </a:lnTo>
                  <a:lnTo>
                    <a:pt x="40" y="15"/>
                  </a:lnTo>
                  <a:lnTo>
                    <a:pt x="38" y="0"/>
                  </a:lnTo>
                  <a:lnTo>
                    <a:pt x="65" y="2"/>
                  </a:lnTo>
                  <a:lnTo>
                    <a:pt x="65" y="25"/>
                  </a:lnTo>
                  <a:lnTo>
                    <a:pt x="80" y="29"/>
                  </a:lnTo>
                  <a:lnTo>
                    <a:pt x="90" y="1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3" name="Freeform 189"/>
            <p:cNvSpPr>
              <a:spLocks/>
            </p:cNvSpPr>
            <p:nvPr/>
          </p:nvSpPr>
          <p:spPr bwMode="auto">
            <a:xfrm>
              <a:off x="3075295" y="3679941"/>
              <a:ext cx="248071" cy="282858"/>
            </a:xfrm>
            <a:custGeom>
              <a:avLst/>
              <a:gdLst>
                <a:gd name="T0" fmla="*/ 2147483647 w 454"/>
                <a:gd name="T1" fmla="*/ 2147483647 h 454"/>
                <a:gd name="T2" fmla="*/ 2147483647 w 454"/>
                <a:gd name="T3" fmla="*/ 2147483647 h 454"/>
                <a:gd name="T4" fmla="*/ 2147483647 w 454"/>
                <a:gd name="T5" fmla="*/ 2147483647 h 454"/>
                <a:gd name="T6" fmla="*/ 2147483647 w 454"/>
                <a:gd name="T7" fmla="*/ 2147483647 h 454"/>
                <a:gd name="T8" fmla="*/ 2147483647 w 454"/>
                <a:gd name="T9" fmla="*/ 2147483647 h 454"/>
                <a:gd name="T10" fmla="*/ 2147483647 w 454"/>
                <a:gd name="T11" fmla="*/ 2147483647 h 454"/>
                <a:gd name="T12" fmla="*/ 2147483647 w 454"/>
                <a:gd name="T13" fmla="*/ 2147483647 h 454"/>
                <a:gd name="T14" fmla="*/ 2147483647 w 454"/>
                <a:gd name="T15" fmla="*/ 2147483647 h 454"/>
                <a:gd name="T16" fmla="*/ 2147483647 w 454"/>
                <a:gd name="T17" fmla="*/ 2147483647 h 454"/>
                <a:gd name="T18" fmla="*/ 2147483647 w 454"/>
                <a:gd name="T19" fmla="*/ 2147483647 h 454"/>
                <a:gd name="T20" fmla="*/ 2147483647 w 454"/>
                <a:gd name="T21" fmla="*/ 2147483647 h 454"/>
                <a:gd name="T22" fmla="*/ 2147483647 w 454"/>
                <a:gd name="T23" fmla="*/ 2147483647 h 454"/>
                <a:gd name="T24" fmla="*/ 2147483647 w 454"/>
                <a:gd name="T25" fmla="*/ 2147483647 h 454"/>
                <a:gd name="T26" fmla="*/ 2147483647 w 454"/>
                <a:gd name="T27" fmla="*/ 2147483647 h 454"/>
                <a:gd name="T28" fmla="*/ 2147483647 w 454"/>
                <a:gd name="T29" fmla="*/ 2147483647 h 454"/>
                <a:gd name="T30" fmla="*/ 2147483647 w 454"/>
                <a:gd name="T31" fmla="*/ 2147483647 h 454"/>
                <a:gd name="T32" fmla="*/ 2147483647 w 454"/>
                <a:gd name="T33" fmla="*/ 2147483647 h 454"/>
                <a:gd name="T34" fmla="*/ 2147483647 w 454"/>
                <a:gd name="T35" fmla="*/ 2147483647 h 454"/>
                <a:gd name="T36" fmla="*/ 2147483647 w 454"/>
                <a:gd name="T37" fmla="*/ 2147483647 h 454"/>
                <a:gd name="T38" fmla="*/ 0 w 454"/>
                <a:gd name="T39" fmla="*/ 2147483647 h 454"/>
                <a:gd name="T40" fmla="*/ 2147483647 w 454"/>
                <a:gd name="T41" fmla="*/ 2147483647 h 454"/>
                <a:gd name="T42" fmla="*/ 2147483647 w 454"/>
                <a:gd name="T43" fmla="*/ 2147483647 h 454"/>
                <a:gd name="T44" fmla="*/ 2147483647 w 454"/>
                <a:gd name="T45" fmla="*/ 2147483647 h 454"/>
                <a:gd name="T46" fmla="*/ 2147483647 w 454"/>
                <a:gd name="T47" fmla="*/ 2147483647 h 454"/>
                <a:gd name="T48" fmla="*/ 0 w 454"/>
                <a:gd name="T49" fmla="*/ 2147483647 h 454"/>
                <a:gd name="T50" fmla="*/ 2147483647 w 454"/>
                <a:gd name="T51" fmla="*/ 2147483647 h 454"/>
                <a:gd name="T52" fmla="*/ 2147483647 w 454"/>
                <a:gd name="T53" fmla="*/ 2147483647 h 454"/>
                <a:gd name="T54" fmla="*/ 2147483647 w 454"/>
                <a:gd name="T55" fmla="*/ 2147483647 h 454"/>
                <a:gd name="T56" fmla="*/ 2147483647 w 454"/>
                <a:gd name="T57" fmla="*/ 2147483647 h 454"/>
                <a:gd name="T58" fmla="*/ 2147483647 w 454"/>
                <a:gd name="T59" fmla="*/ 2147483647 h 454"/>
                <a:gd name="T60" fmla="*/ 2147483647 w 454"/>
                <a:gd name="T61" fmla="*/ 2147483647 h 454"/>
                <a:gd name="T62" fmla="*/ 2147483647 w 454"/>
                <a:gd name="T63" fmla="*/ 0 h 454"/>
                <a:gd name="T64" fmla="*/ 2147483647 w 454"/>
                <a:gd name="T65" fmla="*/ 2147483647 h 454"/>
                <a:gd name="T66" fmla="*/ 2147483647 w 454"/>
                <a:gd name="T67" fmla="*/ 2147483647 h 454"/>
                <a:gd name="T68" fmla="*/ 2147483647 w 454"/>
                <a:gd name="T69" fmla="*/ 2147483647 h 454"/>
                <a:gd name="T70" fmla="*/ 2147483647 w 454"/>
                <a:gd name="T71" fmla="*/ 2147483647 h 454"/>
                <a:gd name="T72" fmla="*/ 2147483647 w 454"/>
                <a:gd name="T73" fmla="*/ 2147483647 h 454"/>
                <a:gd name="T74" fmla="*/ 2147483647 w 454"/>
                <a:gd name="T75" fmla="*/ 2147483647 h 454"/>
                <a:gd name="T76" fmla="*/ 2147483647 w 454"/>
                <a:gd name="T77" fmla="*/ 2147483647 h 454"/>
                <a:gd name="T78" fmla="*/ 2147483647 w 454"/>
                <a:gd name="T79" fmla="*/ 2147483647 h 454"/>
                <a:gd name="T80" fmla="*/ 2147483647 w 454"/>
                <a:gd name="T81" fmla="*/ 2147483647 h 454"/>
                <a:gd name="T82" fmla="*/ 2147483647 w 454"/>
                <a:gd name="T83" fmla="*/ 2147483647 h 454"/>
                <a:gd name="T84" fmla="*/ 2147483647 w 454"/>
                <a:gd name="T85" fmla="*/ 2147483647 h 454"/>
                <a:gd name="T86" fmla="*/ 2147483647 w 454"/>
                <a:gd name="T87" fmla="*/ 2147483647 h 454"/>
                <a:gd name="T88" fmla="*/ 2147483647 w 454"/>
                <a:gd name="T89" fmla="*/ 2147483647 h 454"/>
                <a:gd name="T90" fmla="*/ 2147483647 w 454"/>
                <a:gd name="T91" fmla="*/ 2147483647 h 454"/>
                <a:gd name="T92" fmla="*/ 2147483647 w 454"/>
                <a:gd name="T93" fmla="*/ 2147483647 h 45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4"/>
                <a:gd name="T142" fmla="*/ 0 h 454"/>
                <a:gd name="T143" fmla="*/ 454 w 454"/>
                <a:gd name="T144" fmla="*/ 454 h 45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4" h="454">
                  <a:moveTo>
                    <a:pt x="454" y="57"/>
                  </a:moveTo>
                  <a:lnTo>
                    <a:pt x="439" y="84"/>
                  </a:lnTo>
                  <a:lnTo>
                    <a:pt x="450" y="103"/>
                  </a:lnTo>
                  <a:lnTo>
                    <a:pt x="439" y="122"/>
                  </a:lnTo>
                  <a:lnTo>
                    <a:pt x="450" y="139"/>
                  </a:lnTo>
                  <a:lnTo>
                    <a:pt x="450" y="378"/>
                  </a:lnTo>
                  <a:lnTo>
                    <a:pt x="452" y="433"/>
                  </a:lnTo>
                  <a:lnTo>
                    <a:pt x="416" y="433"/>
                  </a:lnTo>
                  <a:lnTo>
                    <a:pt x="414" y="454"/>
                  </a:lnTo>
                  <a:lnTo>
                    <a:pt x="188" y="321"/>
                  </a:lnTo>
                  <a:lnTo>
                    <a:pt x="171" y="338"/>
                  </a:lnTo>
                  <a:lnTo>
                    <a:pt x="144" y="355"/>
                  </a:lnTo>
                  <a:lnTo>
                    <a:pt x="131" y="331"/>
                  </a:lnTo>
                  <a:lnTo>
                    <a:pt x="89" y="331"/>
                  </a:lnTo>
                  <a:lnTo>
                    <a:pt x="87" y="321"/>
                  </a:lnTo>
                  <a:lnTo>
                    <a:pt x="49" y="289"/>
                  </a:lnTo>
                  <a:lnTo>
                    <a:pt x="36" y="295"/>
                  </a:lnTo>
                  <a:lnTo>
                    <a:pt x="19" y="285"/>
                  </a:lnTo>
                  <a:lnTo>
                    <a:pt x="25" y="272"/>
                  </a:lnTo>
                  <a:lnTo>
                    <a:pt x="0" y="239"/>
                  </a:lnTo>
                  <a:lnTo>
                    <a:pt x="11" y="222"/>
                  </a:lnTo>
                  <a:lnTo>
                    <a:pt x="17" y="198"/>
                  </a:lnTo>
                  <a:lnTo>
                    <a:pt x="7" y="173"/>
                  </a:lnTo>
                  <a:lnTo>
                    <a:pt x="7" y="131"/>
                  </a:lnTo>
                  <a:lnTo>
                    <a:pt x="0" y="118"/>
                  </a:lnTo>
                  <a:lnTo>
                    <a:pt x="11" y="108"/>
                  </a:lnTo>
                  <a:lnTo>
                    <a:pt x="34" y="101"/>
                  </a:lnTo>
                  <a:lnTo>
                    <a:pt x="38" y="55"/>
                  </a:lnTo>
                  <a:lnTo>
                    <a:pt x="51" y="42"/>
                  </a:lnTo>
                  <a:lnTo>
                    <a:pt x="68" y="32"/>
                  </a:lnTo>
                  <a:lnTo>
                    <a:pt x="68" y="12"/>
                  </a:lnTo>
                  <a:lnTo>
                    <a:pt x="78" y="0"/>
                  </a:lnTo>
                  <a:lnTo>
                    <a:pt x="91" y="8"/>
                  </a:lnTo>
                  <a:lnTo>
                    <a:pt x="140" y="13"/>
                  </a:lnTo>
                  <a:lnTo>
                    <a:pt x="169" y="31"/>
                  </a:lnTo>
                  <a:lnTo>
                    <a:pt x="178" y="61"/>
                  </a:lnTo>
                  <a:lnTo>
                    <a:pt x="190" y="69"/>
                  </a:lnTo>
                  <a:lnTo>
                    <a:pt x="249" y="84"/>
                  </a:lnTo>
                  <a:lnTo>
                    <a:pt x="285" y="101"/>
                  </a:lnTo>
                  <a:lnTo>
                    <a:pt x="304" y="82"/>
                  </a:lnTo>
                  <a:lnTo>
                    <a:pt x="302" y="40"/>
                  </a:lnTo>
                  <a:lnTo>
                    <a:pt x="344" y="8"/>
                  </a:lnTo>
                  <a:lnTo>
                    <a:pt x="359" y="12"/>
                  </a:lnTo>
                  <a:lnTo>
                    <a:pt x="388" y="23"/>
                  </a:lnTo>
                  <a:lnTo>
                    <a:pt x="386" y="34"/>
                  </a:lnTo>
                  <a:lnTo>
                    <a:pt x="446" y="46"/>
                  </a:lnTo>
                  <a:lnTo>
                    <a:pt x="454" y="5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4" name="Freeform 190"/>
            <p:cNvSpPr>
              <a:spLocks/>
            </p:cNvSpPr>
            <p:nvPr/>
          </p:nvSpPr>
          <p:spPr bwMode="auto">
            <a:xfrm>
              <a:off x="3604512" y="4525025"/>
              <a:ext cx="112459" cy="266562"/>
            </a:xfrm>
            <a:custGeom>
              <a:avLst/>
              <a:gdLst>
                <a:gd name="T0" fmla="*/ 2147483647 w 205"/>
                <a:gd name="T1" fmla="*/ 2147483647 h 430"/>
                <a:gd name="T2" fmla="*/ 2147483647 w 205"/>
                <a:gd name="T3" fmla="*/ 2147483647 h 430"/>
                <a:gd name="T4" fmla="*/ 2147483647 w 205"/>
                <a:gd name="T5" fmla="*/ 2147483647 h 430"/>
                <a:gd name="T6" fmla="*/ 2147483647 w 205"/>
                <a:gd name="T7" fmla="*/ 2147483647 h 430"/>
                <a:gd name="T8" fmla="*/ 2147483647 w 205"/>
                <a:gd name="T9" fmla="*/ 2147483647 h 430"/>
                <a:gd name="T10" fmla="*/ 2147483647 w 205"/>
                <a:gd name="T11" fmla="*/ 2147483647 h 430"/>
                <a:gd name="T12" fmla="*/ 2147483647 w 205"/>
                <a:gd name="T13" fmla="*/ 2147483647 h 430"/>
                <a:gd name="T14" fmla="*/ 2147483647 w 205"/>
                <a:gd name="T15" fmla="*/ 2147483647 h 430"/>
                <a:gd name="T16" fmla="*/ 2147483647 w 205"/>
                <a:gd name="T17" fmla="*/ 0 h 430"/>
                <a:gd name="T18" fmla="*/ 2147483647 w 205"/>
                <a:gd name="T19" fmla="*/ 2147483647 h 430"/>
                <a:gd name="T20" fmla="*/ 2147483647 w 205"/>
                <a:gd name="T21" fmla="*/ 2147483647 h 430"/>
                <a:gd name="T22" fmla="*/ 2147483647 w 205"/>
                <a:gd name="T23" fmla="*/ 2147483647 h 430"/>
                <a:gd name="T24" fmla="*/ 2147483647 w 205"/>
                <a:gd name="T25" fmla="*/ 2147483647 h 430"/>
                <a:gd name="T26" fmla="*/ 2147483647 w 205"/>
                <a:gd name="T27" fmla="*/ 2147483647 h 430"/>
                <a:gd name="T28" fmla="*/ 2147483647 w 205"/>
                <a:gd name="T29" fmla="*/ 2147483647 h 430"/>
                <a:gd name="T30" fmla="*/ 2147483647 w 205"/>
                <a:gd name="T31" fmla="*/ 2147483647 h 430"/>
                <a:gd name="T32" fmla="*/ 2147483647 w 205"/>
                <a:gd name="T33" fmla="*/ 2147483647 h 430"/>
                <a:gd name="T34" fmla="*/ 2147483647 w 205"/>
                <a:gd name="T35" fmla="*/ 2147483647 h 430"/>
                <a:gd name="T36" fmla="*/ 2147483647 w 205"/>
                <a:gd name="T37" fmla="*/ 2147483647 h 430"/>
                <a:gd name="T38" fmla="*/ 2147483647 w 205"/>
                <a:gd name="T39" fmla="*/ 2147483647 h 430"/>
                <a:gd name="T40" fmla="*/ 2147483647 w 205"/>
                <a:gd name="T41" fmla="*/ 2147483647 h 430"/>
                <a:gd name="T42" fmla="*/ 2147483647 w 205"/>
                <a:gd name="T43" fmla="*/ 2147483647 h 430"/>
                <a:gd name="T44" fmla="*/ 2147483647 w 205"/>
                <a:gd name="T45" fmla="*/ 2147483647 h 430"/>
                <a:gd name="T46" fmla="*/ 2147483647 w 205"/>
                <a:gd name="T47" fmla="*/ 2147483647 h 430"/>
                <a:gd name="T48" fmla="*/ 2147483647 w 205"/>
                <a:gd name="T49" fmla="*/ 2147483647 h 430"/>
                <a:gd name="T50" fmla="*/ 0 w 205"/>
                <a:gd name="T51" fmla="*/ 2147483647 h 430"/>
                <a:gd name="T52" fmla="*/ 2147483647 w 205"/>
                <a:gd name="T53" fmla="*/ 2147483647 h 430"/>
                <a:gd name="T54" fmla="*/ 2147483647 w 205"/>
                <a:gd name="T55" fmla="*/ 2147483647 h 430"/>
                <a:gd name="T56" fmla="*/ 2147483647 w 205"/>
                <a:gd name="T57" fmla="*/ 2147483647 h 430"/>
                <a:gd name="T58" fmla="*/ 2147483647 w 205"/>
                <a:gd name="T59" fmla="*/ 2147483647 h 430"/>
                <a:gd name="T60" fmla="*/ 2147483647 w 205"/>
                <a:gd name="T61" fmla="*/ 2147483647 h 430"/>
                <a:gd name="T62" fmla="*/ 2147483647 w 205"/>
                <a:gd name="T63" fmla="*/ 2147483647 h 430"/>
                <a:gd name="T64" fmla="*/ 2147483647 w 205"/>
                <a:gd name="T65" fmla="*/ 2147483647 h 43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05"/>
                <a:gd name="T100" fmla="*/ 0 h 430"/>
                <a:gd name="T101" fmla="*/ 205 w 205"/>
                <a:gd name="T102" fmla="*/ 430 h 43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05" h="430">
                  <a:moveTo>
                    <a:pt x="30" y="131"/>
                  </a:moveTo>
                  <a:lnTo>
                    <a:pt x="51" y="131"/>
                  </a:lnTo>
                  <a:lnTo>
                    <a:pt x="106" y="107"/>
                  </a:lnTo>
                  <a:lnTo>
                    <a:pt x="137" y="69"/>
                  </a:lnTo>
                  <a:lnTo>
                    <a:pt x="131" y="50"/>
                  </a:lnTo>
                  <a:lnTo>
                    <a:pt x="146" y="48"/>
                  </a:lnTo>
                  <a:lnTo>
                    <a:pt x="160" y="38"/>
                  </a:lnTo>
                  <a:lnTo>
                    <a:pt x="158" y="21"/>
                  </a:lnTo>
                  <a:lnTo>
                    <a:pt x="173" y="0"/>
                  </a:lnTo>
                  <a:lnTo>
                    <a:pt x="198" y="59"/>
                  </a:lnTo>
                  <a:lnTo>
                    <a:pt x="194" y="74"/>
                  </a:lnTo>
                  <a:lnTo>
                    <a:pt x="205" y="111"/>
                  </a:lnTo>
                  <a:lnTo>
                    <a:pt x="194" y="135"/>
                  </a:lnTo>
                  <a:lnTo>
                    <a:pt x="182" y="116"/>
                  </a:lnTo>
                  <a:lnTo>
                    <a:pt x="188" y="143"/>
                  </a:lnTo>
                  <a:lnTo>
                    <a:pt x="179" y="162"/>
                  </a:lnTo>
                  <a:lnTo>
                    <a:pt x="179" y="190"/>
                  </a:lnTo>
                  <a:lnTo>
                    <a:pt x="144" y="299"/>
                  </a:lnTo>
                  <a:lnTo>
                    <a:pt x="137" y="340"/>
                  </a:lnTo>
                  <a:lnTo>
                    <a:pt x="112" y="409"/>
                  </a:lnTo>
                  <a:lnTo>
                    <a:pt x="74" y="414"/>
                  </a:lnTo>
                  <a:lnTo>
                    <a:pt x="47" y="430"/>
                  </a:lnTo>
                  <a:lnTo>
                    <a:pt x="13" y="394"/>
                  </a:lnTo>
                  <a:lnTo>
                    <a:pt x="9" y="369"/>
                  </a:lnTo>
                  <a:lnTo>
                    <a:pt x="13" y="359"/>
                  </a:lnTo>
                  <a:lnTo>
                    <a:pt x="0" y="327"/>
                  </a:lnTo>
                  <a:lnTo>
                    <a:pt x="2" y="308"/>
                  </a:lnTo>
                  <a:lnTo>
                    <a:pt x="6" y="293"/>
                  </a:lnTo>
                  <a:lnTo>
                    <a:pt x="13" y="283"/>
                  </a:lnTo>
                  <a:lnTo>
                    <a:pt x="32" y="240"/>
                  </a:lnTo>
                  <a:lnTo>
                    <a:pt x="17" y="173"/>
                  </a:lnTo>
                  <a:lnTo>
                    <a:pt x="30" y="154"/>
                  </a:lnTo>
                  <a:lnTo>
                    <a:pt x="30" y="13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5" name="Freeform 191"/>
            <p:cNvSpPr>
              <a:spLocks/>
            </p:cNvSpPr>
            <p:nvPr/>
          </p:nvSpPr>
          <p:spPr bwMode="auto">
            <a:xfrm>
              <a:off x="3441337" y="4478464"/>
              <a:ext cx="45204" cy="144339"/>
            </a:xfrm>
            <a:custGeom>
              <a:avLst/>
              <a:gdLst>
                <a:gd name="T0" fmla="*/ 2147483647 w 81"/>
                <a:gd name="T1" fmla="*/ 2147483647 h 232"/>
                <a:gd name="T2" fmla="*/ 2147483647 w 81"/>
                <a:gd name="T3" fmla="*/ 2147483647 h 232"/>
                <a:gd name="T4" fmla="*/ 2147483647 w 81"/>
                <a:gd name="T5" fmla="*/ 2147483647 h 232"/>
                <a:gd name="T6" fmla="*/ 2147483647 w 81"/>
                <a:gd name="T7" fmla="*/ 2147483647 h 232"/>
                <a:gd name="T8" fmla="*/ 2147483647 w 81"/>
                <a:gd name="T9" fmla="*/ 2147483647 h 232"/>
                <a:gd name="T10" fmla="*/ 2147483647 w 81"/>
                <a:gd name="T11" fmla="*/ 2147483647 h 232"/>
                <a:gd name="T12" fmla="*/ 2147483647 w 81"/>
                <a:gd name="T13" fmla="*/ 2147483647 h 232"/>
                <a:gd name="T14" fmla="*/ 2147483647 w 81"/>
                <a:gd name="T15" fmla="*/ 2147483647 h 232"/>
                <a:gd name="T16" fmla="*/ 2147483647 w 81"/>
                <a:gd name="T17" fmla="*/ 2147483647 h 232"/>
                <a:gd name="T18" fmla="*/ 2147483647 w 81"/>
                <a:gd name="T19" fmla="*/ 2147483647 h 232"/>
                <a:gd name="T20" fmla="*/ 2147483647 w 81"/>
                <a:gd name="T21" fmla="*/ 2147483647 h 232"/>
                <a:gd name="T22" fmla="*/ 2147483647 w 81"/>
                <a:gd name="T23" fmla="*/ 2147483647 h 232"/>
                <a:gd name="T24" fmla="*/ 2147483647 w 81"/>
                <a:gd name="T25" fmla="*/ 2147483647 h 232"/>
                <a:gd name="T26" fmla="*/ 2147483647 w 81"/>
                <a:gd name="T27" fmla="*/ 2147483647 h 232"/>
                <a:gd name="T28" fmla="*/ 2147483647 w 81"/>
                <a:gd name="T29" fmla="*/ 2147483647 h 232"/>
                <a:gd name="T30" fmla="*/ 2147483647 w 81"/>
                <a:gd name="T31" fmla="*/ 2147483647 h 232"/>
                <a:gd name="T32" fmla="*/ 2147483647 w 81"/>
                <a:gd name="T33" fmla="*/ 2147483647 h 232"/>
                <a:gd name="T34" fmla="*/ 2147483647 w 81"/>
                <a:gd name="T35" fmla="*/ 2147483647 h 232"/>
                <a:gd name="T36" fmla="*/ 2147483647 w 81"/>
                <a:gd name="T37" fmla="*/ 2147483647 h 232"/>
                <a:gd name="T38" fmla="*/ 2147483647 w 81"/>
                <a:gd name="T39" fmla="*/ 2147483647 h 232"/>
                <a:gd name="T40" fmla="*/ 2147483647 w 81"/>
                <a:gd name="T41" fmla="*/ 2147483647 h 232"/>
                <a:gd name="T42" fmla="*/ 2147483647 w 81"/>
                <a:gd name="T43" fmla="*/ 2147483647 h 232"/>
                <a:gd name="T44" fmla="*/ 2147483647 w 81"/>
                <a:gd name="T45" fmla="*/ 2147483647 h 232"/>
                <a:gd name="T46" fmla="*/ 2147483647 w 81"/>
                <a:gd name="T47" fmla="*/ 2147483647 h 232"/>
                <a:gd name="T48" fmla="*/ 0 w 81"/>
                <a:gd name="T49" fmla="*/ 2147483647 h 232"/>
                <a:gd name="T50" fmla="*/ 2147483647 w 81"/>
                <a:gd name="T51" fmla="*/ 2147483647 h 232"/>
                <a:gd name="T52" fmla="*/ 2147483647 w 81"/>
                <a:gd name="T53" fmla="*/ 2147483647 h 232"/>
                <a:gd name="T54" fmla="*/ 2147483647 w 81"/>
                <a:gd name="T55" fmla="*/ 2147483647 h 232"/>
                <a:gd name="T56" fmla="*/ 2147483647 w 81"/>
                <a:gd name="T57" fmla="*/ 2147483647 h 232"/>
                <a:gd name="T58" fmla="*/ 2147483647 w 81"/>
                <a:gd name="T59" fmla="*/ 2147483647 h 232"/>
                <a:gd name="T60" fmla="*/ 2147483647 w 81"/>
                <a:gd name="T61" fmla="*/ 2147483647 h 232"/>
                <a:gd name="T62" fmla="*/ 2147483647 w 81"/>
                <a:gd name="T63" fmla="*/ 0 h 232"/>
                <a:gd name="T64" fmla="*/ 2147483647 w 81"/>
                <a:gd name="T65" fmla="*/ 2147483647 h 23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1"/>
                <a:gd name="T100" fmla="*/ 0 h 232"/>
                <a:gd name="T101" fmla="*/ 81 w 81"/>
                <a:gd name="T102" fmla="*/ 232 h 23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1" h="232">
                  <a:moveTo>
                    <a:pt x="30" y="14"/>
                  </a:moveTo>
                  <a:lnTo>
                    <a:pt x="30" y="31"/>
                  </a:lnTo>
                  <a:lnTo>
                    <a:pt x="36" y="35"/>
                  </a:lnTo>
                  <a:lnTo>
                    <a:pt x="30" y="74"/>
                  </a:lnTo>
                  <a:lnTo>
                    <a:pt x="26" y="88"/>
                  </a:lnTo>
                  <a:lnTo>
                    <a:pt x="38" y="107"/>
                  </a:lnTo>
                  <a:lnTo>
                    <a:pt x="43" y="141"/>
                  </a:lnTo>
                  <a:lnTo>
                    <a:pt x="55" y="145"/>
                  </a:lnTo>
                  <a:lnTo>
                    <a:pt x="60" y="166"/>
                  </a:lnTo>
                  <a:lnTo>
                    <a:pt x="68" y="156"/>
                  </a:lnTo>
                  <a:lnTo>
                    <a:pt x="60" y="133"/>
                  </a:lnTo>
                  <a:lnTo>
                    <a:pt x="57" y="129"/>
                  </a:lnTo>
                  <a:lnTo>
                    <a:pt x="51" y="116"/>
                  </a:lnTo>
                  <a:lnTo>
                    <a:pt x="70" y="120"/>
                  </a:lnTo>
                  <a:lnTo>
                    <a:pt x="81" y="147"/>
                  </a:lnTo>
                  <a:lnTo>
                    <a:pt x="81" y="202"/>
                  </a:lnTo>
                  <a:lnTo>
                    <a:pt x="68" y="207"/>
                  </a:lnTo>
                  <a:lnTo>
                    <a:pt x="74" y="230"/>
                  </a:lnTo>
                  <a:lnTo>
                    <a:pt x="60" y="232"/>
                  </a:lnTo>
                  <a:lnTo>
                    <a:pt x="41" y="198"/>
                  </a:lnTo>
                  <a:lnTo>
                    <a:pt x="47" y="173"/>
                  </a:lnTo>
                  <a:lnTo>
                    <a:pt x="40" y="154"/>
                  </a:lnTo>
                  <a:lnTo>
                    <a:pt x="21" y="154"/>
                  </a:lnTo>
                  <a:lnTo>
                    <a:pt x="7" y="143"/>
                  </a:lnTo>
                  <a:lnTo>
                    <a:pt x="0" y="131"/>
                  </a:lnTo>
                  <a:lnTo>
                    <a:pt x="3" y="105"/>
                  </a:lnTo>
                  <a:lnTo>
                    <a:pt x="11" y="92"/>
                  </a:lnTo>
                  <a:lnTo>
                    <a:pt x="15" y="52"/>
                  </a:lnTo>
                  <a:lnTo>
                    <a:pt x="24" y="50"/>
                  </a:lnTo>
                  <a:lnTo>
                    <a:pt x="22" y="31"/>
                  </a:lnTo>
                  <a:lnTo>
                    <a:pt x="3" y="6"/>
                  </a:lnTo>
                  <a:lnTo>
                    <a:pt x="13" y="0"/>
                  </a:lnTo>
                  <a:lnTo>
                    <a:pt x="30" y="1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6" name="Freeform 192"/>
            <p:cNvSpPr>
              <a:spLocks/>
            </p:cNvSpPr>
            <p:nvPr/>
          </p:nvSpPr>
          <p:spPr bwMode="auto">
            <a:xfrm>
              <a:off x="2746740" y="3853381"/>
              <a:ext cx="256891" cy="275874"/>
            </a:xfrm>
            <a:custGeom>
              <a:avLst/>
              <a:gdLst>
                <a:gd name="T0" fmla="*/ 2147483647 w 472"/>
                <a:gd name="T1" fmla="*/ 0 h 441"/>
                <a:gd name="T2" fmla="*/ 2147483647 w 472"/>
                <a:gd name="T3" fmla="*/ 2147483647 h 441"/>
                <a:gd name="T4" fmla="*/ 2147483647 w 472"/>
                <a:gd name="T5" fmla="*/ 2147483647 h 441"/>
                <a:gd name="T6" fmla="*/ 2147483647 w 472"/>
                <a:gd name="T7" fmla="*/ 2147483647 h 441"/>
                <a:gd name="T8" fmla="*/ 2147483647 w 472"/>
                <a:gd name="T9" fmla="*/ 2147483647 h 441"/>
                <a:gd name="T10" fmla="*/ 2147483647 w 472"/>
                <a:gd name="T11" fmla="*/ 2147483647 h 441"/>
                <a:gd name="T12" fmla="*/ 2147483647 w 472"/>
                <a:gd name="T13" fmla="*/ 2147483647 h 441"/>
                <a:gd name="T14" fmla="*/ 2147483647 w 472"/>
                <a:gd name="T15" fmla="*/ 2147483647 h 441"/>
                <a:gd name="T16" fmla="*/ 2147483647 w 472"/>
                <a:gd name="T17" fmla="*/ 2147483647 h 441"/>
                <a:gd name="T18" fmla="*/ 2147483647 w 472"/>
                <a:gd name="T19" fmla="*/ 2147483647 h 441"/>
                <a:gd name="T20" fmla="*/ 2147483647 w 472"/>
                <a:gd name="T21" fmla="*/ 2147483647 h 441"/>
                <a:gd name="T22" fmla="*/ 2147483647 w 472"/>
                <a:gd name="T23" fmla="*/ 2147483647 h 441"/>
                <a:gd name="T24" fmla="*/ 2147483647 w 472"/>
                <a:gd name="T25" fmla="*/ 2147483647 h 441"/>
                <a:gd name="T26" fmla="*/ 2147483647 w 472"/>
                <a:gd name="T27" fmla="*/ 2147483647 h 441"/>
                <a:gd name="T28" fmla="*/ 2147483647 w 472"/>
                <a:gd name="T29" fmla="*/ 2147483647 h 441"/>
                <a:gd name="T30" fmla="*/ 2147483647 w 472"/>
                <a:gd name="T31" fmla="*/ 2147483647 h 441"/>
                <a:gd name="T32" fmla="*/ 2147483647 w 472"/>
                <a:gd name="T33" fmla="*/ 2147483647 h 441"/>
                <a:gd name="T34" fmla="*/ 2147483647 w 472"/>
                <a:gd name="T35" fmla="*/ 2147483647 h 441"/>
                <a:gd name="T36" fmla="*/ 2147483647 w 472"/>
                <a:gd name="T37" fmla="*/ 2147483647 h 441"/>
                <a:gd name="T38" fmla="*/ 2147483647 w 472"/>
                <a:gd name="T39" fmla="*/ 2147483647 h 441"/>
                <a:gd name="T40" fmla="*/ 2147483647 w 472"/>
                <a:gd name="T41" fmla="*/ 2147483647 h 441"/>
                <a:gd name="T42" fmla="*/ 2147483647 w 472"/>
                <a:gd name="T43" fmla="*/ 2147483647 h 441"/>
                <a:gd name="T44" fmla="*/ 2147483647 w 472"/>
                <a:gd name="T45" fmla="*/ 2147483647 h 441"/>
                <a:gd name="T46" fmla="*/ 2147483647 w 472"/>
                <a:gd name="T47" fmla="*/ 2147483647 h 441"/>
                <a:gd name="T48" fmla="*/ 2147483647 w 472"/>
                <a:gd name="T49" fmla="*/ 2147483647 h 441"/>
                <a:gd name="T50" fmla="*/ 2147483647 w 472"/>
                <a:gd name="T51" fmla="*/ 2147483647 h 441"/>
                <a:gd name="T52" fmla="*/ 2147483647 w 472"/>
                <a:gd name="T53" fmla="*/ 2147483647 h 441"/>
                <a:gd name="T54" fmla="*/ 2147483647 w 472"/>
                <a:gd name="T55" fmla="*/ 2147483647 h 441"/>
                <a:gd name="T56" fmla="*/ 2147483647 w 472"/>
                <a:gd name="T57" fmla="*/ 2147483647 h 441"/>
                <a:gd name="T58" fmla="*/ 2147483647 w 472"/>
                <a:gd name="T59" fmla="*/ 2147483647 h 441"/>
                <a:gd name="T60" fmla="*/ 2147483647 w 472"/>
                <a:gd name="T61" fmla="*/ 2147483647 h 441"/>
                <a:gd name="T62" fmla="*/ 2147483647 w 472"/>
                <a:gd name="T63" fmla="*/ 2147483647 h 441"/>
                <a:gd name="T64" fmla="*/ 2147483647 w 472"/>
                <a:gd name="T65" fmla="*/ 2147483647 h 441"/>
                <a:gd name="T66" fmla="*/ 2147483647 w 472"/>
                <a:gd name="T67" fmla="*/ 2147483647 h 441"/>
                <a:gd name="T68" fmla="*/ 2147483647 w 472"/>
                <a:gd name="T69" fmla="*/ 2147483647 h 441"/>
                <a:gd name="T70" fmla="*/ 0 w 472"/>
                <a:gd name="T71" fmla="*/ 2147483647 h 441"/>
                <a:gd name="T72" fmla="*/ 2147483647 w 472"/>
                <a:gd name="T73" fmla="*/ 2147483647 h 441"/>
                <a:gd name="T74" fmla="*/ 2147483647 w 472"/>
                <a:gd name="T75" fmla="*/ 2147483647 h 441"/>
                <a:gd name="T76" fmla="*/ 2147483647 w 472"/>
                <a:gd name="T77" fmla="*/ 2147483647 h 441"/>
                <a:gd name="T78" fmla="*/ 2147483647 w 472"/>
                <a:gd name="T79" fmla="*/ 2147483647 h 441"/>
                <a:gd name="T80" fmla="*/ 2147483647 w 472"/>
                <a:gd name="T81" fmla="*/ 2147483647 h 441"/>
                <a:gd name="T82" fmla="*/ 2147483647 w 472"/>
                <a:gd name="T83" fmla="*/ 2147483647 h 441"/>
                <a:gd name="T84" fmla="*/ 2147483647 w 472"/>
                <a:gd name="T85" fmla="*/ 2147483647 h 441"/>
                <a:gd name="T86" fmla="*/ 2147483647 w 472"/>
                <a:gd name="T87" fmla="*/ 2147483647 h 441"/>
                <a:gd name="T88" fmla="*/ 2147483647 w 472"/>
                <a:gd name="T89" fmla="*/ 2147483647 h 441"/>
                <a:gd name="T90" fmla="*/ 2147483647 w 472"/>
                <a:gd name="T91" fmla="*/ 2147483647 h 441"/>
                <a:gd name="T92" fmla="*/ 2147483647 w 472"/>
                <a:gd name="T93" fmla="*/ 2147483647 h 441"/>
                <a:gd name="T94" fmla="*/ 2147483647 w 472"/>
                <a:gd name="T95" fmla="*/ 2147483647 h 441"/>
                <a:gd name="T96" fmla="*/ 2147483647 w 472"/>
                <a:gd name="T97" fmla="*/ 2147483647 h 441"/>
                <a:gd name="T98" fmla="*/ 2147483647 w 472"/>
                <a:gd name="T99" fmla="*/ 0 h 44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72"/>
                <a:gd name="T151" fmla="*/ 0 h 441"/>
                <a:gd name="T152" fmla="*/ 472 w 472"/>
                <a:gd name="T153" fmla="*/ 441 h 44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72" h="441">
                  <a:moveTo>
                    <a:pt x="204" y="0"/>
                  </a:moveTo>
                  <a:lnTo>
                    <a:pt x="369" y="114"/>
                  </a:lnTo>
                  <a:lnTo>
                    <a:pt x="375" y="131"/>
                  </a:lnTo>
                  <a:lnTo>
                    <a:pt x="396" y="139"/>
                  </a:lnTo>
                  <a:lnTo>
                    <a:pt x="403" y="150"/>
                  </a:lnTo>
                  <a:lnTo>
                    <a:pt x="420" y="147"/>
                  </a:lnTo>
                  <a:lnTo>
                    <a:pt x="439" y="154"/>
                  </a:lnTo>
                  <a:lnTo>
                    <a:pt x="436" y="181"/>
                  </a:lnTo>
                  <a:lnTo>
                    <a:pt x="447" y="186"/>
                  </a:lnTo>
                  <a:lnTo>
                    <a:pt x="468" y="175"/>
                  </a:lnTo>
                  <a:lnTo>
                    <a:pt x="472" y="238"/>
                  </a:lnTo>
                  <a:lnTo>
                    <a:pt x="466" y="272"/>
                  </a:lnTo>
                  <a:lnTo>
                    <a:pt x="455" y="285"/>
                  </a:lnTo>
                  <a:lnTo>
                    <a:pt x="398" y="289"/>
                  </a:lnTo>
                  <a:lnTo>
                    <a:pt x="379" y="287"/>
                  </a:lnTo>
                  <a:lnTo>
                    <a:pt x="373" y="306"/>
                  </a:lnTo>
                  <a:lnTo>
                    <a:pt x="356" y="300"/>
                  </a:lnTo>
                  <a:lnTo>
                    <a:pt x="320" y="291"/>
                  </a:lnTo>
                  <a:lnTo>
                    <a:pt x="253" y="344"/>
                  </a:lnTo>
                  <a:lnTo>
                    <a:pt x="230" y="342"/>
                  </a:lnTo>
                  <a:lnTo>
                    <a:pt x="223" y="378"/>
                  </a:lnTo>
                  <a:lnTo>
                    <a:pt x="206" y="388"/>
                  </a:lnTo>
                  <a:lnTo>
                    <a:pt x="190" y="437"/>
                  </a:lnTo>
                  <a:lnTo>
                    <a:pt x="181" y="441"/>
                  </a:lnTo>
                  <a:lnTo>
                    <a:pt x="171" y="433"/>
                  </a:lnTo>
                  <a:lnTo>
                    <a:pt x="137" y="441"/>
                  </a:lnTo>
                  <a:lnTo>
                    <a:pt x="126" y="437"/>
                  </a:lnTo>
                  <a:lnTo>
                    <a:pt x="111" y="430"/>
                  </a:lnTo>
                  <a:lnTo>
                    <a:pt x="111" y="409"/>
                  </a:lnTo>
                  <a:lnTo>
                    <a:pt x="97" y="401"/>
                  </a:lnTo>
                  <a:lnTo>
                    <a:pt x="94" y="376"/>
                  </a:lnTo>
                  <a:lnTo>
                    <a:pt x="54" y="394"/>
                  </a:lnTo>
                  <a:lnTo>
                    <a:pt x="38" y="388"/>
                  </a:lnTo>
                  <a:lnTo>
                    <a:pt x="27" y="361"/>
                  </a:lnTo>
                  <a:lnTo>
                    <a:pt x="8" y="350"/>
                  </a:lnTo>
                  <a:lnTo>
                    <a:pt x="0" y="321"/>
                  </a:lnTo>
                  <a:lnTo>
                    <a:pt x="8" y="302"/>
                  </a:lnTo>
                  <a:lnTo>
                    <a:pt x="25" y="308"/>
                  </a:lnTo>
                  <a:lnTo>
                    <a:pt x="23" y="276"/>
                  </a:lnTo>
                  <a:lnTo>
                    <a:pt x="31" y="272"/>
                  </a:lnTo>
                  <a:lnTo>
                    <a:pt x="37" y="295"/>
                  </a:lnTo>
                  <a:lnTo>
                    <a:pt x="50" y="280"/>
                  </a:lnTo>
                  <a:lnTo>
                    <a:pt x="67" y="285"/>
                  </a:lnTo>
                  <a:lnTo>
                    <a:pt x="78" y="272"/>
                  </a:lnTo>
                  <a:lnTo>
                    <a:pt x="88" y="285"/>
                  </a:lnTo>
                  <a:lnTo>
                    <a:pt x="198" y="278"/>
                  </a:lnTo>
                  <a:lnTo>
                    <a:pt x="200" y="264"/>
                  </a:lnTo>
                  <a:lnTo>
                    <a:pt x="185" y="257"/>
                  </a:lnTo>
                  <a:lnTo>
                    <a:pt x="171" y="2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7" name="Freeform 193"/>
            <p:cNvSpPr>
              <a:spLocks/>
            </p:cNvSpPr>
            <p:nvPr/>
          </p:nvSpPr>
          <p:spPr bwMode="auto">
            <a:xfrm>
              <a:off x="2735714" y="3625232"/>
              <a:ext cx="185226" cy="173440"/>
            </a:xfrm>
            <a:custGeom>
              <a:avLst/>
              <a:gdLst>
                <a:gd name="T0" fmla="*/ 2147483647 w 340"/>
                <a:gd name="T1" fmla="*/ 2147483647 h 279"/>
                <a:gd name="T2" fmla="*/ 2147483647 w 340"/>
                <a:gd name="T3" fmla="*/ 2147483647 h 279"/>
                <a:gd name="T4" fmla="*/ 2147483647 w 340"/>
                <a:gd name="T5" fmla="*/ 2147483647 h 279"/>
                <a:gd name="T6" fmla="*/ 2147483647 w 340"/>
                <a:gd name="T7" fmla="*/ 2147483647 h 279"/>
                <a:gd name="T8" fmla="*/ 2147483647 w 340"/>
                <a:gd name="T9" fmla="*/ 2147483647 h 279"/>
                <a:gd name="T10" fmla="*/ 2147483647 w 340"/>
                <a:gd name="T11" fmla="*/ 2147483647 h 279"/>
                <a:gd name="T12" fmla="*/ 2147483647 w 340"/>
                <a:gd name="T13" fmla="*/ 2147483647 h 279"/>
                <a:gd name="T14" fmla="*/ 2147483647 w 340"/>
                <a:gd name="T15" fmla="*/ 2147483647 h 279"/>
                <a:gd name="T16" fmla="*/ 2147483647 w 340"/>
                <a:gd name="T17" fmla="*/ 2147483647 h 279"/>
                <a:gd name="T18" fmla="*/ 2147483647 w 340"/>
                <a:gd name="T19" fmla="*/ 2147483647 h 279"/>
                <a:gd name="T20" fmla="*/ 2147483647 w 340"/>
                <a:gd name="T21" fmla="*/ 2147483647 h 279"/>
                <a:gd name="T22" fmla="*/ 2147483647 w 340"/>
                <a:gd name="T23" fmla="*/ 2147483647 h 279"/>
                <a:gd name="T24" fmla="*/ 2147483647 w 340"/>
                <a:gd name="T25" fmla="*/ 2147483647 h 279"/>
                <a:gd name="T26" fmla="*/ 0 w 340"/>
                <a:gd name="T27" fmla="*/ 2147483647 h 279"/>
                <a:gd name="T28" fmla="*/ 2147483647 w 340"/>
                <a:gd name="T29" fmla="*/ 2147483647 h 279"/>
                <a:gd name="T30" fmla="*/ 2147483647 w 340"/>
                <a:gd name="T31" fmla="*/ 2147483647 h 279"/>
                <a:gd name="T32" fmla="*/ 2147483647 w 340"/>
                <a:gd name="T33" fmla="*/ 2147483647 h 279"/>
                <a:gd name="T34" fmla="*/ 2147483647 w 340"/>
                <a:gd name="T35" fmla="*/ 2147483647 h 279"/>
                <a:gd name="T36" fmla="*/ 2147483647 w 340"/>
                <a:gd name="T37" fmla="*/ 2147483647 h 279"/>
                <a:gd name="T38" fmla="*/ 2147483647 w 340"/>
                <a:gd name="T39" fmla="*/ 2147483647 h 279"/>
                <a:gd name="T40" fmla="*/ 2147483647 w 340"/>
                <a:gd name="T41" fmla="*/ 2147483647 h 279"/>
                <a:gd name="T42" fmla="*/ 2147483647 w 340"/>
                <a:gd name="T43" fmla="*/ 2147483647 h 279"/>
                <a:gd name="T44" fmla="*/ 2147483647 w 340"/>
                <a:gd name="T45" fmla="*/ 2147483647 h 279"/>
                <a:gd name="T46" fmla="*/ 2147483647 w 340"/>
                <a:gd name="T47" fmla="*/ 2147483647 h 279"/>
                <a:gd name="T48" fmla="*/ 2147483647 w 340"/>
                <a:gd name="T49" fmla="*/ 0 h 279"/>
                <a:gd name="T50" fmla="*/ 2147483647 w 340"/>
                <a:gd name="T51" fmla="*/ 2147483647 h 279"/>
                <a:gd name="T52" fmla="*/ 2147483647 w 340"/>
                <a:gd name="T53" fmla="*/ 2147483647 h 279"/>
                <a:gd name="T54" fmla="*/ 2147483647 w 340"/>
                <a:gd name="T55" fmla="*/ 2147483647 h 279"/>
                <a:gd name="T56" fmla="*/ 2147483647 w 340"/>
                <a:gd name="T57" fmla="*/ 2147483647 h 279"/>
                <a:gd name="T58" fmla="*/ 2147483647 w 340"/>
                <a:gd name="T59" fmla="*/ 2147483647 h 279"/>
                <a:gd name="T60" fmla="*/ 2147483647 w 340"/>
                <a:gd name="T61" fmla="*/ 2147483647 h 27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40"/>
                <a:gd name="T94" fmla="*/ 0 h 279"/>
                <a:gd name="T95" fmla="*/ 340 w 340"/>
                <a:gd name="T96" fmla="*/ 279 h 27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40" h="279">
                  <a:moveTo>
                    <a:pt x="304" y="26"/>
                  </a:moveTo>
                  <a:lnTo>
                    <a:pt x="315" y="53"/>
                  </a:lnTo>
                  <a:lnTo>
                    <a:pt x="311" y="78"/>
                  </a:lnTo>
                  <a:lnTo>
                    <a:pt x="323" y="112"/>
                  </a:lnTo>
                  <a:lnTo>
                    <a:pt x="340" y="119"/>
                  </a:lnTo>
                  <a:lnTo>
                    <a:pt x="330" y="140"/>
                  </a:lnTo>
                  <a:lnTo>
                    <a:pt x="296" y="135"/>
                  </a:lnTo>
                  <a:lnTo>
                    <a:pt x="279" y="159"/>
                  </a:lnTo>
                  <a:lnTo>
                    <a:pt x="203" y="220"/>
                  </a:lnTo>
                  <a:lnTo>
                    <a:pt x="186" y="218"/>
                  </a:lnTo>
                  <a:lnTo>
                    <a:pt x="146" y="231"/>
                  </a:lnTo>
                  <a:lnTo>
                    <a:pt x="125" y="252"/>
                  </a:lnTo>
                  <a:lnTo>
                    <a:pt x="123" y="279"/>
                  </a:lnTo>
                  <a:lnTo>
                    <a:pt x="0" y="275"/>
                  </a:lnTo>
                  <a:lnTo>
                    <a:pt x="3" y="262"/>
                  </a:lnTo>
                  <a:lnTo>
                    <a:pt x="98" y="197"/>
                  </a:lnTo>
                  <a:lnTo>
                    <a:pt x="98" y="188"/>
                  </a:lnTo>
                  <a:lnTo>
                    <a:pt x="91" y="178"/>
                  </a:lnTo>
                  <a:lnTo>
                    <a:pt x="91" y="144"/>
                  </a:lnTo>
                  <a:lnTo>
                    <a:pt x="108" y="127"/>
                  </a:lnTo>
                  <a:lnTo>
                    <a:pt x="110" y="108"/>
                  </a:lnTo>
                  <a:lnTo>
                    <a:pt x="131" y="83"/>
                  </a:lnTo>
                  <a:lnTo>
                    <a:pt x="182" y="47"/>
                  </a:lnTo>
                  <a:lnTo>
                    <a:pt x="195" y="9"/>
                  </a:lnTo>
                  <a:lnTo>
                    <a:pt x="212" y="0"/>
                  </a:lnTo>
                  <a:lnTo>
                    <a:pt x="226" y="13"/>
                  </a:lnTo>
                  <a:lnTo>
                    <a:pt x="247" y="23"/>
                  </a:lnTo>
                  <a:lnTo>
                    <a:pt x="273" y="21"/>
                  </a:lnTo>
                  <a:lnTo>
                    <a:pt x="285" y="11"/>
                  </a:lnTo>
                  <a:lnTo>
                    <a:pt x="288" y="21"/>
                  </a:lnTo>
                  <a:lnTo>
                    <a:pt x="304" y="2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8" name="Freeform 194"/>
            <p:cNvSpPr>
              <a:spLocks/>
            </p:cNvSpPr>
            <p:nvPr/>
          </p:nvSpPr>
          <p:spPr bwMode="auto">
            <a:xfrm>
              <a:off x="2675074" y="3811476"/>
              <a:ext cx="183021" cy="233969"/>
            </a:xfrm>
            <a:custGeom>
              <a:avLst/>
              <a:gdLst>
                <a:gd name="T0" fmla="*/ 2147483647 w 337"/>
                <a:gd name="T1" fmla="*/ 0 h 376"/>
                <a:gd name="T2" fmla="*/ 2147483647 w 337"/>
                <a:gd name="T3" fmla="*/ 2147483647 h 376"/>
                <a:gd name="T4" fmla="*/ 2147483647 w 337"/>
                <a:gd name="T5" fmla="*/ 2147483647 h 376"/>
                <a:gd name="T6" fmla="*/ 2147483647 w 337"/>
                <a:gd name="T7" fmla="*/ 2147483647 h 376"/>
                <a:gd name="T8" fmla="*/ 2147483647 w 337"/>
                <a:gd name="T9" fmla="*/ 2147483647 h 376"/>
                <a:gd name="T10" fmla="*/ 2147483647 w 337"/>
                <a:gd name="T11" fmla="*/ 2147483647 h 376"/>
                <a:gd name="T12" fmla="*/ 2147483647 w 337"/>
                <a:gd name="T13" fmla="*/ 2147483647 h 376"/>
                <a:gd name="T14" fmla="*/ 2147483647 w 337"/>
                <a:gd name="T15" fmla="*/ 2147483647 h 376"/>
                <a:gd name="T16" fmla="*/ 2147483647 w 337"/>
                <a:gd name="T17" fmla="*/ 2147483647 h 376"/>
                <a:gd name="T18" fmla="*/ 2147483647 w 337"/>
                <a:gd name="T19" fmla="*/ 2147483647 h 376"/>
                <a:gd name="T20" fmla="*/ 2147483647 w 337"/>
                <a:gd name="T21" fmla="*/ 2147483647 h 376"/>
                <a:gd name="T22" fmla="*/ 2147483647 w 337"/>
                <a:gd name="T23" fmla="*/ 2147483647 h 376"/>
                <a:gd name="T24" fmla="*/ 2147483647 w 337"/>
                <a:gd name="T25" fmla="*/ 2147483647 h 376"/>
                <a:gd name="T26" fmla="*/ 2147483647 w 337"/>
                <a:gd name="T27" fmla="*/ 2147483647 h 376"/>
                <a:gd name="T28" fmla="*/ 2147483647 w 337"/>
                <a:gd name="T29" fmla="*/ 2147483647 h 376"/>
                <a:gd name="T30" fmla="*/ 2147483647 w 337"/>
                <a:gd name="T31" fmla="*/ 2147483647 h 376"/>
                <a:gd name="T32" fmla="*/ 2147483647 w 337"/>
                <a:gd name="T33" fmla="*/ 2147483647 h 376"/>
                <a:gd name="T34" fmla="*/ 2147483647 w 337"/>
                <a:gd name="T35" fmla="*/ 2147483647 h 376"/>
                <a:gd name="T36" fmla="*/ 2147483647 w 337"/>
                <a:gd name="T37" fmla="*/ 2147483647 h 376"/>
                <a:gd name="T38" fmla="*/ 2147483647 w 337"/>
                <a:gd name="T39" fmla="*/ 2147483647 h 376"/>
                <a:gd name="T40" fmla="*/ 2147483647 w 337"/>
                <a:gd name="T41" fmla="*/ 2147483647 h 376"/>
                <a:gd name="T42" fmla="*/ 2147483647 w 337"/>
                <a:gd name="T43" fmla="*/ 2147483647 h 376"/>
                <a:gd name="T44" fmla="*/ 2147483647 w 337"/>
                <a:gd name="T45" fmla="*/ 2147483647 h 376"/>
                <a:gd name="T46" fmla="*/ 2147483647 w 337"/>
                <a:gd name="T47" fmla="*/ 2147483647 h 376"/>
                <a:gd name="T48" fmla="*/ 2147483647 w 337"/>
                <a:gd name="T49" fmla="*/ 2147483647 h 376"/>
                <a:gd name="T50" fmla="*/ 2147483647 w 337"/>
                <a:gd name="T51" fmla="*/ 2147483647 h 376"/>
                <a:gd name="T52" fmla="*/ 2147483647 w 337"/>
                <a:gd name="T53" fmla="*/ 2147483647 h 376"/>
                <a:gd name="T54" fmla="*/ 2147483647 w 337"/>
                <a:gd name="T55" fmla="*/ 2147483647 h 376"/>
                <a:gd name="T56" fmla="*/ 0 w 337"/>
                <a:gd name="T57" fmla="*/ 2147483647 h 376"/>
                <a:gd name="T58" fmla="*/ 2147483647 w 337"/>
                <a:gd name="T59" fmla="*/ 2147483647 h 376"/>
                <a:gd name="T60" fmla="*/ 2147483647 w 337"/>
                <a:gd name="T61" fmla="*/ 2147483647 h 376"/>
                <a:gd name="T62" fmla="*/ 2147483647 w 337"/>
                <a:gd name="T63" fmla="*/ 2147483647 h 376"/>
                <a:gd name="T64" fmla="*/ 2147483647 w 337"/>
                <a:gd name="T65" fmla="*/ 2147483647 h 376"/>
                <a:gd name="T66" fmla="*/ 2147483647 w 337"/>
                <a:gd name="T67" fmla="*/ 2147483647 h 376"/>
                <a:gd name="T68" fmla="*/ 2147483647 w 337"/>
                <a:gd name="T69" fmla="*/ 2147483647 h 376"/>
                <a:gd name="T70" fmla="*/ 2147483647 w 337"/>
                <a:gd name="T71" fmla="*/ 2147483647 h 376"/>
                <a:gd name="T72" fmla="*/ 2147483647 w 337"/>
                <a:gd name="T73" fmla="*/ 0 h 3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37"/>
                <a:gd name="T112" fmla="*/ 0 h 376"/>
                <a:gd name="T113" fmla="*/ 337 w 337"/>
                <a:gd name="T114" fmla="*/ 376 h 3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37" h="376">
                  <a:moveTo>
                    <a:pt x="236" y="0"/>
                  </a:moveTo>
                  <a:lnTo>
                    <a:pt x="337" y="68"/>
                  </a:lnTo>
                  <a:lnTo>
                    <a:pt x="304" y="70"/>
                  </a:lnTo>
                  <a:lnTo>
                    <a:pt x="318" y="325"/>
                  </a:lnTo>
                  <a:lnTo>
                    <a:pt x="333" y="332"/>
                  </a:lnTo>
                  <a:lnTo>
                    <a:pt x="331" y="346"/>
                  </a:lnTo>
                  <a:lnTo>
                    <a:pt x="221" y="353"/>
                  </a:lnTo>
                  <a:lnTo>
                    <a:pt x="211" y="340"/>
                  </a:lnTo>
                  <a:lnTo>
                    <a:pt x="200" y="351"/>
                  </a:lnTo>
                  <a:lnTo>
                    <a:pt x="183" y="348"/>
                  </a:lnTo>
                  <a:lnTo>
                    <a:pt x="171" y="363"/>
                  </a:lnTo>
                  <a:lnTo>
                    <a:pt x="164" y="340"/>
                  </a:lnTo>
                  <a:lnTo>
                    <a:pt x="156" y="344"/>
                  </a:lnTo>
                  <a:lnTo>
                    <a:pt x="158" y="376"/>
                  </a:lnTo>
                  <a:lnTo>
                    <a:pt x="141" y="370"/>
                  </a:lnTo>
                  <a:lnTo>
                    <a:pt x="111" y="338"/>
                  </a:lnTo>
                  <a:lnTo>
                    <a:pt x="94" y="336"/>
                  </a:lnTo>
                  <a:lnTo>
                    <a:pt x="80" y="319"/>
                  </a:lnTo>
                  <a:lnTo>
                    <a:pt x="29" y="329"/>
                  </a:lnTo>
                  <a:lnTo>
                    <a:pt x="18" y="332"/>
                  </a:lnTo>
                  <a:lnTo>
                    <a:pt x="18" y="319"/>
                  </a:lnTo>
                  <a:lnTo>
                    <a:pt x="31" y="298"/>
                  </a:lnTo>
                  <a:lnTo>
                    <a:pt x="21" y="291"/>
                  </a:lnTo>
                  <a:lnTo>
                    <a:pt x="29" y="249"/>
                  </a:lnTo>
                  <a:lnTo>
                    <a:pt x="16" y="241"/>
                  </a:lnTo>
                  <a:lnTo>
                    <a:pt x="19" y="213"/>
                  </a:lnTo>
                  <a:lnTo>
                    <a:pt x="19" y="194"/>
                  </a:lnTo>
                  <a:lnTo>
                    <a:pt x="12" y="199"/>
                  </a:lnTo>
                  <a:lnTo>
                    <a:pt x="0" y="182"/>
                  </a:lnTo>
                  <a:lnTo>
                    <a:pt x="8" y="182"/>
                  </a:lnTo>
                  <a:lnTo>
                    <a:pt x="111" y="182"/>
                  </a:lnTo>
                  <a:lnTo>
                    <a:pt x="109" y="129"/>
                  </a:lnTo>
                  <a:lnTo>
                    <a:pt x="118" y="120"/>
                  </a:lnTo>
                  <a:lnTo>
                    <a:pt x="139" y="116"/>
                  </a:lnTo>
                  <a:lnTo>
                    <a:pt x="141" y="38"/>
                  </a:lnTo>
                  <a:lnTo>
                    <a:pt x="232" y="36"/>
                  </a:lnTo>
                  <a:lnTo>
                    <a:pt x="23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19" name="Freeform 195"/>
            <p:cNvSpPr>
              <a:spLocks/>
            </p:cNvSpPr>
            <p:nvPr/>
          </p:nvSpPr>
          <p:spPr bwMode="auto">
            <a:xfrm>
              <a:off x="3821712" y="4681004"/>
              <a:ext cx="8820" cy="12804"/>
            </a:xfrm>
            <a:custGeom>
              <a:avLst/>
              <a:gdLst>
                <a:gd name="T0" fmla="*/ 2147483647 w 15"/>
                <a:gd name="T1" fmla="*/ 0 h 23"/>
                <a:gd name="T2" fmla="*/ 2147483647 w 15"/>
                <a:gd name="T3" fmla="*/ 0 h 23"/>
                <a:gd name="T4" fmla="*/ 2147483647 w 15"/>
                <a:gd name="T5" fmla="*/ 2147483647 h 23"/>
                <a:gd name="T6" fmla="*/ 2147483647 w 15"/>
                <a:gd name="T7" fmla="*/ 2147483647 h 23"/>
                <a:gd name="T8" fmla="*/ 0 w 15"/>
                <a:gd name="T9" fmla="*/ 2147483647 h 23"/>
                <a:gd name="T10" fmla="*/ 0 w 15"/>
                <a:gd name="T11" fmla="*/ 2147483647 h 23"/>
                <a:gd name="T12" fmla="*/ 2147483647 w 15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23"/>
                <a:gd name="T23" fmla="*/ 15 w 15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23">
                  <a:moveTo>
                    <a:pt x="6" y="0"/>
                  </a:moveTo>
                  <a:lnTo>
                    <a:pt x="13" y="0"/>
                  </a:lnTo>
                  <a:lnTo>
                    <a:pt x="15" y="10"/>
                  </a:lnTo>
                  <a:lnTo>
                    <a:pt x="8" y="23"/>
                  </a:lnTo>
                  <a:lnTo>
                    <a:pt x="0" y="21"/>
                  </a:lnTo>
                  <a:lnTo>
                    <a:pt x="0" y="1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0" name="Freeform 196"/>
            <p:cNvSpPr>
              <a:spLocks/>
            </p:cNvSpPr>
            <p:nvPr/>
          </p:nvSpPr>
          <p:spPr bwMode="auto">
            <a:xfrm>
              <a:off x="3403851" y="4499416"/>
              <a:ext cx="162073" cy="313123"/>
            </a:xfrm>
            <a:custGeom>
              <a:avLst/>
              <a:gdLst>
                <a:gd name="T0" fmla="*/ 2147483647 w 297"/>
                <a:gd name="T1" fmla="*/ 2147483647 h 503"/>
                <a:gd name="T2" fmla="*/ 2147483647 w 297"/>
                <a:gd name="T3" fmla="*/ 2147483647 h 503"/>
                <a:gd name="T4" fmla="*/ 2147483647 w 297"/>
                <a:gd name="T5" fmla="*/ 2147483647 h 503"/>
                <a:gd name="T6" fmla="*/ 2147483647 w 297"/>
                <a:gd name="T7" fmla="*/ 2147483647 h 503"/>
                <a:gd name="T8" fmla="*/ 2147483647 w 297"/>
                <a:gd name="T9" fmla="*/ 2147483647 h 503"/>
                <a:gd name="T10" fmla="*/ 2147483647 w 297"/>
                <a:gd name="T11" fmla="*/ 2147483647 h 503"/>
                <a:gd name="T12" fmla="*/ 2147483647 w 297"/>
                <a:gd name="T13" fmla="*/ 2147483647 h 503"/>
                <a:gd name="T14" fmla="*/ 2147483647 w 297"/>
                <a:gd name="T15" fmla="*/ 2147483647 h 503"/>
                <a:gd name="T16" fmla="*/ 2147483647 w 297"/>
                <a:gd name="T17" fmla="*/ 2147483647 h 503"/>
                <a:gd name="T18" fmla="*/ 2147483647 w 297"/>
                <a:gd name="T19" fmla="*/ 2147483647 h 503"/>
                <a:gd name="T20" fmla="*/ 2147483647 w 297"/>
                <a:gd name="T21" fmla="*/ 2147483647 h 503"/>
                <a:gd name="T22" fmla="*/ 2147483647 w 297"/>
                <a:gd name="T23" fmla="*/ 2147483647 h 503"/>
                <a:gd name="T24" fmla="*/ 2147483647 w 297"/>
                <a:gd name="T25" fmla="*/ 2147483647 h 503"/>
                <a:gd name="T26" fmla="*/ 2147483647 w 297"/>
                <a:gd name="T27" fmla="*/ 2147483647 h 503"/>
                <a:gd name="T28" fmla="*/ 2147483647 w 297"/>
                <a:gd name="T29" fmla="*/ 2147483647 h 503"/>
                <a:gd name="T30" fmla="*/ 2147483647 w 297"/>
                <a:gd name="T31" fmla="*/ 2147483647 h 503"/>
                <a:gd name="T32" fmla="*/ 2147483647 w 297"/>
                <a:gd name="T33" fmla="*/ 2147483647 h 503"/>
                <a:gd name="T34" fmla="*/ 2147483647 w 297"/>
                <a:gd name="T35" fmla="*/ 2147483647 h 503"/>
                <a:gd name="T36" fmla="*/ 2147483647 w 297"/>
                <a:gd name="T37" fmla="*/ 2147483647 h 503"/>
                <a:gd name="T38" fmla="*/ 2147483647 w 297"/>
                <a:gd name="T39" fmla="*/ 2147483647 h 503"/>
                <a:gd name="T40" fmla="*/ 2147483647 w 297"/>
                <a:gd name="T41" fmla="*/ 2147483647 h 503"/>
                <a:gd name="T42" fmla="*/ 2147483647 w 297"/>
                <a:gd name="T43" fmla="*/ 0 h 503"/>
                <a:gd name="T44" fmla="*/ 2147483647 w 297"/>
                <a:gd name="T45" fmla="*/ 2147483647 h 503"/>
                <a:gd name="T46" fmla="*/ 2147483647 w 297"/>
                <a:gd name="T47" fmla="*/ 2147483647 h 503"/>
                <a:gd name="T48" fmla="*/ 2147483647 w 297"/>
                <a:gd name="T49" fmla="*/ 2147483647 h 503"/>
                <a:gd name="T50" fmla="*/ 2147483647 w 297"/>
                <a:gd name="T51" fmla="*/ 2147483647 h 503"/>
                <a:gd name="T52" fmla="*/ 2147483647 w 297"/>
                <a:gd name="T53" fmla="*/ 2147483647 h 503"/>
                <a:gd name="T54" fmla="*/ 2147483647 w 297"/>
                <a:gd name="T55" fmla="*/ 2147483647 h 503"/>
                <a:gd name="T56" fmla="*/ 2147483647 w 297"/>
                <a:gd name="T57" fmla="*/ 2147483647 h 503"/>
                <a:gd name="T58" fmla="*/ 2147483647 w 297"/>
                <a:gd name="T59" fmla="*/ 2147483647 h 503"/>
                <a:gd name="T60" fmla="*/ 2147483647 w 297"/>
                <a:gd name="T61" fmla="*/ 2147483647 h 503"/>
                <a:gd name="T62" fmla="*/ 2147483647 w 297"/>
                <a:gd name="T63" fmla="*/ 2147483647 h 503"/>
                <a:gd name="T64" fmla="*/ 2147483647 w 297"/>
                <a:gd name="T65" fmla="*/ 2147483647 h 503"/>
                <a:gd name="T66" fmla="*/ 2147483647 w 297"/>
                <a:gd name="T67" fmla="*/ 2147483647 h 503"/>
                <a:gd name="T68" fmla="*/ 2147483647 w 297"/>
                <a:gd name="T69" fmla="*/ 2147483647 h 503"/>
                <a:gd name="T70" fmla="*/ 2147483647 w 297"/>
                <a:gd name="T71" fmla="*/ 2147483647 h 503"/>
                <a:gd name="T72" fmla="*/ 2147483647 w 297"/>
                <a:gd name="T73" fmla="*/ 2147483647 h 503"/>
                <a:gd name="T74" fmla="*/ 2147483647 w 297"/>
                <a:gd name="T75" fmla="*/ 2147483647 h 503"/>
                <a:gd name="T76" fmla="*/ 2147483647 w 297"/>
                <a:gd name="T77" fmla="*/ 2147483647 h 503"/>
                <a:gd name="T78" fmla="*/ 2147483647 w 297"/>
                <a:gd name="T79" fmla="*/ 2147483647 h 503"/>
                <a:gd name="T80" fmla="*/ 2147483647 w 297"/>
                <a:gd name="T81" fmla="*/ 2147483647 h 503"/>
                <a:gd name="T82" fmla="*/ 2147483647 w 297"/>
                <a:gd name="T83" fmla="*/ 2147483647 h 503"/>
                <a:gd name="T84" fmla="*/ 2147483647 w 297"/>
                <a:gd name="T85" fmla="*/ 2147483647 h 503"/>
                <a:gd name="T86" fmla="*/ 2147483647 w 297"/>
                <a:gd name="T87" fmla="*/ 2147483647 h 503"/>
                <a:gd name="T88" fmla="*/ 2147483647 w 297"/>
                <a:gd name="T89" fmla="*/ 2147483647 h 503"/>
                <a:gd name="T90" fmla="*/ 2147483647 w 297"/>
                <a:gd name="T91" fmla="*/ 2147483647 h 503"/>
                <a:gd name="T92" fmla="*/ 2147483647 w 297"/>
                <a:gd name="T93" fmla="*/ 2147483647 h 503"/>
                <a:gd name="T94" fmla="*/ 2147483647 w 297"/>
                <a:gd name="T95" fmla="*/ 2147483647 h 503"/>
                <a:gd name="T96" fmla="*/ 2147483647 w 297"/>
                <a:gd name="T97" fmla="*/ 2147483647 h 503"/>
                <a:gd name="T98" fmla="*/ 2147483647 w 297"/>
                <a:gd name="T99" fmla="*/ 2147483647 h 503"/>
                <a:gd name="T100" fmla="*/ 2147483647 w 297"/>
                <a:gd name="T101" fmla="*/ 2147483647 h 503"/>
                <a:gd name="T102" fmla="*/ 2147483647 w 297"/>
                <a:gd name="T103" fmla="*/ 2147483647 h 503"/>
                <a:gd name="T104" fmla="*/ 2147483647 w 297"/>
                <a:gd name="T105" fmla="*/ 2147483647 h 503"/>
                <a:gd name="T106" fmla="*/ 2147483647 w 297"/>
                <a:gd name="T107" fmla="*/ 2147483647 h 503"/>
                <a:gd name="T108" fmla="*/ 2147483647 w 297"/>
                <a:gd name="T109" fmla="*/ 2147483647 h 503"/>
                <a:gd name="T110" fmla="*/ 2147483647 w 297"/>
                <a:gd name="T111" fmla="*/ 2147483647 h 503"/>
                <a:gd name="T112" fmla="*/ 2147483647 w 297"/>
                <a:gd name="T113" fmla="*/ 2147483647 h 503"/>
                <a:gd name="T114" fmla="*/ 2147483647 w 297"/>
                <a:gd name="T115" fmla="*/ 2147483647 h 503"/>
                <a:gd name="T116" fmla="*/ 0 w 297"/>
                <a:gd name="T117" fmla="*/ 2147483647 h 503"/>
                <a:gd name="T118" fmla="*/ 2147483647 w 297"/>
                <a:gd name="T119" fmla="*/ 2147483647 h 50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7"/>
                <a:gd name="T181" fmla="*/ 0 h 503"/>
                <a:gd name="T182" fmla="*/ 297 w 297"/>
                <a:gd name="T183" fmla="*/ 503 h 50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7" h="503">
                  <a:moveTo>
                    <a:pt x="78" y="108"/>
                  </a:moveTo>
                  <a:lnTo>
                    <a:pt x="90" y="117"/>
                  </a:lnTo>
                  <a:lnTo>
                    <a:pt x="109" y="119"/>
                  </a:lnTo>
                  <a:lnTo>
                    <a:pt x="116" y="136"/>
                  </a:lnTo>
                  <a:lnTo>
                    <a:pt x="112" y="161"/>
                  </a:lnTo>
                  <a:lnTo>
                    <a:pt x="131" y="195"/>
                  </a:lnTo>
                  <a:lnTo>
                    <a:pt x="145" y="193"/>
                  </a:lnTo>
                  <a:lnTo>
                    <a:pt x="139" y="172"/>
                  </a:lnTo>
                  <a:lnTo>
                    <a:pt x="152" y="165"/>
                  </a:lnTo>
                  <a:lnTo>
                    <a:pt x="152" y="110"/>
                  </a:lnTo>
                  <a:lnTo>
                    <a:pt x="141" y="83"/>
                  </a:lnTo>
                  <a:lnTo>
                    <a:pt x="122" y="79"/>
                  </a:lnTo>
                  <a:lnTo>
                    <a:pt x="118" y="57"/>
                  </a:lnTo>
                  <a:lnTo>
                    <a:pt x="128" y="45"/>
                  </a:lnTo>
                  <a:lnTo>
                    <a:pt x="126" y="32"/>
                  </a:lnTo>
                  <a:lnTo>
                    <a:pt x="156" y="26"/>
                  </a:lnTo>
                  <a:lnTo>
                    <a:pt x="173" y="38"/>
                  </a:lnTo>
                  <a:lnTo>
                    <a:pt x="190" y="26"/>
                  </a:lnTo>
                  <a:lnTo>
                    <a:pt x="207" y="32"/>
                  </a:lnTo>
                  <a:lnTo>
                    <a:pt x="219" y="19"/>
                  </a:lnTo>
                  <a:lnTo>
                    <a:pt x="257" y="13"/>
                  </a:lnTo>
                  <a:lnTo>
                    <a:pt x="291" y="0"/>
                  </a:lnTo>
                  <a:lnTo>
                    <a:pt x="295" y="9"/>
                  </a:lnTo>
                  <a:lnTo>
                    <a:pt x="291" y="106"/>
                  </a:lnTo>
                  <a:lnTo>
                    <a:pt x="297" y="106"/>
                  </a:lnTo>
                  <a:lnTo>
                    <a:pt x="295" y="146"/>
                  </a:lnTo>
                  <a:lnTo>
                    <a:pt x="272" y="182"/>
                  </a:lnTo>
                  <a:lnTo>
                    <a:pt x="198" y="214"/>
                  </a:lnTo>
                  <a:lnTo>
                    <a:pt x="171" y="254"/>
                  </a:lnTo>
                  <a:lnTo>
                    <a:pt x="148" y="258"/>
                  </a:lnTo>
                  <a:lnTo>
                    <a:pt x="118" y="296"/>
                  </a:lnTo>
                  <a:lnTo>
                    <a:pt x="129" y="305"/>
                  </a:lnTo>
                  <a:lnTo>
                    <a:pt x="135" y="360"/>
                  </a:lnTo>
                  <a:lnTo>
                    <a:pt x="141" y="345"/>
                  </a:lnTo>
                  <a:lnTo>
                    <a:pt x="145" y="357"/>
                  </a:lnTo>
                  <a:lnTo>
                    <a:pt x="141" y="389"/>
                  </a:lnTo>
                  <a:lnTo>
                    <a:pt x="133" y="410"/>
                  </a:lnTo>
                  <a:lnTo>
                    <a:pt x="143" y="408"/>
                  </a:lnTo>
                  <a:lnTo>
                    <a:pt x="137" y="431"/>
                  </a:lnTo>
                  <a:lnTo>
                    <a:pt x="72" y="457"/>
                  </a:lnTo>
                  <a:lnTo>
                    <a:pt x="61" y="471"/>
                  </a:lnTo>
                  <a:lnTo>
                    <a:pt x="76" y="474"/>
                  </a:lnTo>
                  <a:lnTo>
                    <a:pt x="72" y="499"/>
                  </a:lnTo>
                  <a:lnTo>
                    <a:pt x="48" y="503"/>
                  </a:lnTo>
                  <a:lnTo>
                    <a:pt x="50" y="482"/>
                  </a:lnTo>
                  <a:lnTo>
                    <a:pt x="48" y="476"/>
                  </a:lnTo>
                  <a:lnTo>
                    <a:pt x="46" y="459"/>
                  </a:lnTo>
                  <a:lnTo>
                    <a:pt x="48" y="446"/>
                  </a:lnTo>
                  <a:lnTo>
                    <a:pt x="40" y="374"/>
                  </a:lnTo>
                  <a:lnTo>
                    <a:pt x="36" y="364"/>
                  </a:lnTo>
                  <a:lnTo>
                    <a:pt x="63" y="328"/>
                  </a:lnTo>
                  <a:lnTo>
                    <a:pt x="82" y="284"/>
                  </a:lnTo>
                  <a:lnTo>
                    <a:pt x="72" y="271"/>
                  </a:lnTo>
                  <a:lnTo>
                    <a:pt x="80" y="256"/>
                  </a:lnTo>
                  <a:lnTo>
                    <a:pt x="74" y="186"/>
                  </a:lnTo>
                  <a:lnTo>
                    <a:pt x="42" y="167"/>
                  </a:lnTo>
                  <a:lnTo>
                    <a:pt x="12" y="169"/>
                  </a:lnTo>
                  <a:lnTo>
                    <a:pt x="4" y="153"/>
                  </a:lnTo>
                  <a:lnTo>
                    <a:pt x="0" y="136"/>
                  </a:lnTo>
                  <a:lnTo>
                    <a:pt x="78" y="10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1" name="Freeform 197"/>
            <p:cNvSpPr>
              <a:spLocks/>
            </p:cNvSpPr>
            <p:nvPr/>
          </p:nvSpPr>
          <p:spPr bwMode="auto">
            <a:xfrm>
              <a:off x="3114987" y="4620475"/>
              <a:ext cx="206175" cy="238625"/>
            </a:xfrm>
            <a:custGeom>
              <a:avLst/>
              <a:gdLst>
                <a:gd name="T0" fmla="*/ 2147483647 w 376"/>
                <a:gd name="T1" fmla="*/ 2147483647 h 382"/>
                <a:gd name="T2" fmla="*/ 2147483647 w 376"/>
                <a:gd name="T3" fmla="*/ 0 h 382"/>
                <a:gd name="T4" fmla="*/ 2147483647 w 376"/>
                <a:gd name="T5" fmla="*/ 0 h 382"/>
                <a:gd name="T6" fmla="*/ 2147483647 w 376"/>
                <a:gd name="T7" fmla="*/ 2147483647 h 382"/>
                <a:gd name="T8" fmla="*/ 2147483647 w 376"/>
                <a:gd name="T9" fmla="*/ 2147483647 h 382"/>
                <a:gd name="T10" fmla="*/ 2147483647 w 376"/>
                <a:gd name="T11" fmla="*/ 2147483647 h 382"/>
                <a:gd name="T12" fmla="*/ 2147483647 w 376"/>
                <a:gd name="T13" fmla="*/ 2147483647 h 382"/>
                <a:gd name="T14" fmla="*/ 2147483647 w 376"/>
                <a:gd name="T15" fmla="*/ 2147483647 h 382"/>
                <a:gd name="T16" fmla="*/ 2147483647 w 376"/>
                <a:gd name="T17" fmla="*/ 2147483647 h 382"/>
                <a:gd name="T18" fmla="*/ 2147483647 w 376"/>
                <a:gd name="T19" fmla="*/ 2147483647 h 382"/>
                <a:gd name="T20" fmla="*/ 2147483647 w 376"/>
                <a:gd name="T21" fmla="*/ 2147483647 h 382"/>
                <a:gd name="T22" fmla="*/ 2147483647 w 376"/>
                <a:gd name="T23" fmla="*/ 2147483647 h 382"/>
                <a:gd name="T24" fmla="*/ 2147483647 w 376"/>
                <a:gd name="T25" fmla="*/ 2147483647 h 382"/>
                <a:gd name="T26" fmla="*/ 2147483647 w 376"/>
                <a:gd name="T27" fmla="*/ 2147483647 h 382"/>
                <a:gd name="T28" fmla="*/ 2147483647 w 376"/>
                <a:gd name="T29" fmla="*/ 2147483647 h 382"/>
                <a:gd name="T30" fmla="*/ 2147483647 w 376"/>
                <a:gd name="T31" fmla="*/ 2147483647 h 382"/>
                <a:gd name="T32" fmla="*/ 2147483647 w 376"/>
                <a:gd name="T33" fmla="*/ 2147483647 h 382"/>
                <a:gd name="T34" fmla="*/ 2147483647 w 376"/>
                <a:gd name="T35" fmla="*/ 2147483647 h 382"/>
                <a:gd name="T36" fmla="*/ 2147483647 w 376"/>
                <a:gd name="T37" fmla="*/ 2147483647 h 382"/>
                <a:gd name="T38" fmla="*/ 2147483647 w 376"/>
                <a:gd name="T39" fmla="*/ 2147483647 h 382"/>
                <a:gd name="T40" fmla="*/ 2147483647 w 376"/>
                <a:gd name="T41" fmla="*/ 2147483647 h 382"/>
                <a:gd name="T42" fmla="*/ 2147483647 w 376"/>
                <a:gd name="T43" fmla="*/ 2147483647 h 382"/>
                <a:gd name="T44" fmla="*/ 2147483647 w 376"/>
                <a:gd name="T45" fmla="*/ 2147483647 h 382"/>
                <a:gd name="T46" fmla="*/ 2147483647 w 376"/>
                <a:gd name="T47" fmla="*/ 2147483647 h 382"/>
                <a:gd name="T48" fmla="*/ 2147483647 w 376"/>
                <a:gd name="T49" fmla="*/ 2147483647 h 382"/>
                <a:gd name="T50" fmla="*/ 2147483647 w 376"/>
                <a:gd name="T51" fmla="*/ 2147483647 h 382"/>
                <a:gd name="T52" fmla="*/ 2147483647 w 376"/>
                <a:gd name="T53" fmla="*/ 2147483647 h 382"/>
                <a:gd name="T54" fmla="*/ 2147483647 w 376"/>
                <a:gd name="T55" fmla="*/ 2147483647 h 382"/>
                <a:gd name="T56" fmla="*/ 2147483647 w 376"/>
                <a:gd name="T57" fmla="*/ 2147483647 h 382"/>
                <a:gd name="T58" fmla="*/ 2147483647 w 376"/>
                <a:gd name="T59" fmla="*/ 2147483647 h 382"/>
                <a:gd name="T60" fmla="*/ 2147483647 w 376"/>
                <a:gd name="T61" fmla="*/ 2147483647 h 382"/>
                <a:gd name="T62" fmla="*/ 2147483647 w 376"/>
                <a:gd name="T63" fmla="*/ 2147483647 h 382"/>
                <a:gd name="T64" fmla="*/ 0 w 376"/>
                <a:gd name="T65" fmla="*/ 2147483647 h 382"/>
                <a:gd name="T66" fmla="*/ 2147483647 w 376"/>
                <a:gd name="T67" fmla="*/ 2147483647 h 38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76"/>
                <a:gd name="T103" fmla="*/ 0 h 382"/>
                <a:gd name="T104" fmla="*/ 376 w 376"/>
                <a:gd name="T105" fmla="*/ 382 h 38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76" h="382">
                  <a:moveTo>
                    <a:pt x="2" y="6"/>
                  </a:moveTo>
                  <a:lnTo>
                    <a:pt x="13" y="0"/>
                  </a:lnTo>
                  <a:lnTo>
                    <a:pt x="51" y="0"/>
                  </a:lnTo>
                  <a:lnTo>
                    <a:pt x="74" y="15"/>
                  </a:lnTo>
                  <a:lnTo>
                    <a:pt x="89" y="6"/>
                  </a:lnTo>
                  <a:lnTo>
                    <a:pt x="192" y="6"/>
                  </a:lnTo>
                  <a:lnTo>
                    <a:pt x="228" y="29"/>
                  </a:lnTo>
                  <a:lnTo>
                    <a:pt x="262" y="33"/>
                  </a:lnTo>
                  <a:lnTo>
                    <a:pt x="327" y="14"/>
                  </a:lnTo>
                  <a:lnTo>
                    <a:pt x="350" y="8"/>
                  </a:lnTo>
                  <a:lnTo>
                    <a:pt x="376" y="25"/>
                  </a:lnTo>
                  <a:lnTo>
                    <a:pt x="346" y="34"/>
                  </a:lnTo>
                  <a:lnTo>
                    <a:pt x="338" y="46"/>
                  </a:lnTo>
                  <a:lnTo>
                    <a:pt x="323" y="29"/>
                  </a:lnTo>
                  <a:lnTo>
                    <a:pt x="287" y="42"/>
                  </a:lnTo>
                  <a:lnTo>
                    <a:pt x="270" y="44"/>
                  </a:lnTo>
                  <a:lnTo>
                    <a:pt x="264" y="158"/>
                  </a:lnTo>
                  <a:lnTo>
                    <a:pt x="237" y="160"/>
                  </a:lnTo>
                  <a:lnTo>
                    <a:pt x="232" y="247"/>
                  </a:lnTo>
                  <a:lnTo>
                    <a:pt x="232" y="365"/>
                  </a:lnTo>
                  <a:lnTo>
                    <a:pt x="215" y="371"/>
                  </a:lnTo>
                  <a:lnTo>
                    <a:pt x="213" y="382"/>
                  </a:lnTo>
                  <a:lnTo>
                    <a:pt x="184" y="380"/>
                  </a:lnTo>
                  <a:lnTo>
                    <a:pt x="152" y="373"/>
                  </a:lnTo>
                  <a:lnTo>
                    <a:pt x="154" y="359"/>
                  </a:lnTo>
                  <a:lnTo>
                    <a:pt x="144" y="355"/>
                  </a:lnTo>
                  <a:lnTo>
                    <a:pt x="129" y="367"/>
                  </a:lnTo>
                  <a:lnTo>
                    <a:pt x="103" y="336"/>
                  </a:lnTo>
                  <a:lnTo>
                    <a:pt x="93" y="310"/>
                  </a:lnTo>
                  <a:lnTo>
                    <a:pt x="72" y="221"/>
                  </a:lnTo>
                  <a:lnTo>
                    <a:pt x="76" y="179"/>
                  </a:lnTo>
                  <a:lnTo>
                    <a:pt x="36" y="88"/>
                  </a:lnTo>
                  <a:lnTo>
                    <a:pt x="0" y="40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2" name="Freeform 198"/>
            <p:cNvSpPr>
              <a:spLocks/>
            </p:cNvSpPr>
            <p:nvPr/>
          </p:nvSpPr>
          <p:spPr bwMode="auto">
            <a:xfrm>
              <a:off x="2940786" y="3884810"/>
              <a:ext cx="245866" cy="214181"/>
            </a:xfrm>
            <a:custGeom>
              <a:avLst/>
              <a:gdLst>
                <a:gd name="T0" fmla="*/ 2147483647 w 450"/>
                <a:gd name="T1" fmla="*/ 2147483647 h 344"/>
                <a:gd name="T2" fmla="*/ 2147483647 w 450"/>
                <a:gd name="T3" fmla="*/ 2147483647 h 344"/>
                <a:gd name="T4" fmla="*/ 2147483647 w 450"/>
                <a:gd name="T5" fmla="*/ 0 h 344"/>
                <a:gd name="T6" fmla="*/ 2147483647 w 450"/>
                <a:gd name="T7" fmla="*/ 0 h 344"/>
                <a:gd name="T8" fmla="*/ 2147483647 w 450"/>
                <a:gd name="T9" fmla="*/ 2147483647 h 344"/>
                <a:gd name="T10" fmla="*/ 2147483647 w 450"/>
                <a:gd name="T11" fmla="*/ 2147483647 h 344"/>
                <a:gd name="T12" fmla="*/ 2147483647 w 450"/>
                <a:gd name="T13" fmla="*/ 2147483647 h 344"/>
                <a:gd name="T14" fmla="*/ 2147483647 w 450"/>
                <a:gd name="T15" fmla="*/ 2147483647 h 344"/>
                <a:gd name="T16" fmla="*/ 2147483647 w 450"/>
                <a:gd name="T17" fmla="*/ 2147483647 h 344"/>
                <a:gd name="T18" fmla="*/ 2147483647 w 450"/>
                <a:gd name="T19" fmla="*/ 2147483647 h 344"/>
                <a:gd name="T20" fmla="*/ 2147483647 w 450"/>
                <a:gd name="T21" fmla="*/ 2147483647 h 344"/>
                <a:gd name="T22" fmla="*/ 2147483647 w 450"/>
                <a:gd name="T23" fmla="*/ 2147483647 h 344"/>
                <a:gd name="T24" fmla="*/ 2147483647 w 450"/>
                <a:gd name="T25" fmla="*/ 2147483647 h 344"/>
                <a:gd name="T26" fmla="*/ 2147483647 w 450"/>
                <a:gd name="T27" fmla="*/ 2147483647 h 344"/>
                <a:gd name="T28" fmla="*/ 2147483647 w 450"/>
                <a:gd name="T29" fmla="*/ 2147483647 h 344"/>
                <a:gd name="T30" fmla="*/ 2147483647 w 450"/>
                <a:gd name="T31" fmla="*/ 2147483647 h 344"/>
                <a:gd name="T32" fmla="*/ 2147483647 w 450"/>
                <a:gd name="T33" fmla="*/ 2147483647 h 344"/>
                <a:gd name="T34" fmla="*/ 2147483647 w 450"/>
                <a:gd name="T35" fmla="*/ 2147483647 h 344"/>
                <a:gd name="T36" fmla="*/ 2147483647 w 450"/>
                <a:gd name="T37" fmla="*/ 2147483647 h 344"/>
                <a:gd name="T38" fmla="*/ 2147483647 w 450"/>
                <a:gd name="T39" fmla="*/ 2147483647 h 344"/>
                <a:gd name="T40" fmla="*/ 2147483647 w 450"/>
                <a:gd name="T41" fmla="*/ 2147483647 h 344"/>
                <a:gd name="T42" fmla="*/ 2147483647 w 450"/>
                <a:gd name="T43" fmla="*/ 2147483647 h 344"/>
                <a:gd name="T44" fmla="*/ 2147483647 w 450"/>
                <a:gd name="T45" fmla="*/ 2147483647 h 344"/>
                <a:gd name="T46" fmla="*/ 2147483647 w 450"/>
                <a:gd name="T47" fmla="*/ 2147483647 h 344"/>
                <a:gd name="T48" fmla="*/ 2147483647 w 450"/>
                <a:gd name="T49" fmla="*/ 2147483647 h 344"/>
                <a:gd name="T50" fmla="*/ 2147483647 w 450"/>
                <a:gd name="T51" fmla="*/ 2147483647 h 344"/>
                <a:gd name="T52" fmla="*/ 2147483647 w 450"/>
                <a:gd name="T53" fmla="*/ 2147483647 h 344"/>
                <a:gd name="T54" fmla="*/ 2147483647 w 450"/>
                <a:gd name="T55" fmla="*/ 2147483647 h 344"/>
                <a:gd name="T56" fmla="*/ 2147483647 w 450"/>
                <a:gd name="T57" fmla="*/ 2147483647 h 344"/>
                <a:gd name="T58" fmla="*/ 2147483647 w 450"/>
                <a:gd name="T59" fmla="*/ 2147483647 h 344"/>
                <a:gd name="T60" fmla="*/ 2147483647 w 450"/>
                <a:gd name="T61" fmla="*/ 2147483647 h 344"/>
                <a:gd name="T62" fmla="*/ 2147483647 w 450"/>
                <a:gd name="T63" fmla="*/ 2147483647 h 344"/>
                <a:gd name="T64" fmla="*/ 0 w 450"/>
                <a:gd name="T65" fmla="*/ 2147483647 h 344"/>
                <a:gd name="T66" fmla="*/ 0 w 450"/>
                <a:gd name="T67" fmla="*/ 2147483647 h 344"/>
                <a:gd name="T68" fmla="*/ 2147483647 w 450"/>
                <a:gd name="T69" fmla="*/ 2147483647 h 344"/>
                <a:gd name="T70" fmla="*/ 2147483647 w 450"/>
                <a:gd name="T71" fmla="*/ 2147483647 h 344"/>
                <a:gd name="T72" fmla="*/ 2147483647 w 450"/>
                <a:gd name="T73" fmla="*/ 2147483647 h 344"/>
                <a:gd name="T74" fmla="*/ 2147483647 w 450"/>
                <a:gd name="T75" fmla="*/ 2147483647 h 344"/>
                <a:gd name="T76" fmla="*/ 2147483647 w 450"/>
                <a:gd name="T77" fmla="*/ 2147483647 h 344"/>
                <a:gd name="T78" fmla="*/ 2147483647 w 450"/>
                <a:gd name="T79" fmla="*/ 2147483647 h 344"/>
                <a:gd name="T80" fmla="*/ 2147483647 w 450"/>
                <a:gd name="T81" fmla="*/ 2147483647 h 34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50"/>
                <a:gd name="T124" fmla="*/ 0 h 344"/>
                <a:gd name="T125" fmla="*/ 450 w 450"/>
                <a:gd name="T126" fmla="*/ 344 h 34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50" h="344">
                  <a:moveTo>
                    <a:pt x="114" y="125"/>
                  </a:moveTo>
                  <a:lnTo>
                    <a:pt x="184" y="102"/>
                  </a:lnTo>
                  <a:lnTo>
                    <a:pt x="334" y="0"/>
                  </a:lnTo>
                  <a:lnTo>
                    <a:pt x="378" y="0"/>
                  </a:lnTo>
                  <a:lnTo>
                    <a:pt x="389" y="24"/>
                  </a:lnTo>
                  <a:lnTo>
                    <a:pt x="418" y="7"/>
                  </a:lnTo>
                  <a:lnTo>
                    <a:pt x="431" y="43"/>
                  </a:lnTo>
                  <a:lnTo>
                    <a:pt x="427" y="64"/>
                  </a:lnTo>
                  <a:lnTo>
                    <a:pt x="450" y="85"/>
                  </a:lnTo>
                  <a:lnTo>
                    <a:pt x="429" y="121"/>
                  </a:lnTo>
                  <a:lnTo>
                    <a:pt x="418" y="211"/>
                  </a:lnTo>
                  <a:lnTo>
                    <a:pt x="378" y="247"/>
                  </a:lnTo>
                  <a:lnTo>
                    <a:pt x="368" y="264"/>
                  </a:lnTo>
                  <a:lnTo>
                    <a:pt x="367" y="285"/>
                  </a:lnTo>
                  <a:lnTo>
                    <a:pt x="338" y="309"/>
                  </a:lnTo>
                  <a:lnTo>
                    <a:pt x="306" y="296"/>
                  </a:lnTo>
                  <a:lnTo>
                    <a:pt x="273" y="307"/>
                  </a:lnTo>
                  <a:lnTo>
                    <a:pt x="235" y="302"/>
                  </a:lnTo>
                  <a:lnTo>
                    <a:pt x="211" y="313"/>
                  </a:lnTo>
                  <a:lnTo>
                    <a:pt x="184" y="287"/>
                  </a:lnTo>
                  <a:lnTo>
                    <a:pt x="139" y="281"/>
                  </a:lnTo>
                  <a:lnTo>
                    <a:pt x="116" y="290"/>
                  </a:lnTo>
                  <a:lnTo>
                    <a:pt x="118" y="309"/>
                  </a:lnTo>
                  <a:lnTo>
                    <a:pt x="102" y="323"/>
                  </a:lnTo>
                  <a:lnTo>
                    <a:pt x="104" y="344"/>
                  </a:lnTo>
                  <a:lnTo>
                    <a:pt x="80" y="325"/>
                  </a:lnTo>
                  <a:lnTo>
                    <a:pt x="63" y="344"/>
                  </a:lnTo>
                  <a:lnTo>
                    <a:pt x="47" y="344"/>
                  </a:lnTo>
                  <a:lnTo>
                    <a:pt x="53" y="315"/>
                  </a:lnTo>
                  <a:lnTo>
                    <a:pt x="34" y="323"/>
                  </a:lnTo>
                  <a:lnTo>
                    <a:pt x="15" y="315"/>
                  </a:lnTo>
                  <a:lnTo>
                    <a:pt x="21" y="298"/>
                  </a:lnTo>
                  <a:lnTo>
                    <a:pt x="0" y="273"/>
                  </a:lnTo>
                  <a:lnTo>
                    <a:pt x="0" y="249"/>
                  </a:lnTo>
                  <a:lnTo>
                    <a:pt x="19" y="254"/>
                  </a:lnTo>
                  <a:lnTo>
                    <a:pt x="23" y="235"/>
                  </a:lnTo>
                  <a:lnTo>
                    <a:pt x="42" y="237"/>
                  </a:lnTo>
                  <a:lnTo>
                    <a:pt x="99" y="233"/>
                  </a:lnTo>
                  <a:lnTo>
                    <a:pt x="110" y="222"/>
                  </a:lnTo>
                  <a:lnTo>
                    <a:pt x="116" y="188"/>
                  </a:lnTo>
                  <a:lnTo>
                    <a:pt x="114" y="12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3" name="Freeform 199"/>
            <p:cNvSpPr>
              <a:spLocks/>
            </p:cNvSpPr>
            <p:nvPr/>
          </p:nvSpPr>
          <p:spPr bwMode="auto">
            <a:xfrm>
              <a:off x="2983784" y="4060578"/>
              <a:ext cx="173098" cy="176932"/>
            </a:xfrm>
            <a:custGeom>
              <a:avLst/>
              <a:gdLst>
                <a:gd name="T0" fmla="*/ 2147483647 w 317"/>
                <a:gd name="T1" fmla="*/ 2147483647 h 283"/>
                <a:gd name="T2" fmla="*/ 0 w 317"/>
                <a:gd name="T3" fmla="*/ 2147483647 h 283"/>
                <a:gd name="T4" fmla="*/ 2147483647 w 317"/>
                <a:gd name="T5" fmla="*/ 2147483647 h 283"/>
                <a:gd name="T6" fmla="*/ 2147483647 w 317"/>
                <a:gd name="T7" fmla="*/ 2147483647 h 283"/>
                <a:gd name="T8" fmla="*/ 2147483647 w 317"/>
                <a:gd name="T9" fmla="*/ 2147483647 h 283"/>
                <a:gd name="T10" fmla="*/ 2147483647 w 317"/>
                <a:gd name="T11" fmla="*/ 2147483647 h 283"/>
                <a:gd name="T12" fmla="*/ 2147483647 w 317"/>
                <a:gd name="T13" fmla="*/ 2147483647 h 283"/>
                <a:gd name="T14" fmla="*/ 2147483647 w 317"/>
                <a:gd name="T15" fmla="*/ 2147483647 h 283"/>
                <a:gd name="T16" fmla="*/ 2147483647 w 317"/>
                <a:gd name="T17" fmla="*/ 2147483647 h 283"/>
                <a:gd name="T18" fmla="*/ 2147483647 w 317"/>
                <a:gd name="T19" fmla="*/ 2147483647 h 283"/>
                <a:gd name="T20" fmla="*/ 2147483647 w 317"/>
                <a:gd name="T21" fmla="*/ 2147483647 h 283"/>
                <a:gd name="T22" fmla="*/ 2147483647 w 317"/>
                <a:gd name="T23" fmla="*/ 0 h 283"/>
                <a:gd name="T24" fmla="*/ 2147483647 w 317"/>
                <a:gd name="T25" fmla="*/ 2147483647 h 283"/>
                <a:gd name="T26" fmla="*/ 2147483647 w 317"/>
                <a:gd name="T27" fmla="*/ 2147483647 h 283"/>
                <a:gd name="T28" fmla="*/ 2147483647 w 317"/>
                <a:gd name="T29" fmla="*/ 2147483647 h 283"/>
                <a:gd name="T30" fmla="*/ 2147483647 w 317"/>
                <a:gd name="T31" fmla="*/ 2147483647 h 283"/>
                <a:gd name="T32" fmla="*/ 2147483647 w 317"/>
                <a:gd name="T33" fmla="*/ 2147483647 h 283"/>
                <a:gd name="T34" fmla="*/ 2147483647 w 317"/>
                <a:gd name="T35" fmla="*/ 2147483647 h 283"/>
                <a:gd name="T36" fmla="*/ 2147483647 w 317"/>
                <a:gd name="T37" fmla="*/ 2147483647 h 283"/>
                <a:gd name="T38" fmla="*/ 2147483647 w 317"/>
                <a:gd name="T39" fmla="*/ 2147483647 h 283"/>
                <a:gd name="T40" fmla="*/ 2147483647 w 317"/>
                <a:gd name="T41" fmla="*/ 2147483647 h 283"/>
                <a:gd name="T42" fmla="*/ 2147483647 w 317"/>
                <a:gd name="T43" fmla="*/ 2147483647 h 283"/>
                <a:gd name="T44" fmla="*/ 2147483647 w 317"/>
                <a:gd name="T45" fmla="*/ 2147483647 h 283"/>
                <a:gd name="T46" fmla="*/ 2147483647 w 317"/>
                <a:gd name="T47" fmla="*/ 2147483647 h 283"/>
                <a:gd name="T48" fmla="*/ 2147483647 w 317"/>
                <a:gd name="T49" fmla="*/ 2147483647 h 283"/>
                <a:gd name="T50" fmla="*/ 2147483647 w 317"/>
                <a:gd name="T51" fmla="*/ 2147483647 h 283"/>
                <a:gd name="T52" fmla="*/ 2147483647 w 317"/>
                <a:gd name="T53" fmla="*/ 2147483647 h 283"/>
                <a:gd name="T54" fmla="*/ 2147483647 w 317"/>
                <a:gd name="T55" fmla="*/ 2147483647 h 283"/>
                <a:gd name="T56" fmla="*/ 2147483647 w 317"/>
                <a:gd name="T57" fmla="*/ 2147483647 h 283"/>
                <a:gd name="T58" fmla="*/ 2147483647 w 317"/>
                <a:gd name="T59" fmla="*/ 2147483647 h 283"/>
                <a:gd name="T60" fmla="*/ 2147483647 w 317"/>
                <a:gd name="T61" fmla="*/ 2147483647 h 283"/>
                <a:gd name="T62" fmla="*/ 2147483647 w 317"/>
                <a:gd name="T63" fmla="*/ 2147483647 h 283"/>
                <a:gd name="T64" fmla="*/ 2147483647 w 317"/>
                <a:gd name="T65" fmla="*/ 2147483647 h 283"/>
                <a:gd name="T66" fmla="*/ 2147483647 w 317"/>
                <a:gd name="T67" fmla="*/ 2147483647 h 283"/>
                <a:gd name="T68" fmla="*/ 2147483647 w 317"/>
                <a:gd name="T69" fmla="*/ 2147483647 h 283"/>
                <a:gd name="T70" fmla="*/ 2147483647 w 317"/>
                <a:gd name="T71" fmla="*/ 2147483647 h 283"/>
                <a:gd name="T72" fmla="*/ 2147483647 w 317"/>
                <a:gd name="T73" fmla="*/ 2147483647 h 283"/>
                <a:gd name="T74" fmla="*/ 2147483647 w 317"/>
                <a:gd name="T75" fmla="*/ 2147483647 h 283"/>
                <a:gd name="T76" fmla="*/ 2147483647 w 317"/>
                <a:gd name="T77" fmla="*/ 2147483647 h 283"/>
                <a:gd name="T78" fmla="*/ 2147483647 w 317"/>
                <a:gd name="T79" fmla="*/ 2147483647 h 283"/>
                <a:gd name="T80" fmla="*/ 2147483647 w 317"/>
                <a:gd name="T81" fmla="*/ 2147483647 h 283"/>
                <a:gd name="T82" fmla="*/ 2147483647 w 317"/>
                <a:gd name="T83" fmla="*/ 2147483647 h 2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17"/>
                <a:gd name="T127" fmla="*/ 0 h 283"/>
                <a:gd name="T128" fmla="*/ 317 w 317"/>
                <a:gd name="T129" fmla="*/ 283 h 28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17" h="283">
                  <a:moveTo>
                    <a:pt x="11" y="220"/>
                  </a:moveTo>
                  <a:lnTo>
                    <a:pt x="0" y="186"/>
                  </a:lnTo>
                  <a:lnTo>
                    <a:pt x="2" y="152"/>
                  </a:lnTo>
                  <a:lnTo>
                    <a:pt x="13" y="150"/>
                  </a:lnTo>
                  <a:lnTo>
                    <a:pt x="26" y="125"/>
                  </a:lnTo>
                  <a:lnTo>
                    <a:pt x="30" y="93"/>
                  </a:lnTo>
                  <a:lnTo>
                    <a:pt x="21" y="76"/>
                  </a:lnTo>
                  <a:lnTo>
                    <a:pt x="26" y="61"/>
                  </a:lnTo>
                  <a:lnTo>
                    <a:pt x="24" y="40"/>
                  </a:lnTo>
                  <a:lnTo>
                    <a:pt x="40" y="28"/>
                  </a:lnTo>
                  <a:lnTo>
                    <a:pt x="38" y="9"/>
                  </a:lnTo>
                  <a:lnTo>
                    <a:pt x="61" y="0"/>
                  </a:lnTo>
                  <a:lnTo>
                    <a:pt x="106" y="5"/>
                  </a:lnTo>
                  <a:lnTo>
                    <a:pt x="133" y="32"/>
                  </a:lnTo>
                  <a:lnTo>
                    <a:pt x="159" y="19"/>
                  </a:lnTo>
                  <a:lnTo>
                    <a:pt x="195" y="26"/>
                  </a:lnTo>
                  <a:lnTo>
                    <a:pt x="228" y="13"/>
                  </a:lnTo>
                  <a:lnTo>
                    <a:pt x="260" y="26"/>
                  </a:lnTo>
                  <a:lnTo>
                    <a:pt x="290" y="4"/>
                  </a:lnTo>
                  <a:lnTo>
                    <a:pt x="302" y="11"/>
                  </a:lnTo>
                  <a:lnTo>
                    <a:pt x="317" y="40"/>
                  </a:lnTo>
                  <a:lnTo>
                    <a:pt x="317" y="70"/>
                  </a:lnTo>
                  <a:lnTo>
                    <a:pt x="300" y="76"/>
                  </a:lnTo>
                  <a:lnTo>
                    <a:pt x="289" y="125"/>
                  </a:lnTo>
                  <a:lnTo>
                    <a:pt x="281" y="133"/>
                  </a:lnTo>
                  <a:lnTo>
                    <a:pt x="275" y="155"/>
                  </a:lnTo>
                  <a:lnTo>
                    <a:pt x="258" y="159"/>
                  </a:lnTo>
                  <a:lnTo>
                    <a:pt x="232" y="212"/>
                  </a:lnTo>
                  <a:lnTo>
                    <a:pt x="209" y="197"/>
                  </a:lnTo>
                  <a:lnTo>
                    <a:pt x="194" y="203"/>
                  </a:lnTo>
                  <a:lnTo>
                    <a:pt x="176" y="254"/>
                  </a:lnTo>
                  <a:lnTo>
                    <a:pt x="167" y="260"/>
                  </a:lnTo>
                  <a:lnTo>
                    <a:pt x="159" y="256"/>
                  </a:lnTo>
                  <a:lnTo>
                    <a:pt x="159" y="269"/>
                  </a:lnTo>
                  <a:lnTo>
                    <a:pt x="137" y="271"/>
                  </a:lnTo>
                  <a:lnTo>
                    <a:pt x="119" y="262"/>
                  </a:lnTo>
                  <a:lnTo>
                    <a:pt x="118" y="275"/>
                  </a:lnTo>
                  <a:lnTo>
                    <a:pt x="97" y="283"/>
                  </a:lnTo>
                  <a:lnTo>
                    <a:pt x="78" y="271"/>
                  </a:lnTo>
                  <a:lnTo>
                    <a:pt x="70" y="249"/>
                  </a:lnTo>
                  <a:lnTo>
                    <a:pt x="42" y="222"/>
                  </a:lnTo>
                  <a:lnTo>
                    <a:pt x="11" y="22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4" name="Freeform 200"/>
            <p:cNvSpPr>
              <a:spLocks/>
            </p:cNvSpPr>
            <p:nvPr/>
          </p:nvSpPr>
          <p:spPr bwMode="auto">
            <a:xfrm>
              <a:off x="3386210" y="4331796"/>
              <a:ext cx="26461" cy="31428"/>
            </a:xfrm>
            <a:custGeom>
              <a:avLst/>
              <a:gdLst>
                <a:gd name="T0" fmla="*/ 2147483647 w 49"/>
                <a:gd name="T1" fmla="*/ 2147483647 h 53"/>
                <a:gd name="T2" fmla="*/ 2147483647 w 49"/>
                <a:gd name="T3" fmla="*/ 2147483647 h 53"/>
                <a:gd name="T4" fmla="*/ 2147483647 w 49"/>
                <a:gd name="T5" fmla="*/ 2147483647 h 53"/>
                <a:gd name="T6" fmla="*/ 2147483647 w 49"/>
                <a:gd name="T7" fmla="*/ 2147483647 h 53"/>
                <a:gd name="T8" fmla="*/ 0 w 49"/>
                <a:gd name="T9" fmla="*/ 2147483647 h 53"/>
                <a:gd name="T10" fmla="*/ 2147483647 w 49"/>
                <a:gd name="T11" fmla="*/ 2147483647 h 53"/>
                <a:gd name="T12" fmla="*/ 2147483647 w 49"/>
                <a:gd name="T13" fmla="*/ 2147483647 h 53"/>
                <a:gd name="T14" fmla="*/ 2147483647 w 49"/>
                <a:gd name="T15" fmla="*/ 0 h 53"/>
                <a:gd name="T16" fmla="*/ 2147483647 w 49"/>
                <a:gd name="T17" fmla="*/ 2147483647 h 53"/>
                <a:gd name="T18" fmla="*/ 2147483647 w 49"/>
                <a:gd name="T19" fmla="*/ 2147483647 h 5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53"/>
                <a:gd name="T32" fmla="*/ 49 w 49"/>
                <a:gd name="T33" fmla="*/ 53 h 5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53">
                  <a:moveTo>
                    <a:pt x="46" y="36"/>
                  </a:moveTo>
                  <a:lnTo>
                    <a:pt x="25" y="38"/>
                  </a:lnTo>
                  <a:lnTo>
                    <a:pt x="21" y="53"/>
                  </a:lnTo>
                  <a:lnTo>
                    <a:pt x="4" y="47"/>
                  </a:lnTo>
                  <a:lnTo>
                    <a:pt x="0" y="28"/>
                  </a:lnTo>
                  <a:lnTo>
                    <a:pt x="6" y="17"/>
                  </a:lnTo>
                  <a:lnTo>
                    <a:pt x="17" y="11"/>
                  </a:lnTo>
                  <a:lnTo>
                    <a:pt x="38" y="0"/>
                  </a:lnTo>
                  <a:lnTo>
                    <a:pt x="49" y="17"/>
                  </a:lnTo>
                  <a:lnTo>
                    <a:pt x="46" y="3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5" name="Freeform 201"/>
            <p:cNvSpPr>
              <a:spLocks/>
            </p:cNvSpPr>
            <p:nvPr/>
          </p:nvSpPr>
          <p:spPr bwMode="auto">
            <a:xfrm>
              <a:off x="2673972" y="3798672"/>
              <a:ext cx="128997" cy="125715"/>
            </a:xfrm>
            <a:custGeom>
              <a:avLst/>
              <a:gdLst>
                <a:gd name="T0" fmla="*/ 2147483647 w 237"/>
                <a:gd name="T1" fmla="*/ 2147483647 h 203"/>
                <a:gd name="T2" fmla="*/ 2147483647 w 237"/>
                <a:gd name="T3" fmla="*/ 2147483647 h 203"/>
                <a:gd name="T4" fmla="*/ 2147483647 w 237"/>
                <a:gd name="T5" fmla="*/ 2147483647 h 203"/>
                <a:gd name="T6" fmla="*/ 2147483647 w 237"/>
                <a:gd name="T7" fmla="*/ 2147483647 h 203"/>
                <a:gd name="T8" fmla="*/ 2147483647 w 237"/>
                <a:gd name="T9" fmla="*/ 2147483647 h 203"/>
                <a:gd name="T10" fmla="*/ 2147483647 w 237"/>
                <a:gd name="T11" fmla="*/ 2147483647 h 203"/>
                <a:gd name="T12" fmla="*/ 2147483647 w 237"/>
                <a:gd name="T13" fmla="*/ 2147483647 h 203"/>
                <a:gd name="T14" fmla="*/ 2147483647 w 237"/>
                <a:gd name="T15" fmla="*/ 2147483647 h 203"/>
                <a:gd name="T16" fmla="*/ 2147483647 w 237"/>
                <a:gd name="T17" fmla="*/ 2147483647 h 203"/>
                <a:gd name="T18" fmla="*/ 0 w 237"/>
                <a:gd name="T19" fmla="*/ 2147483647 h 203"/>
                <a:gd name="T20" fmla="*/ 0 w 237"/>
                <a:gd name="T21" fmla="*/ 2147483647 h 203"/>
                <a:gd name="T22" fmla="*/ 2147483647 w 237"/>
                <a:gd name="T23" fmla="*/ 2147483647 h 203"/>
                <a:gd name="T24" fmla="*/ 2147483647 w 237"/>
                <a:gd name="T25" fmla="*/ 2147483647 h 203"/>
                <a:gd name="T26" fmla="*/ 2147483647 w 237"/>
                <a:gd name="T27" fmla="*/ 2147483647 h 203"/>
                <a:gd name="T28" fmla="*/ 2147483647 w 237"/>
                <a:gd name="T29" fmla="*/ 2147483647 h 203"/>
                <a:gd name="T30" fmla="*/ 2147483647 w 237"/>
                <a:gd name="T31" fmla="*/ 2147483647 h 203"/>
                <a:gd name="T32" fmla="*/ 2147483647 w 237"/>
                <a:gd name="T33" fmla="*/ 2147483647 h 203"/>
                <a:gd name="T34" fmla="*/ 2147483647 w 237"/>
                <a:gd name="T35" fmla="*/ 2147483647 h 203"/>
                <a:gd name="T36" fmla="*/ 2147483647 w 237"/>
                <a:gd name="T37" fmla="*/ 2147483647 h 203"/>
                <a:gd name="T38" fmla="*/ 2147483647 w 237"/>
                <a:gd name="T39" fmla="*/ 0 h 203"/>
                <a:gd name="T40" fmla="*/ 2147483647 w 237"/>
                <a:gd name="T41" fmla="*/ 2147483647 h 20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37"/>
                <a:gd name="T64" fmla="*/ 0 h 203"/>
                <a:gd name="T65" fmla="*/ 237 w 237"/>
                <a:gd name="T66" fmla="*/ 203 h 20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37" h="203">
                  <a:moveTo>
                    <a:pt x="237" y="4"/>
                  </a:moveTo>
                  <a:lnTo>
                    <a:pt x="237" y="21"/>
                  </a:lnTo>
                  <a:lnTo>
                    <a:pt x="233" y="57"/>
                  </a:lnTo>
                  <a:lnTo>
                    <a:pt x="142" y="59"/>
                  </a:lnTo>
                  <a:lnTo>
                    <a:pt x="140" y="137"/>
                  </a:lnTo>
                  <a:lnTo>
                    <a:pt x="117" y="139"/>
                  </a:lnTo>
                  <a:lnTo>
                    <a:pt x="110" y="150"/>
                  </a:lnTo>
                  <a:lnTo>
                    <a:pt x="112" y="201"/>
                  </a:lnTo>
                  <a:lnTo>
                    <a:pt x="9" y="203"/>
                  </a:lnTo>
                  <a:lnTo>
                    <a:pt x="0" y="203"/>
                  </a:lnTo>
                  <a:lnTo>
                    <a:pt x="0" y="184"/>
                  </a:lnTo>
                  <a:lnTo>
                    <a:pt x="5" y="171"/>
                  </a:lnTo>
                  <a:lnTo>
                    <a:pt x="26" y="150"/>
                  </a:lnTo>
                  <a:lnTo>
                    <a:pt x="20" y="141"/>
                  </a:lnTo>
                  <a:lnTo>
                    <a:pt x="32" y="112"/>
                  </a:lnTo>
                  <a:lnTo>
                    <a:pt x="58" y="95"/>
                  </a:lnTo>
                  <a:lnTo>
                    <a:pt x="72" y="70"/>
                  </a:lnTo>
                  <a:lnTo>
                    <a:pt x="74" y="48"/>
                  </a:lnTo>
                  <a:lnTo>
                    <a:pt x="95" y="38"/>
                  </a:lnTo>
                  <a:lnTo>
                    <a:pt x="114" y="0"/>
                  </a:lnTo>
                  <a:lnTo>
                    <a:pt x="237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6" name="Freeform 202"/>
            <p:cNvSpPr>
              <a:spLocks/>
            </p:cNvSpPr>
            <p:nvPr/>
          </p:nvSpPr>
          <p:spPr bwMode="auto">
            <a:xfrm>
              <a:off x="3274854" y="4464495"/>
              <a:ext cx="179714" cy="176932"/>
            </a:xfrm>
            <a:custGeom>
              <a:avLst/>
              <a:gdLst>
                <a:gd name="T0" fmla="*/ 2147483647 w 330"/>
                <a:gd name="T1" fmla="*/ 2147483647 h 283"/>
                <a:gd name="T2" fmla="*/ 0 w 330"/>
                <a:gd name="T3" fmla="*/ 2147483647 h 283"/>
                <a:gd name="T4" fmla="*/ 0 w 330"/>
                <a:gd name="T5" fmla="*/ 2147483647 h 283"/>
                <a:gd name="T6" fmla="*/ 2147483647 w 330"/>
                <a:gd name="T7" fmla="*/ 2147483647 h 283"/>
                <a:gd name="T8" fmla="*/ 2147483647 w 330"/>
                <a:gd name="T9" fmla="*/ 2147483647 h 283"/>
                <a:gd name="T10" fmla="*/ 2147483647 w 330"/>
                <a:gd name="T11" fmla="*/ 2147483647 h 283"/>
                <a:gd name="T12" fmla="*/ 2147483647 w 330"/>
                <a:gd name="T13" fmla="*/ 2147483647 h 283"/>
                <a:gd name="T14" fmla="*/ 2147483647 w 330"/>
                <a:gd name="T15" fmla="*/ 2147483647 h 283"/>
                <a:gd name="T16" fmla="*/ 2147483647 w 330"/>
                <a:gd name="T17" fmla="*/ 2147483647 h 283"/>
                <a:gd name="T18" fmla="*/ 2147483647 w 330"/>
                <a:gd name="T19" fmla="*/ 2147483647 h 283"/>
                <a:gd name="T20" fmla="*/ 2147483647 w 330"/>
                <a:gd name="T21" fmla="*/ 2147483647 h 283"/>
                <a:gd name="T22" fmla="*/ 2147483647 w 330"/>
                <a:gd name="T23" fmla="*/ 2147483647 h 283"/>
                <a:gd name="T24" fmla="*/ 2147483647 w 330"/>
                <a:gd name="T25" fmla="*/ 2147483647 h 283"/>
                <a:gd name="T26" fmla="*/ 2147483647 w 330"/>
                <a:gd name="T27" fmla="*/ 2147483647 h 283"/>
                <a:gd name="T28" fmla="*/ 2147483647 w 330"/>
                <a:gd name="T29" fmla="*/ 2147483647 h 283"/>
                <a:gd name="T30" fmla="*/ 2147483647 w 330"/>
                <a:gd name="T31" fmla="*/ 2147483647 h 283"/>
                <a:gd name="T32" fmla="*/ 2147483647 w 330"/>
                <a:gd name="T33" fmla="*/ 2147483647 h 283"/>
                <a:gd name="T34" fmla="*/ 2147483647 w 330"/>
                <a:gd name="T35" fmla="*/ 2147483647 h 283"/>
                <a:gd name="T36" fmla="*/ 2147483647 w 330"/>
                <a:gd name="T37" fmla="*/ 2147483647 h 283"/>
                <a:gd name="T38" fmla="*/ 2147483647 w 330"/>
                <a:gd name="T39" fmla="*/ 0 h 283"/>
                <a:gd name="T40" fmla="*/ 2147483647 w 330"/>
                <a:gd name="T41" fmla="*/ 2147483647 h 283"/>
                <a:gd name="T42" fmla="*/ 2147483647 w 330"/>
                <a:gd name="T43" fmla="*/ 2147483647 h 283"/>
                <a:gd name="T44" fmla="*/ 2147483647 w 330"/>
                <a:gd name="T45" fmla="*/ 2147483647 h 283"/>
                <a:gd name="T46" fmla="*/ 2147483647 w 330"/>
                <a:gd name="T47" fmla="*/ 2147483647 h 283"/>
                <a:gd name="T48" fmla="*/ 2147483647 w 330"/>
                <a:gd name="T49" fmla="*/ 2147483647 h 283"/>
                <a:gd name="T50" fmla="*/ 2147483647 w 330"/>
                <a:gd name="T51" fmla="*/ 2147483647 h 283"/>
                <a:gd name="T52" fmla="*/ 2147483647 w 330"/>
                <a:gd name="T53" fmla="*/ 2147483647 h 283"/>
                <a:gd name="T54" fmla="*/ 2147483647 w 330"/>
                <a:gd name="T55" fmla="*/ 2147483647 h 283"/>
                <a:gd name="T56" fmla="*/ 2147483647 w 330"/>
                <a:gd name="T57" fmla="*/ 2147483647 h 283"/>
                <a:gd name="T58" fmla="*/ 2147483647 w 330"/>
                <a:gd name="T59" fmla="*/ 2147483647 h 283"/>
                <a:gd name="T60" fmla="*/ 2147483647 w 330"/>
                <a:gd name="T61" fmla="*/ 2147483647 h 283"/>
                <a:gd name="T62" fmla="*/ 2147483647 w 330"/>
                <a:gd name="T63" fmla="*/ 2147483647 h 283"/>
                <a:gd name="T64" fmla="*/ 2147483647 w 330"/>
                <a:gd name="T65" fmla="*/ 2147483647 h 283"/>
                <a:gd name="T66" fmla="*/ 2147483647 w 330"/>
                <a:gd name="T67" fmla="*/ 2147483647 h 283"/>
                <a:gd name="T68" fmla="*/ 2147483647 w 330"/>
                <a:gd name="T69" fmla="*/ 2147483647 h 283"/>
                <a:gd name="T70" fmla="*/ 2147483647 w 330"/>
                <a:gd name="T71" fmla="*/ 2147483647 h 283"/>
                <a:gd name="T72" fmla="*/ 2147483647 w 330"/>
                <a:gd name="T73" fmla="*/ 2147483647 h 283"/>
                <a:gd name="T74" fmla="*/ 2147483647 w 330"/>
                <a:gd name="T75" fmla="*/ 2147483647 h 283"/>
                <a:gd name="T76" fmla="*/ 2147483647 w 330"/>
                <a:gd name="T77" fmla="*/ 2147483647 h 283"/>
                <a:gd name="T78" fmla="*/ 2147483647 w 330"/>
                <a:gd name="T79" fmla="*/ 2147483647 h 283"/>
                <a:gd name="T80" fmla="*/ 2147483647 w 330"/>
                <a:gd name="T81" fmla="*/ 2147483647 h 28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30"/>
                <a:gd name="T124" fmla="*/ 0 h 283"/>
                <a:gd name="T125" fmla="*/ 330 w 330"/>
                <a:gd name="T126" fmla="*/ 283 h 28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30" h="283">
                  <a:moveTo>
                    <a:pt x="38" y="263"/>
                  </a:moveTo>
                  <a:lnTo>
                    <a:pt x="0" y="225"/>
                  </a:lnTo>
                  <a:lnTo>
                    <a:pt x="0" y="128"/>
                  </a:lnTo>
                  <a:lnTo>
                    <a:pt x="49" y="126"/>
                  </a:lnTo>
                  <a:lnTo>
                    <a:pt x="59" y="105"/>
                  </a:lnTo>
                  <a:lnTo>
                    <a:pt x="59" y="65"/>
                  </a:lnTo>
                  <a:lnTo>
                    <a:pt x="76" y="78"/>
                  </a:lnTo>
                  <a:lnTo>
                    <a:pt x="95" y="71"/>
                  </a:lnTo>
                  <a:lnTo>
                    <a:pt x="106" y="97"/>
                  </a:lnTo>
                  <a:lnTo>
                    <a:pt x="150" y="90"/>
                  </a:lnTo>
                  <a:lnTo>
                    <a:pt x="159" y="109"/>
                  </a:lnTo>
                  <a:lnTo>
                    <a:pt x="184" y="113"/>
                  </a:lnTo>
                  <a:lnTo>
                    <a:pt x="199" y="135"/>
                  </a:lnTo>
                  <a:lnTo>
                    <a:pt x="230" y="133"/>
                  </a:lnTo>
                  <a:lnTo>
                    <a:pt x="228" y="97"/>
                  </a:lnTo>
                  <a:lnTo>
                    <a:pt x="209" y="113"/>
                  </a:lnTo>
                  <a:lnTo>
                    <a:pt x="182" y="86"/>
                  </a:lnTo>
                  <a:lnTo>
                    <a:pt x="186" y="37"/>
                  </a:lnTo>
                  <a:lnTo>
                    <a:pt x="199" y="4"/>
                  </a:lnTo>
                  <a:lnTo>
                    <a:pt x="239" y="0"/>
                  </a:lnTo>
                  <a:lnTo>
                    <a:pt x="237" y="6"/>
                  </a:lnTo>
                  <a:lnTo>
                    <a:pt x="260" y="12"/>
                  </a:lnTo>
                  <a:lnTo>
                    <a:pt x="264" y="2"/>
                  </a:lnTo>
                  <a:lnTo>
                    <a:pt x="281" y="14"/>
                  </a:lnTo>
                  <a:lnTo>
                    <a:pt x="309" y="27"/>
                  </a:lnTo>
                  <a:lnTo>
                    <a:pt x="328" y="50"/>
                  </a:lnTo>
                  <a:lnTo>
                    <a:pt x="330" y="69"/>
                  </a:lnTo>
                  <a:lnTo>
                    <a:pt x="321" y="73"/>
                  </a:lnTo>
                  <a:lnTo>
                    <a:pt x="317" y="111"/>
                  </a:lnTo>
                  <a:lnTo>
                    <a:pt x="308" y="126"/>
                  </a:lnTo>
                  <a:lnTo>
                    <a:pt x="306" y="152"/>
                  </a:lnTo>
                  <a:lnTo>
                    <a:pt x="313" y="164"/>
                  </a:lnTo>
                  <a:lnTo>
                    <a:pt x="237" y="192"/>
                  </a:lnTo>
                  <a:lnTo>
                    <a:pt x="241" y="209"/>
                  </a:lnTo>
                  <a:lnTo>
                    <a:pt x="205" y="217"/>
                  </a:lnTo>
                  <a:lnTo>
                    <a:pt x="199" y="234"/>
                  </a:lnTo>
                  <a:lnTo>
                    <a:pt x="171" y="245"/>
                  </a:lnTo>
                  <a:lnTo>
                    <a:pt x="137" y="283"/>
                  </a:lnTo>
                  <a:lnTo>
                    <a:pt x="87" y="274"/>
                  </a:lnTo>
                  <a:lnTo>
                    <a:pt x="61" y="257"/>
                  </a:lnTo>
                  <a:lnTo>
                    <a:pt x="38" y="26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7" name="Freeform 203"/>
            <p:cNvSpPr>
              <a:spLocks/>
            </p:cNvSpPr>
            <p:nvPr/>
          </p:nvSpPr>
          <p:spPr bwMode="auto">
            <a:xfrm>
              <a:off x="2670664" y="4010525"/>
              <a:ext cx="97023" cy="90794"/>
            </a:xfrm>
            <a:custGeom>
              <a:avLst/>
              <a:gdLst>
                <a:gd name="T0" fmla="*/ 2147483647 w 178"/>
                <a:gd name="T1" fmla="*/ 2147483647 h 144"/>
                <a:gd name="T2" fmla="*/ 2147483647 w 178"/>
                <a:gd name="T3" fmla="*/ 2147483647 h 144"/>
                <a:gd name="T4" fmla="*/ 2147483647 w 178"/>
                <a:gd name="T5" fmla="*/ 2147483647 h 144"/>
                <a:gd name="T6" fmla="*/ 2147483647 w 178"/>
                <a:gd name="T7" fmla="*/ 2147483647 h 144"/>
                <a:gd name="T8" fmla="*/ 2147483647 w 178"/>
                <a:gd name="T9" fmla="*/ 2147483647 h 144"/>
                <a:gd name="T10" fmla="*/ 2147483647 w 178"/>
                <a:gd name="T11" fmla="*/ 2147483647 h 144"/>
                <a:gd name="T12" fmla="*/ 2147483647 w 178"/>
                <a:gd name="T13" fmla="*/ 2147483647 h 144"/>
                <a:gd name="T14" fmla="*/ 2147483647 w 178"/>
                <a:gd name="T15" fmla="*/ 2147483647 h 144"/>
                <a:gd name="T16" fmla="*/ 2147483647 w 178"/>
                <a:gd name="T17" fmla="*/ 2147483647 h 144"/>
                <a:gd name="T18" fmla="*/ 0 w 178"/>
                <a:gd name="T19" fmla="*/ 2147483647 h 144"/>
                <a:gd name="T20" fmla="*/ 2147483647 w 178"/>
                <a:gd name="T21" fmla="*/ 2147483647 h 144"/>
                <a:gd name="T22" fmla="*/ 2147483647 w 178"/>
                <a:gd name="T23" fmla="*/ 2147483647 h 144"/>
                <a:gd name="T24" fmla="*/ 2147483647 w 178"/>
                <a:gd name="T25" fmla="*/ 2147483647 h 144"/>
                <a:gd name="T26" fmla="*/ 2147483647 w 178"/>
                <a:gd name="T27" fmla="*/ 0 h 144"/>
                <a:gd name="T28" fmla="*/ 2147483647 w 178"/>
                <a:gd name="T29" fmla="*/ 2147483647 h 144"/>
                <a:gd name="T30" fmla="*/ 2147483647 w 178"/>
                <a:gd name="T31" fmla="*/ 2147483647 h 144"/>
                <a:gd name="T32" fmla="*/ 2147483647 w 178"/>
                <a:gd name="T33" fmla="*/ 2147483647 h 144"/>
                <a:gd name="T34" fmla="*/ 2147483647 w 178"/>
                <a:gd name="T35" fmla="*/ 2147483647 h 144"/>
                <a:gd name="T36" fmla="*/ 2147483647 w 178"/>
                <a:gd name="T37" fmla="*/ 2147483647 h 144"/>
                <a:gd name="T38" fmla="*/ 2147483647 w 178"/>
                <a:gd name="T39" fmla="*/ 2147483647 h 144"/>
                <a:gd name="T40" fmla="*/ 2147483647 w 178"/>
                <a:gd name="T41" fmla="*/ 2147483647 h 144"/>
                <a:gd name="T42" fmla="*/ 2147483647 w 178"/>
                <a:gd name="T43" fmla="*/ 2147483647 h 144"/>
                <a:gd name="T44" fmla="*/ 2147483647 w 178"/>
                <a:gd name="T45" fmla="*/ 2147483647 h 144"/>
                <a:gd name="T46" fmla="*/ 2147483647 w 178"/>
                <a:gd name="T47" fmla="*/ 2147483647 h 144"/>
                <a:gd name="T48" fmla="*/ 2147483647 w 178"/>
                <a:gd name="T49" fmla="*/ 2147483647 h 144"/>
                <a:gd name="T50" fmla="*/ 2147483647 w 178"/>
                <a:gd name="T51" fmla="*/ 2147483647 h 144"/>
                <a:gd name="T52" fmla="*/ 2147483647 w 178"/>
                <a:gd name="T53" fmla="*/ 2147483647 h 144"/>
                <a:gd name="T54" fmla="*/ 2147483647 w 178"/>
                <a:gd name="T55" fmla="*/ 2147483647 h 144"/>
                <a:gd name="T56" fmla="*/ 2147483647 w 178"/>
                <a:gd name="T57" fmla="*/ 2147483647 h 14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8"/>
                <a:gd name="T88" fmla="*/ 0 h 144"/>
                <a:gd name="T89" fmla="*/ 178 w 178"/>
                <a:gd name="T90" fmla="*/ 144 h 14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8" h="144">
                  <a:moveTo>
                    <a:pt x="17" y="106"/>
                  </a:moveTo>
                  <a:lnTo>
                    <a:pt x="51" y="108"/>
                  </a:lnTo>
                  <a:lnTo>
                    <a:pt x="74" y="97"/>
                  </a:lnTo>
                  <a:lnTo>
                    <a:pt x="87" y="106"/>
                  </a:lnTo>
                  <a:lnTo>
                    <a:pt x="101" y="97"/>
                  </a:lnTo>
                  <a:lnTo>
                    <a:pt x="93" y="87"/>
                  </a:lnTo>
                  <a:lnTo>
                    <a:pt x="70" y="84"/>
                  </a:lnTo>
                  <a:lnTo>
                    <a:pt x="25" y="85"/>
                  </a:lnTo>
                  <a:lnTo>
                    <a:pt x="21" y="80"/>
                  </a:lnTo>
                  <a:lnTo>
                    <a:pt x="0" y="53"/>
                  </a:lnTo>
                  <a:lnTo>
                    <a:pt x="19" y="28"/>
                  </a:lnTo>
                  <a:lnTo>
                    <a:pt x="25" y="11"/>
                  </a:lnTo>
                  <a:lnTo>
                    <a:pt x="36" y="8"/>
                  </a:lnTo>
                  <a:lnTo>
                    <a:pt x="87" y="0"/>
                  </a:lnTo>
                  <a:lnTo>
                    <a:pt x="101" y="17"/>
                  </a:lnTo>
                  <a:lnTo>
                    <a:pt x="118" y="17"/>
                  </a:lnTo>
                  <a:lnTo>
                    <a:pt x="148" y="49"/>
                  </a:lnTo>
                  <a:lnTo>
                    <a:pt x="140" y="66"/>
                  </a:lnTo>
                  <a:lnTo>
                    <a:pt x="148" y="97"/>
                  </a:lnTo>
                  <a:lnTo>
                    <a:pt x="167" y="106"/>
                  </a:lnTo>
                  <a:lnTo>
                    <a:pt x="178" y="133"/>
                  </a:lnTo>
                  <a:lnTo>
                    <a:pt x="171" y="144"/>
                  </a:lnTo>
                  <a:lnTo>
                    <a:pt x="161" y="131"/>
                  </a:lnTo>
                  <a:lnTo>
                    <a:pt x="104" y="127"/>
                  </a:lnTo>
                  <a:lnTo>
                    <a:pt x="78" y="122"/>
                  </a:lnTo>
                  <a:lnTo>
                    <a:pt x="26" y="135"/>
                  </a:lnTo>
                  <a:lnTo>
                    <a:pt x="17" y="133"/>
                  </a:lnTo>
                  <a:lnTo>
                    <a:pt x="15" y="120"/>
                  </a:lnTo>
                  <a:lnTo>
                    <a:pt x="17" y="10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8" name="Freeform 204"/>
            <p:cNvSpPr>
              <a:spLocks/>
            </p:cNvSpPr>
            <p:nvPr/>
          </p:nvSpPr>
          <p:spPr bwMode="auto">
            <a:xfrm>
              <a:off x="2730201" y="4135076"/>
              <a:ext cx="49614" cy="54709"/>
            </a:xfrm>
            <a:custGeom>
              <a:avLst/>
              <a:gdLst>
                <a:gd name="T0" fmla="*/ 0 w 89"/>
                <a:gd name="T1" fmla="*/ 2147483647 h 88"/>
                <a:gd name="T2" fmla="*/ 2147483647 w 89"/>
                <a:gd name="T3" fmla="*/ 2147483647 h 88"/>
                <a:gd name="T4" fmla="*/ 2147483647 w 89"/>
                <a:gd name="T5" fmla="*/ 2147483647 h 88"/>
                <a:gd name="T6" fmla="*/ 2147483647 w 89"/>
                <a:gd name="T7" fmla="*/ 0 h 88"/>
                <a:gd name="T8" fmla="*/ 2147483647 w 89"/>
                <a:gd name="T9" fmla="*/ 2147483647 h 88"/>
                <a:gd name="T10" fmla="*/ 2147483647 w 89"/>
                <a:gd name="T11" fmla="*/ 2147483647 h 88"/>
                <a:gd name="T12" fmla="*/ 2147483647 w 89"/>
                <a:gd name="T13" fmla="*/ 2147483647 h 88"/>
                <a:gd name="T14" fmla="*/ 2147483647 w 89"/>
                <a:gd name="T15" fmla="*/ 2147483647 h 88"/>
                <a:gd name="T16" fmla="*/ 2147483647 w 89"/>
                <a:gd name="T17" fmla="*/ 2147483647 h 88"/>
                <a:gd name="T18" fmla="*/ 2147483647 w 89"/>
                <a:gd name="T19" fmla="*/ 2147483647 h 88"/>
                <a:gd name="T20" fmla="*/ 2147483647 w 89"/>
                <a:gd name="T21" fmla="*/ 2147483647 h 88"/>
                <a:gd name="T22" fmla="*/ 2147483647 w 89"/>
                <a:gd name="T23" fmla="*/ 2147483647 h 88"/>
                <a:gd name="T24" fmla="*/ 2147483647 w 89"/>
                <a:gd name="T25" fmla="*/ 2147483647 h 88"/>
                <a:gd name="T26" fmla="*/ 2147483647 w 89"/>
                <a:gd name="T27" fmla="*/ 2147483647 h 88"/>
                <a:gd name="T28" fmla="*/ 2147483647 w 89"/>
                <a:gd name="T29" fmla="*/ 2147483647 h 88"/>
                <a:gd name="T30" fmla="*/ 2147483647 w 89"/>
                <a:gd name="T31" fmla="*/ 2147483647 h 88"/>
                <a:gd name="T32" fmla="*/ 0 w 89"/>
                <a:gd name="T33" fmla="*/ 2147483647 h 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9"/>
                <a:gd name="T52" fmla="*/ 0 h 88"/>
                <a:gd name="T53" fmla="*/ 89 w 89"/>
                <a:gd name="T54" fmla="*/ 88 h 8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9" h="88">
                  <a:moveTo>
                    <a:pt x="0" y="23"/>
                  </a:moveTo>
                  <a:lnTo>
                    <a:pt x="17" y="23"/>
                  </a:lnTo>
                  <a:lnTo>
                    <a:pt x="27" y="6"/>
                  </a:lnTo>
                  <a:lnTo>
                    <a:pt x="57" y="0"/>
                  </a:lnTo>
                  <a:lnTo>
                    <a:pt x="67" y="6"/>
                  </a:lnTo>
                  <a:lnTo>
                    <a:pt x="78" y="29"/>
                  </a:lnTo>
                  <a:lnTo>
                    <a:pt x="74" y="50"/>
                  </a:lnTo>
                  <a:lnTo>
                    <a:pt x="87" y="44"/>
                  </a:lnTo>
                  <a:lnTo>
                    <a:pt x="89" y="59"/>
                  </a:lnTo>
                  <a:lnTo>
                    <a:pt x="76" y="63"/>
                  </a:lnTo>
                  <a:lnTo>
                    <a:pt x="74" y="73"/>
                  </a:lnTo>
                  <a:lnTo>
                    <a:pt x="59" y="78"/>
                  </a:lnTo>
                  <a:lnTo>
                    <a:pt x="49" y="88"/>
                  </a:lnTo>
                  <a:lnTo>
                    <a:pt x="13" y="74"/>
                  </a:lnTo>
                  <a:lnTo>
                    <a:pt x="11" y="54"/>
                  </a:lnTo>
                  <a:lnTo>
                    <a:pt x="2" y="52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29" name="Freeform 205"/>
            <p:cNvSpPr>
              <a:spLocks/>
            </p:cNvSpPr>
            <p:nvPr/>
          </p:nvSpPr>
          <p:spPr bwMode="auto">
            <a:xfrm>
              <a:off x="3321160" y="4596031"/>
              <a:ext cx="126792" cy="130371"/>
            </a:xfrm>
            <a:custGeom>
              <a:avLst/>
              <a:gdLst>
                <a:gd name="T0" fmla="*/ 2147483647 w 234"/>
                <a:gd name="T1" fmla="*/ 2147483647 h 211"/>
                <a:gd name="T2" fmla="*/ 2147483647 w 234"/>
                <a:gd name="T3" fmla="*/ 2147483647 h 211"/>
                <a:gd name="T4" fmla="*/ 2147483647 w 234"/>
                <a:gd name="T5" fmla="*/ 2147483647 h 211"/>
                <a:gd name="T6" fmla="*/ 2147483647 w 234"/>
                <a:gd name="T7" fmla="*/ 2147483647 h 211"/>
                <a:gd name="T8" fmla="*/ 2147483647 w 234"/>
                <a:gd name="T9" fmla="*/ 2147483647 h 211"/>
                <a:gd name="T10" fmla="*/ 0 w 234"/>
                <a:gd name="T11" fmla="*/ 2147483647 h 211"/>
                <a:gd name="T12" fmla="*/ 2147483647 w 234"/>
                <a:gd name="T13" fmla="*/ 2147483647 h 211"/>
                <a:gd name="T14" fmla="*/ 2147483647 w 234"/>
                <a:gd name="T15" fmla="*/ 2147483647 h 211"/>
                <a:gd name="T16" fmla="*/ 2147483647 w 234"/>
                <a:gd name="T17" fmla="*/ 2147483647 h 211"/>
                <a:gd name="T18" fmla="*/ 2147483647 w 234"/>
                <a:gd name="T19" fmla="*/ 2147483647 h 211"/>
                <a:gd name="T20" fmla="*/ 2147483647 w 234"/>
                <a:gd name="T21" fmla="*/ 0 h 211"/>
                <a:gd name="T22" fmla="*/ 2147483647 w 234"/>
                <a:gd name="T23" fmla="*/ 2147483647 h 211"/>
                <a:gd name="T24" fmla="*/ 2147483647 w 234"/>
                <a:gd name="T25" fmla="*/ 2147483647 h 211"/>
                <a:gd name="T26" fmla="*/ 2147483647 w 234"/>
                <a:gd name="T27" fmla="*/ 2147483647 h 211"/>
                <a:gd name="T28" fmla="*/ 2147483647 w 234"/>
                <a:gd name="T29" fmla="*/ 2147483647 h 211"/>
                <a:gd name="T30" fmla="*/ 2147483647 w 234"/>
                <a:gd name="T31" fmla="*/ 2147483647 h 211"/>
                <a:gd name="T32" fmla="*/ 2147483647 w 234"/>
                <a:gd name="T33" fmla="*/ 2147483647 h 211"/>
                <a:gd name="T34" fmla="*/ 2147483647 w 234"/>
                <a:gd name="T35" fmla="*/ 2147483647 h 211"/>
                <a:gd name="T36" fmla="*/ 2147483647 w 234"/>
                <a:gd name="T37" fmla="*/ 2147483647 h 211"/>
                <a:gd name="T38" fmla="*/ 2147483647 w 234"/>
                <a:gd name="T39" fmla="*/ 2147483647 h 211"/>
                <a:gd name="T40" fmla="*/ 2147483647 w 234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34"/>
                <a:gd name="T64" fmla="*/ 0 h 211"/>
                <a:gd name="T65" fmla="*/ 234 w 234"/>
                <a:gd name="T66" fmla="*/ 211 h 2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34" h="211">
                  <a:moveTo>
                    <a:pt x="131" y="200"/>
                  </a:moveTo>
                  <a:lnTo>
                    <a:pt x="126" y="187"/>
                  </a:lnTo>
                  <a:lnTo>
                    <a:pt x="101" y="188"/>
                  </a:lnTo>
                  <a:lnTo>
                    <a:pt x="80" y="156"/>
                  </a:lnTo>
                  <a:lnTo>
                    <a:pt x="23" y="111"/>
                  </a:lnTo>
                  <a:lnTo>
                    <a:pt x="0" y="65"/>
                  </a:lnTo>
                  <a:lnTo>
                    <a:pt x="50" y="74"/>
                  </a:lnTo>
                  <a:lnTo>
                    <a:pt x="86" y="36"/>
                  </a:lnTo>
                  <a:lnTo>
                    <a:pt x="114" y="23"/>
                  </a:lnTo>
                  <a:lnTo>
                    <a:pt x="118" y="8"/>
                  </a:lnTo>
                  <a:lnTo>
                    <a:pt x="156" y="0"/>
                  </a:lnTo>
                  <a:lnTo>
                    <a:pt x="162" y="16"/>
                  </a:lnTo>
                  <a:lnTo>
                    <a:pt x="194" y="14"/>
                  </a:lnTo>
                  <a:lnTo>
                    <a:pt x="226" y="33"/>
                  </a:lnTo>
                  <a:lnTo>
                    <a:pt x="230" y="105"/>
                  </a:lnTo>
                  <a:lnTo>
                    <a:pt x="224" y="120"/>
                  </a:lnTo>
                  <a:lnTo>
                    <a:pt x="234" y="131"/>
                  </a:lnTo>
                  <a:lnTo>
                    <a:pt x="215" y="175"/>
                  </a:lnTo>
                  <a:lnTo>
                    <a:pt x="188" y="211"/>
                  </a:lnTo>
                  <a:lnTo>
                    <a:pt x="150" y="202"/>
                  </a:lnTo>
                  <a:lnTo>
                    <a:pt x="131" y="20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0" name="Freeform 206"/>
            <p:cNvSpPr>
              <a:spLocks/>
            </p:cNvSpPr>
            <p:nvPr/>
          </p:nvSpPr>
          <p:spPr bwMode="auto">
            <a:xfrm>
              <a:off x="3571436" y="4097827"/>
              <a:ext cx="160970" cy="249102"/>
            </a:xfrm>
            <a:custGeom>
              <a:avLst/>
              <a:gdLst>
                <a:gd name="T0" fmla="*/ 2147483647 w 297"/>
                <a:gd name="T1" fmla="*/ 2147483647 h 400"/>
                <a:gd name="T2" fmla="*/ 2147483647 w 297"/>
                <a:gd name="T3" fmla="*/ 2147483647 h 400"/>
                <a:gd name="T4" fmla="*/ 2147483647 w 297"/>
                <a:gd name="T5" fmla="*/ 2147483647 h 400"/>
                <a:gd name="T6" fmla="*/ 2147483647 w 297"/>
                <a:gd name="T7" fmla="*/ 2147483647 h 400"/>
                <a:gd name="T8" fmla="*/ 2147483647 w 297"/>
                <a:gd name="T9" fmla="*/ 2147483647 h 400"/>
                <a:gd name="T10" fmla="*/ 2147483647 w 297"/>
                <a:gd name="T11" fmla="*/ 2147483647 h 400"/>
                <a:gd name="T12" fmla="*/ 2147483647 w 297"/>
                <a:gd name="T13" fmla="*/ 2147483647 h 400"/>
                <a:gd name="T14" fmla="*/ 2147483647 w 297"/>
                <a:gd name="T15" fmla="*/ 2147483647 h 400"/>
                <a:gd name="T16" fmla="*/ 2147483647 w 297"/>
                <a:gd name="T17" fmla="*/ 2147483647 h 400"/>
                <a:gd name="T18" fmla="*/ 2147483647 w 297"/>
                <a:gd name="T19" fmla="*/ 2147483647 h 400"/>
                <a:gd name="T20" fmla="*/ 2147483647 w 297"/>
                <a:gd name="T21" fmla="*/ 2147483647 h 400"/>
                <a:gd name="T22" fmla="*/ 2147483647 w 297"/>
                <a:gd name="T23" fmla="*/ 2147483647 h 400"/>
                <a:gd name="T24" fmla="*/ 2147483647 w 297"/>
                <a:gd name="T25" fmla="*/ 2147483647 h 400"/>
                <a:gd name="T26" fmla="*/ 2147483647 w 297"/>
                <a:gd name="T27" fmla="*/ 2147483647 h 400"/>
                <a:gd name="T28" fmla="*/ 2147483647 w 297"/>
                <a:gd name="T29" fmla="*/ 2147483647 h 400"/>
                <a:gd name="T30" fmla="*/ 2147483647 w 297"/>
                <a:gd name="T31" fmla="*/ 2147483647 h 400"/>
                <a:gd name="T32" fmla="*/ 2147483647 w 297"/>
                <a:gd name="T33" fmla="*/ 2147483647 h 400"/>
                <a:gd name="T34" fmla="*/ 2147483647 w 297"/>
                <a:gd name="T35" fmla="*/ 0 h 400"/>
                <a:gd name="T36" fmla="*/ 2147483647 w 297"/>
                <a:gd name="T37" fmla="*/ 0 h 400"/>
                <a:gd name="T38" fmla="*/ 2147483647 w 297"/>
                <a:gd name="T39" fmla="*/ 2147483647 h 400"/>
                <a:gd name="T40" fmla="*/ 2147483647 w 297"/>
                <a:gd name="T41" fmla="*/ 2147483647 h 400"/>
                <a:gd name="T42" fmla="*/ 2147483647 w 297"/>
                <a:gd name="T43" fmla="*/ 2147483647 h 400"/>
                <a:gd name="T44" fmla="*/ 2147483647 w 297"/>
                <a:gd name="T45" fmla="*/ 2147483647 h 400"/>
                <a:gd name="T46" fmla="*/ 2147483647 w 297"/>
                <a:gd name="T47" fmla="*/ 2147483647 h 400"/>
                <a:gd name="T48" fmla="*/ 2147483647 w 297"/>
                <a:gd name="T49" fmla="*/ 2147483647 h 400"/>
                <a:gd name="T50" fmla="*/ 2147483647 w 297"/>
                <a:gd name="T51" fmla="*/ 2147483647 h 400"/>
                <a:gd name="T52" fmla="*/ 2147483647 w 297"/>
                <a:gd name="T53" fmla="*/ 2147483647 h 400"/>
                <a:gd name="T54" fmla="*/ 2147483647 w 297"/>
                <a:gd name="T55" fmla="*/ 2147483647 h 400"/>
                <a:gd name="T56" fmla="*/ 2147483647 w 297"/>
                <a:gd name="T57" fmla="*/ 2147483647 h 400"/>
                <a:gd name="T58" fmla="*/ 2147483647 w 297"/>
                <a:gd name="T59" fmla="*/ 2147483647 h 400"/>
                <a:gd name="T60" fmla="*/ 2147483647 w 297"/>
                <a:gd name="T61" fmla="*/ 2147483647 h 400"/>
                <a:gd name="T62" fmla="*/ 2147483647 w 297"/>
                <a:gd name="T63" fmla="*/ 2147483647 h 400"/>
                <a:gd name="T64" fmla="*/ 2147483647 w 297"/>
                <a:gd name="T65" fmla="*/ 2147483647 h 400"/>
                <a:gd name="T66" fmla="*/ 0 w 297"/>
                <a:gd name="T67" fmla="*/ 2147483647 h 400"/>
                <a:gd name="T68" fmla="*/ 2147483647 w 297"/>
                <a:gd name="T69" fmla="*/ 2147483647 h 4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7"/>
                <a:gd name="T106" fmla="*/ 0 h 400"/>
                <a:gd name="T107" fmla="*/ 297 w 297"/>
                <a:gd name="T108" fmla="*/ 400 h 40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7" h="400">
                  <a:moveTo>
                    <a:pt x="29" y="228"/>
                  </a:moveTo>
                  <a:lnTo>
                    <a:pt x="48" y="214"/>
                  </a:lnTo>
                  <a:lnTo>
                    <a:pt x="99" y="205"/>
                  </a:lnTo>
                  <a:lnTo>
                    <a:pt x="196" y="121"/>
                  </a:lnTo>
                  <a:lnTo>
                    <a:pt x="160" y="119"/>
                  </a:lnTo>
                  <a:lnTo>
                    <a:pt x="86" y="87"/>
                  </a:lnTo>
                  <a:lnTo>
                    <a:pt x="65" y="66"/>
                  </a:lnTo>
                  <a:lnTo>
                    <a:pt x="51" y="40"/>
                  </a:lnTo>
                  <a:lnTo>
                    <a:pt x="57" y="28"/>
                  </a:lnTo>
                  <a:lnTo>
                    <a:pt x="70" y="19"/>
                  </a:lnTo>
                  <a:lnTo>
                    <a:pt x="105" y="47"/>
                  </a:lnTo>
                  <a:lnTo>
                    <a:pt x="129" y="40"/>
                  </a:lnTo>
                  <a:lnTo>
                    <a:pt x="154" y="47"/>
                  </a:lnTo>
                  <a:lnTo>
                    <a:pt x="177" y="26"/>
                  </a:lnTo>
                  <a:lnTo>
                    <a:pt x="200" y="28"/>
                  </a:lnTo>
                  <a:lnTo>
                    <a:pt x="253" y="11"/>
                  </a:lnTo>
                  <a:lnTo>
                    <a:pt x="261" y="11"/>
                  </a:lnTo>
                  <a:lnTo>
                    <a:pt x="266" y="0"/>
                  </a:lnTo>
                  <a:lnTo>
                    <a:pt x="289" y="0"/>
                  </a:lnTo>
                  <a:lnTo>
                    <a:pt x="289" y="40"/>
                  </a:lnTo>
                  <a:lnTo>
                    <a:pt x="297" y="47"/>
                  </a:lnTo>
                  <a:lnTo>
                    <a:pt x="285" y="53"/>
                  </a:lnTo>
                  <a:lnTo>
                    <a:pt x="274" y="78"/>
                  </a:lnTo>
                  <a:lnTo>
                    <a:pt x="278" y="87"/>
                  </a:lnTo>
                  <a:lnTo>
                    <a:pt x="253" y="119"/>
                  </a:lnTo>
                  <a:lnTo>
                    <a:pt x="228" y="182"/>
                  </a:lnTo>
                  <a:lnTo>
                    <a:pt x="162" y="260"/>
                  </a:lnTo>
                  <a:lnTo>
                    <a:pt x="135" y="271"/>
                  </a:lnTo>
                  <a:lnTo>
                    <a:pt x="124" y="290"/>
                  </a:lnTo>
                  <a:lnTo>
                    <a:pt x="110" y="290"/>
                  </a:lnTo>
                  <a:lnTo>
                    <a:pt x="55" y="349"/>
                  </a:lnTo>
                  <a:lnTo>
                    <a:pt x="15" y="400"/>
                  </a:lnTo>
                  <a:lnTo>
                    <a:pt x="2" y="361"/>
                  </a:lnTo>
                  <a:lnTo>
                    <a:pt x="0" y="258"/>
                  </a:lnTo>
                  <a:lnTo>
                    <a:pt x="29" y="22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1" name="Freeform 207"/>
            <p:cNvSpPr>
              <a:spLocks/>
            </p:cNvSpPr>
            <p:nvPr/>
          </p:nvSpPr>
          <p:spPr bwMode="auto">
            <a:xfrm>
              <a:off x="3185549" y="4719418"/>
              <a:ext cx="259096" cy="261906"/>
            </a:xfrm>
            <a:custGeom>
              <a:avLst/>
              <a:gdLst>
                <a:gd name="T0" fmla="*/ 2147483647 w 475"/>
                <a:gd name="T1" fmla="*/ 2147483647 h 420"/>
                <a:gd name="T2" fmla="*/ 2147483647 w 475"/>
                <a:gd name="T3" fmla="*/ 2147483647 h 420"/>
                <a:gd name="T4" fmla="*/ 2147483647 w 475"/>
                <a:gd name="T5" fmla="*/ 2147483647 h 420"/>
                <a:gd name="T6" fmla="*/ 2147483647 w 475"/>
                <a:gd name="T7" fmla="*/ 2147483647 h 420"/>
                <a:gd name="T8" fmla="*/ 2147483647 w 475"/>
                <a:gd name="T9" fmla="*/ 2147483647 h 420"/>
                <a:gd name="T10" fmla="*/ 2147483647 w 475"/>
                <a:gd name="T11" fmla="*/ 2147483647 h 420"/>
                <a:gd name="T12" fmla="*/ 2147483647 w 475"/>
                <a:gd name="T13" fmla="*/ 2147483647 h 420"/>
                <a:gd name="T14" fmla="*/ 2147483647 w 475"/>
                <a:gd name="T15" fmla="*/ 0 h 420"/>
                <a:gd name="T16" fmla="*/ 2147483647 w 475"/>
                <a:gd name="T17" fmla="*/ 2147483647 h 420"/>
                <a:gd name="T18" fmla="*/ 2147483647 w 475"/>
                <a:gd name="T19" fmla="*/ 2147483647 h 420"/>
                <a:gd name="T20" fmla="*/ 2147483647 w 475"/>
                <a:gd name="T21" fmla="*/ 2147483647 h 420"/>
                <a:gd name="T22" fmla="*/ 2147483647 w 475"/>
                <a:gd name="T23" fmla="*/ 2147483647 h 420"/>
                <a:gd name="T24" fmla="*/ 2147483647 w 475"/>
                <a:gd name="T25" fmla="*/ 2147483647 h 420"/>
                <a:gd name="T26" fmla="*/ 2147483647 w 475"/>
                <a:gd name="T27" fmla="*/ 2147483647 h 420"/>
                <a:gd name="T28" fmla="*/ 2147483647 w 475"/>
                <a:gd name="T29" fmla="*/ 2147483647 h 420"/>
                <a:gd name="T30" fmla="*/ 2147483647 w 475"/>
                <a:gd name="T31" fmla="*/ 2147483647 h 420"/>
                <a:gd name="T32" fmla="*/ 2147483647 w 475"/>
                <a:gd name="T33" fmla="*/ 2147483647 h 420"/>
                <a:gd name="T34" fmla="*/ 2147483647 w 475"/>
                <a:gd name="T35" fmla="*/ 2147483647 h 420"/>
                <a:gd name="T36" fmla="*/ 2147483647 w 475"/>
                <a:gd name="T37" fmla="*/ 2147483647 h 420"/>
                <a:gd name="T38" fmla="*/ 2147483647 w 475"/>
                <a:gd name="T39" fmla="*/ 2147483647 h 420"/>
                <a:gd name="T40" fmla="*/ 2147483647 w 475"/>
                <a:gd name="T41" fmla="*/ 2147483647 h 420"/>
                <a:gd name="T42" fmla="*/ 2147483647 w 475"/>
                <a:gd name="T43" fmla="*/ 2147483647 h 420"/>
                <a:gd name="T44" fmla="*/ 2147483647 w 475"/>
                <a:gd name="T45" fmla="*/ 2147483647 h 420"/>
                <a:gd name="T46" fmla="*/ 2147483647 w 475"/>
                <a:gd name="T47" fmla="*/ 2147483647 h 420"/>
                <a:gd name="T48" fmla="*/ 2147483647 w 475"/>
                <a:gd name="T49" fmla="*/ 2147483647 h 420"/>
                <a:gd name="T50" fmla="*/ 2147483647 w 475"/>
                <a:gd name="T51" fmla="*/ 2147483647 h 420"/>
                <a:gd name="T52" fmla="*/ 2147483647 w 475"/>
                <a:gd name="T53" fmla="*/ 2147483647 h 420"/>
                <a:gd name="T54" fmla="*/ 2147483647 w 475"/>
                <a:gd name="T55" fmla="*/ 2147483647 h 420"/>
                <a:gd name="T56" fmla="*/ 2147483647 w 475"/>
                <a:gd name="T57" fmla="*/ 2147483647 h 420"/>
                <a:gd name="T58" fmla="*/ 2147483647 w 475"/>
                <a:gd name="T59" fmla="*/ 2147483647 h 420"/>
                <a:gd name="T60" fmla="*/ 2147483647 w 475"/>
                <a:gd name="T61" fmla="*/ 2147483647 h 420"/>
                <a:gd name="T62" fmla="*/ 2147483647 w 475"/>
                <a:gd name="T63" fmla="*/ 2147483647 h 420"/>
                <a:gd name="T64" fmla="*/ 2147483647 w 475"/>
                <a:gd name="T65" fmla="*/ 2147483647 h 420"/>
                <a:gd name="T66" fmla="*/ 2147483647 w 475"/>
                <a:gd name="T67" fmla="*/ 2147483647 h 420"/>
                <a:gd name="T68" fmla="*/ 2147483647 w 475"/>
                <a:gd name="T69" fmla="*/ 2147483647 h 420"/>
                <a:gd name="T70" fmla="*/ 2147483647 w 475"/>
                <a:gd name="T71" fmla="*/ 2147483647 h 420"/>
                <a:gd name="T72" fmla="*/ 2147483647 w 475"/>
                <a:gd name="T73" fmla="*/ 2147483647 h 420"/>
                <a:gd name="T74" fmla="*/ 2147483647 w 475"/>
                <a:gd name="T75" fmla="*/ 2147483647 h 420"/>
                <a:gd name="T76" fmla="*/ 2147483647 w 475"/>
                <a:gd name="T77" fmla="*/ 2147483647 h 4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75"/>
                <a:gd name="T118" fmla="*/ 0 h 420"/>
                <a:gd name="T119" fmla="*/ 475 w 475"/>
                <a:gd name="T120" fmla="*/ 420 h 42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75" h="420">
                  <a:moveTo>
                    <a:pt x="105" y="87"/>
                  </a:moveTo>
                  <a:lnTo>
                    <a:pt x="126" y="118"/>
                  </a:lnTo>
                  <a:lnTo>
                    <a:pt x="118" y="137"/>
                  </a:lnTo>
                  <a:lnTo>
                    <a:pt x="128" y="156"/>
                  </a:lnTo>
                  <a:lnTo>
                    <a:pt x="171" y="142"/>
                  </a:lnTo>
                  <a:lnTo>
                    <a:pt x="194" y="102"/>
                  </a:lnTo>
                  <a:lnTo>
                    <a:pt x="206" y="102"/>
                  </a:lnTo>
                  <a:lnTo>
                    <a:pt x="215" y="110"/>
                  </a:lnTo>
                  <a:lnTo>
                    <a:pt x="223" y="118"/>
                  </a:lnTo>
                  <a:lnTo>
                    <a:pt x="263" y="114"/>
                  </a:lnTo>
                  <a:lnTo>
                    <a:pt x="276" y="87"/>
                  </a:lnTo>
                  <a:lnTo>
                    <a:pt x="299" y="70"/>
                  </a:lnTo>
                  <a:lnTo>
                    <a:pt x="301" y="57"/>
                  </a:lnTo>
                  <a:lnTo>
                    <a:pt x="344" y="13"/>
                  </a:lnTo>
                  <a:lnTo>
                    <a:pt x="371" y="2"/>
                  </a:lnTo>
                  <a:lnTo>
                    <a:pt x="382" y="0"/>
                  </a:lnTo>
                  <a:lnTo>
                    <a:pt x="401" y="2"/>
                  </a:lnTo>
                  <a:lnTo>
                    <a:pt x="437" y="11"/>
                  </a:lnTo>
                  <a:lnTo>
                    <a:pt x="443" y="21"/>
                  </a:lnTo>
                  <a:lnTo>
                    <a:pt x="449" y="93"/>
                  </a:lnTo>
                  <a:lnTo>
                    <a:pt x="447" y="108"/>
                  </a:lnTo>
                  <a:lnTo>
                    <a:pt x="449" y="123"/>
                  </a:lnTo>
                  <a:lnTo>
                    <a:pt x="441" y="123"/>
                  </a:lnTo>
                  <a:lnTo>
                    <a:pt x="430" y="110"/>
                  </a:lnTo>
                  <a:lnTo>
                    <a:pt x="418" y="118"/>
                  </a:lnTo>
                  <a:lnTo>
                    <a:pt x="411" y="152"/>
                  </a:lnTo>
                  <a:lnTo>
                    <a:pt x="416" y="169"/>
                  </a:lnTo>
                  <a:lnTo>
                    <a:pt x="443" y="169"/>
                  </a:lnTo>
                  <a:lnTo>
                    <a:pt x="449" y="152"/>
                  </a:lnTo>
                  <a:lnTo>
                    <a:pt x="475" y="146"/>
                  </a:lnTo>
                  <a:lnTo>
                    <a:pt x="473" y="169"/>
                  </a:lnTo>
                  <a:lnTo>
                    <a:pt x="468" y="163"/>
                  </a:lnTo>
                  <a:lnTo>
                    <a:pt x="470" y="180"/>
                  </a:lnTo>
                  <a:lnTo>
                    <a:pt x="466" y="197"/>
                  </a:lnTo>
                  <a:lnTo>
                    <a:pt x="456" y="218"/>
                  </a:lnTo>
                  <a:lnTo>
                    <a:pt x="439" y="226"/>
                  </a:lnTo>
                  <a:lnTo>
                    <a:pt x="401" y="285"/>
                  </a:lnTo>
                  <a:lnTo>
                    <a:pt x="377" y="308"/>
                  </a:lnTo>
                  <a:lnTo>
                    <a:pt x="348" y="342"/>
                  </a:lnTo>
                  <a:lnTo>
                    <a:pt x="321" y="361"/>
                  </a:lnTo>
                  <a:lnTo>
                    <a:pt x="306" y="372"/>
                  </a:lnTo>
                  <a:lnTo>
                    <a:pt x="295" y="382"/>
                  </a:lnTo>
                  <a:lnTo>
                    <a:pt x="266" y="380"/>
                  </a:lnTo>
                  <a:lnTo>
                    <a:pt x="272" y="395"/>
                  </a:lnTo>
                  <a:lnTo>
                    <a:pt x="244" y="393"/>
                  </a:lnTo>
                  <a:lnTo>
                    <a:pt x="236" y="402"/>
                  </a:lnTo>
                  <a:lnTo>
                    <a:pt x="196" y="397"/>
                  </a:lnTo>
                  <a:lnTo>
                    <a:pt x="160" y="395"/>
                  </a:lnTo>
                  <a:lnTo>
                    <a:pt x="158" y="404"/>
                  </a:lnTo>
                  <a:lnTo>
                    <a:pt x="110" y="406"/>
                  </a:lnTo>
                  <a:lnTo>
                    <a:pt x="103" y="420"/>
                  </a:lnTo>
                  <a:lnTo>
                    <a:pt x="72" y="399"/>
                  </a:lnTo>
                  <a:lnTo>
                    <a:pt x="63" y="408"/>
                  </a:lnTo>
                  <a:lnTo>
                    <a:pt x="53" y="389"/>
                  </a:lnTo>
                  <a:lnTo>
                    <a:pt x="61" y="380"/>
                  </a:lnTo>
                  <a:lnTo>
                    <a:pt x="38" y="340"/>
                  </a:lnTo>
                  <a:lnTo>
                    <a:pt x="52" y="340"/>
                  </a:lnTo>
                  <a:lnTo>
                    <a:pt x="53" y="302"/>
                  </a:lnTo>
                  <a:lnTo>
                    <a:pt x="23" y="239"/>
                  </a:lnTo>
                  <a:lnTo>
                    <a:pt x="310" y="239"/>
                  </a:lnTo>
                  <a:lnTo>
                    <a:pt x="325" y="264"/>
                  </a:lnTo>
                  <a:lnTo>
                    <a:pt x="339" y="273"/>
                  </a:lnTo>
                  <a:lnTo>
                    <a:pt x="346" y="258"/>
                  </a:lnTo>
                  <a:lnTo>
                    <a:pt x="367" y="254"/>
                  </a:lnTo>
                  <a:lnTo>
                    <a:pt x="388" y="232"/>
                  </a:lnTo>
                  <a:lnTo>
                    <a:pt x="363" y="205"/>
                  </a:lnTo>
                  <a:lnTo>
                    <a:pt x="331" y="214"/>
                  </a:lnTo>
                  <a:lnTo>
                    <a:pt x="310" y="239"/>
                  </a:lnTo>
                  <a:lnTo>
                    <a:pt x="23" y="239"/>
                  </a:lnTo>
                  <a:lnTo>
                    <a:pt x="15" y="220"/>
                  </a:lnTo>
                  <a:lnTo>
                    <a:pt x="0" y="207"/>
                  </a:lnTo>
                  <a:lnTo>
                    <a:pt x="17" y="195"/>
                  </a:lnTo>
                  <a:lnTo>
                    <a:pt x="27" y="199"/>
                  </a:lnTo>
                  <a:lnTo>
                    <a:pt x="25" y="214"/>
                  </a:lnTo>
                  <a:lnTo>
                    <a:pt x="57" y="222"/>
                  </a:lnTo>
                  <a:lnTo>
                    <a:pt x="86" y="222"/>
                  </a:lnTo>
                  <a:lnTo>
                    <a:pt x="88" y="213"/>
                  </a:lnTo>
                  <a:lnTo>
                    <a:pt x="103" y="205"/>
                  </a:lnTo>
                  <a:lnTo>
                    <a:pt x="105" y="8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2" name="Freeform 208"/>
            <p:cNvSpPr>
              <a:spLocks/>
            </p:cNvSpPr>
            <p:nvPr/>
          </p:nvSpPr>
          <p:spPr bwMode="auto">
            <a:xfrm>
              <a:off x="3272649" y="3888302"/>
              <a:ext cx="259096" cy="359684"/>
            </a:xfrm>
            <a:custGeom>
              <a:avLst/>
              <a:gdLst>
                <a:gd name="T0" fmla="*/ 2147483647 w 477"/>
                <a:gd name="T1" fmla="*/ 2147483647 h 578"/>
                <a:gd name="T2" fmla="*/ 2147483647 w 477"/>
                <a:gd name="T3" fmla="*/ 2147483647 h 578"/>
                <a:gd name="T4" fmla="*/ 2147483647 w 477"/>
                <a:gd name="T5" fmla="*/ 2147483647 h 578"/>
                <a:gd name="T6" fmla="*/ 2147483647 w 477"/>
                <a:gd name="T7" fmla="*/ 2147483647 h 578"/>
                <a:gd name="T8" fmla="*/ 2147483647 w 477"/>
                <a:gd name="T9" fmla="*/ 2147483647 h 578"/>
                <a:gd name="T10" fmla="*/ 2147483647 w 477"/>
                <a:gd name="T11" fmla="*/ 2147483647 h 578"/>
                <a:gd name="T12" fmla="*/ 2147483647 w 477"/>
                <a:gd name="T13" fmla="*/ 2147483647 h 578"/>
                <a:gd name="T14" fmla="*/ 2147483647 w 477"/>
                <a:gd name="T15" fmla="*/ 2147483647 h 578"/>
                <a:gd name="T16" fmla="*/ 2147483647 w 477"/>
                <a:gd name="T17" fmla="*/ 2147483647 h 578"/>
                <a:gd name="T18" fmla="*/ 2147483647 w 477"/>
                <a:gd name="T19" fmla="*/ 2147483647 h 578"/>
                <a:gd name="T20" fmla="*/ 2147483647 w 477"/>
                <a:gd name="T21" fmla="*/ 2147483647 h 578"/>
                <a:gd name="T22" fmla="*/ 2147483647 w 477"/>
                <a:gd name="T23" fmla="*/ 2147483647 h 578"/>
                <a:gd name="T24" fmla="*/ 2147483647 w 477"/>
                <a:gd name="T25" fmla="*/ 2147483647 h 578"/>
                <a:gd name="T26" fmla="*/ 2147483647 w 477"/>
                <a:gd name="T27" fmla="*/ 2147483647 h 578"/>
                <a:gd name="T28" fmla="*/ 2147483647 w 477"/>
                <a:gd name="T29" fmla="*/ 2147483647 h 578"/>
                <a:gd name="T30" fmla="*/ 2147483647 w 477"/>
                <a:gd name="T31" fmla="*/ 2147483647 h 578"/>
                <a:gd name="T32" fmla="*/ 2147483647 w 477"/>
                <a:gd name="T33" fmla="*/ 2147483647 h 578"/>
                <a:gd name="T34" fmla="*/ 2147483647 w 477"/>
                <a:gd name="T35" fmla="*/ 2147483647 h 578"/>
                <a:gd name="T36" fmla="*/ 2147483647 w 477"/>
                <a:gd name="T37" fmla="*/ 2147483647 h 578"/>
                <a:gd name="T38" fmla="*/ 2147483647 w 477"/>
                <a:gd name="T39" fmla="*/ 2147483647 h 578"/>
                <a:gd name="T40" fmla="*/ 2147483647 w 477"/>
                <a:gd name="T41" fmla="*/ 2147483647 h 578"/>
                <a:gd name="T42" fmla="*/ 2147483647 w 477"/>
                <a:gd name="T43" fmla="*/ 2147483647 h 578"/>
                <a:gd name="T44" fmla="*/ 2147483647 w 477"/>
                <a:gd name="T45" fmla="*/ 2147483647 h 578"/>
                <a:gd name="T46" fmla="*/ 2147483647 w 477"/>
                <a:gd name="T47" fmla="*/ 2147483647 h 578"/>
                <a:gd name="T48" fmla="*/ 2147483647 w 477"/>
                <a:gd name="T49" fmla="*/ 2147483647 h 578"/>
                <a:gd name="T50" fmla="*/ 2147483647 w 477"/>
                <a:gd name="T51" fmla="*/ 2147483647 h 578"/>
                <a:gd name="T52" fmla="*/ 0 w 477"/>
                <a:gd name="T53" fmla="*/ 2147483647 h 578"/>
                <a:gd name="T54" fmla="*/ 2147483647 w 477"/>
                <a:gd name="T55" fmla="*/ 2147483647 h 578"/>
                <a:gd name="T56" fmla="*/ 2147483647 w 477"/>
                <a:gd name="T57" fmla="*/ 2147483647 h 578"/>
                <a:gd name="T58" fmla="*/ 2147483647 w 477"/>
                <a:gd name="T59" fmla="*/ 2147483647 h 578"/>
                <a:gd name="T60" fmla="*/ 2147483647 w 477"/>
                <a:gd name="T61" fmla="*/ 2147483647 h 578"/>
                <a:gd name="T62" fmla="*/ 2147483647 w 477"/>
                <a:gd name="T63" fmla="*/ 2147483647 h 57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77"/>
                <a:gd name="T97" fmla="*/ 0 h 578"/>
                <a:gd name="T98" fmla="*/ 477 w 477"/>
                <a:gd name="T99" fmla="*/ 578 h 57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77" h="578">
                  <a:moveTo>
                    <a:pt x="89" y="44"/>
                  </a:moveTo>
                  <a:lnTo>
                    <a:pt x="323" y="44"/>
                  </a:lnTo>
                  <a:lnTo>
                    <a:pt x="334" y="54"/>
                  </a:lnTo>
                  <a:lnTo>
                    <a:pt x="355" y="35"/>
                  </a:lnTo>
                  <a:lnTo>
                    <a:pt x="367" y="31"/>
                  </a:lnTo>
                  <a:lnTo>
                    <a:pt x="374" y="8"/>
                  </a:lnTo>
                  <a:lnTo>
                    <a:pt x="378" y="0"/>
                  </a:lnTo>
                  <a:lnTo>
                    <a:pt x="418" y="31"/>
                  </a:lnTo>
                  <a:lnTo>
                    <a:pt x="424" y="54"/>
                  </a:lnTo>
                  <a:lnTo>
                    <a:pt x="439" y="69"/>
                  </a:lnTo>
                  <a:lnTo>
                    <a:pt x="431" y="71"/>
                  </a:lnTo>
                  <a:lnTo>
                    <a:pt x="441" y="131"/>
                  </a:lnTo>
                  <a:lnTo>
                    <a:pt x="464" y="145"/>
                  </a:lnTo>
                  <a:lnTo>
                    <a:pt x="477" y="158"/>
                  </a:lnTo>
                  <a:lnTo>
                    <a:pt x="446" y="169"/>
                  </a:lnTo>
                  <a:lnTo>
                    <a:pt x="429" y="190"/>
                  </a:lnTo>
                  <a:lnTo>
                    <a:pt x="429" y="223"/>
                  </a:lnTo>
                  <a:lnTo>
                    <a:pt x="407" y="244"/>
                  </a:lnTo>
                  <a:lnTo>
                    <a:pt x="418" y="280"/>
                  </a:lnTo>
                  <a:lnTo>
                    <a:pt x="408" y="314"/>
                  </a:lnTo>
                  <a:lnTo>
                    <a:pt x="388" y="312"/>
                  </a:lnTo>
                  <a:lnTo>
                    <a:pt x="370" y="352"/>
                  </a:lnTo>
                  <a:lnTo>
                    <a:pt x="370" y="371"/>
                  </a:lnTo>
                  <a:lnTo>
                    <a:pt x="353" y="371"/>
                  </a:lnTo>
                  <a:lnTo>
                    <a:pt x="351" y="443"/>
                  </a:lnTo>
                  <a:lnTo>
                    <a:pt x="327" y="443"/>
                  </a:lnTo>
                  <a:lnTo>
                    <a:pt x="323" y="468"/>
                  </a:lnTo>
                  <a:lnTo>
                    <a:pt x="353" y="479"/>
                  </a:lnTo>
                  <a:lnTo>
                    <a:pt x="372" y="500"/>
                  </a:lnTo>
                  <a:lnTo>
                    <a:pt x="370" y="517"/>
                  </a:lnTo>
                  <a:lnTo>
                    <a:pt x="391" y="527"/>
                  </a:lnTo>
                  <a:lnTo>
                    <a:pt x="391" y="544"/>
                  </a:lnTo>
                  <a:lnTo>
                    <a:pt x="350" y="546"/>
                  </a:lnTo>
                  <a:lnTo>
                    <a:pt x="340" y="559"/>
                  </a:lnTo>
                  <a:lnTo>
                    <a:pt x="332" y="566"/>
                  </a:lnTo>
                  <a:lnTo>
                    <a:pt x="317" y="563"/>
                  </a:lnTo>
                  <a:lnTo>
                    <a:pt x="298" y="572"/>
                  </a:lnTo>
                  <a:lnTo>
                    <a:pt x="283" y="566"/>
                  </a:lnTo>
                  <a:lnTo>
                    <a:pt x="266" y="566"/>
                  </a:lnTo>
                  <a:lnTo>
                    <a:pt x="255" y="578"/>
                  </a:lnTo>
                  <a:lnTo>
                    <a:pt x="224" y="547"/>
                  </a:lnTo>
                  <a:lnTo>
                    <a:pt x="186" y="555"/>
                  </a:lnTo>
                  <a:lnTo>
                    <a:pt x="156" y="538"/>
                  </a:lnTo>
                  <a:lnTo>
                    <a:pt x="154" y="513"/>
                  </a:lnTo>
                  <a:lnTo>
                    <a:pt x="129" y="502"/>
                  </a:lnTo>
                  <a:lnTo>
                    <a:pt x="101" y="452"/>
                  </a:lnTo>
                  <a:lnTo>
                    <a:pt x="74" y="445"/>
                  </a:lnTo>
                  <a:lnTo>
                    <a:pt x="66" y="432"/>
                  </a:lnTo>
                  <a:lnTo>
                    <a:pt x="44" y="426"/>
                  </a:lnTo>
                  <a:lnTo>
                    <a:pt x="30" y="397"/>
                  </a:lnTo>
                  <a:lnTo>
                    <a:pt x="27" y="359"/>
                  </a:lnTo>
                  <a:lnTo>
                    <a:pt x="17" y="346"/>
                  </a:lnTo>
                  <a:lnTo>
                    <a:pt x="17" y="335"/>
                  </a:lnTo>
                  <a:lnTo>
                    <a:pt x="0" y="310"/>
                  </a:lnTo>
                  <a:lnTo>
                    <a:pt x="2" y="287"/>
                  </a:lnTo>
                  <a:lnTo>
                    <a:pt x="25" y="280"/>
                  </a:lnTo>
                  <a:lnTo>
                    <a:pt x="13" y="263"/>
                  </a:lnTo>
                  <a:lnTo>
                    <a:pt x="23" y="257"/>
                  </a:lnTo>
                  <a:lnTo>
                    <a:pt x="25" y="240"/>
                  </a:lnTo>
                  <a:lnTo>
                    <a:pt x="53" y="232"/>
                  </a:lnTo>
                  <a:lnTo>
                    <a:pt x="53" y="120"/>
                  </a:lnTo>
                  <a:lnTo>
                    <a:pt x="55" y="99"/>
                  </a:lnTo>
                  <a:lnTo>
                    <a:pt x="91" y="99"/>
                  </a:lnTo>
                  <a:lnTo>
                    <a:pt x="89" y="4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3" name="Freeform 209"/>
            <p:cNvSpPr>
              <a:spLocks/>
            </p:cNvSpPr>
            <p:nvPr/>
          </p:nvSpPr>
          <p:spPr bwMode="auto">
            <a:xfrm>
              <a:off x="3408261" y="4788095"/>
              <a:ext cx="22051" cy="37249"/>
            </a:xfrm>
            <a:custGeom>
              <a:avLst/>
              <a:gdLst>
                <a:gd name="T0" fmla="*/ 2147483647 w 40"/>
                <a:gd name="T1" fmla="*/ 2147483647 h 61"/>
                <a:gd name="T2" fmla="*/ 2147483647 w 40"/>
                <a:gd name="T3" fmla="*/ 2147483647 h 61"/>
                <a:gd name="T4" fmla="*/ 2147483647 w 40"/>
                <a:gd name="T5" fmla="*/ 2147483647 h 61"/>
                <a:gd name="T6" fmla="*/ 2147483647 w 40"/>
                <a:gd name="T7" fmla="*/ 2147483647 h 61"/>
                <a:gd name="T8" fmla="*/ 2147483647 w 40"/>
                <a:gd name="T9" fmla="*/ 2147483647 h 61"/>
                <a:gd name="T10" fmla="*/ 0 w 40"/>
                <a:gd name="T11" fmla="*/ 2147483647 h 61"/>
                <a:gd name="T12" fmla="*/ 2147483647 w 40"/>
                <a:gd name="T13" fmla="*/ 2147483647 h 61"/>
                <a:gd name="T14" fmla="*/ 2147483647 w 40"/>
                <a:gd name="T15" fmla="*/ 0 h 61"/>
                <a:gd name="T16" fmla="*/ 2147483647 w 40"/>
                <a:gd name="T17" fmla="*/ 2147483647 h 61"/>
                <a:gd name="T18" fmla="*/ 2147483647 w 40"/>
                <a:gd name="T19" fmla="*/ 2147483647 h 6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1"/>
                <a:gd name="T32" fmla="*/ 40 w 40"/>
                <a:gd name="T33" fmla="*/ 61 h 6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1">
                  <a:moveTo>
                    <a:pt x="36" y="15"/>
                  </a:moveTo>
                  <a:lnTo>
                    <a:pt x="40" y="21"/>
                  </a:lnTo>
                  <a:lnTo>
                    <a:pt x="36" y="42"/>
                  </a:lnTo>
                  <a:lnTo>
                    <a:pt x="32" y="61"/>
                  </a:lnTo>
                  <a:lnTo>
                    <a:pt x="5" y="61"/>
                  </a:lnTo>
                  <a:lnTo>
                    <a:pt x="0" y="44"/>
                  </a:lnTo>
                  <a:lnTo>
                    <a:pt x="7" y="10"/>
                  </a:lnTo>
                  <a:lnTo>
                    <a:pt x="17" y="0"/>
                  </a:lnTo>
                  <a:lnTo>
                    <a:pt x="28" y="15"/>
                  </a:lnTo>
                  <a:lnTo>
                    <a:pt x="36" y="1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4" name="Freeform 210"/>
            <p:cNvSpPr>
              <a:spLocks/>
            </p:cNvSpPr>
            <p:nvPr/>
          </p:nvSpPr>
          <p:spPr bwMode="auto">
            <a:xfrm>
              <a:off x="3392826" y="4328304"/>
              <a:ext cx="169791" cy="195557"/>
            </a:xfrm>
            <a:custGeom>
              <a:avLst/>
              <a:gdLst>
                <a:gd name="T0" fmla="*/ 0 w 312"/>
                <a:gd name="T1" fmla="*/ 2147483647 h 312"/>
                <a:gd name="T2" fmla="*/ 2147483647 w 312"/>
                <a:gd name="T3" fmla="*/ 2147483647 h 312"/>
                <a:gd name="T4" fmla="*/ 2147483647 w 312"/>
                <a:gd name="T5" fmla="*/ 2147483647 h 312"/>
                <a:gd name="T6" fmla="*/ 2147483647 w 312"/>
                <a:gd name="T7" fmla="*/ 2147483647 h 312"/>
                <a:gd name="T8" fmla="*/ 2147483647 w 312"/>
                <a:gd name="T9" fmla="*/ 2147483647 h 312"/>
                <a:gd name="T10" fmla="*/ 2147483647 w 312"/>
                <a:gd name="T11" fmla="*/ 2147483647 h 312"/>
                <a:gd name="T12" fmla="*/ 2147483647 w 312"/>
                <a:gd name="T13" fmla="*/ 2147483647 h 312"/>
                <a:gd name="T14" fmla="*/ 2147483647 w 312"/>
                <a:gd name="T15" fmla="*/ 2147483647 h 312"/>
                <a:gd name="T16" fmla="*/ 2147483647 w 312"/>
                <a:gd name="T17" fmla="*/ 0 h 312"/>
                <a:gd name="T18" fmla="*/ 2147483647 w 312"/>
                <a:gd name="T19" fmla="*/ 2147483647 h 312"/>
                <a:gd name="T20" fmla="*/ 2147483647 w 312"/>
                <a:gd name="T21" fmla="*/ 2147483647 h 312"/>
                <a:gd name="T22" fmla="*/ 2147483647 w 312"/>
                <a:gd name="T23" fmla="*/ 2147483647 h 312"/>
                <a:gd name="T24" fmla="*/ 2147483647 w 312"/>
                <a:gd name="T25" fmla="*/ 2147483647 h 312"/>
                <a:gd name="T26" fmla="*/ 2147483647 w 312"/>
                <a:gd name="T27" fmla="*/ 2147483647 h 312"/>
                <a:gd name="T28" fmla="*/ 2147483647 w 312"/>
                <a:gd name="T29" fmla="*/ 2147483647 h 312"/>
                <a:gd name="T30" fmla="*/ 2147483647 w 312"/>
                <a:gd name="T31" fmla="*/ 2147483647 h 312"/>
                <a:gd name="T32" fmla="*/ 2147483647 w 312"/>
                <a:gd name="T33" fmla="*/ 2147483647 h 312"/>
                <a:gd name="T34" fmla="*/ 2147483647 w 312"/>
                <a:gd name="T35" fmla="*/ 2147483647 h 312"/>
                <a:gd name="T36" fmla="*/ 2147483647 w 312"/>
                <a:gd name="T37" fmla="*/ 2147483647 h 312"/>
                <a:gd name="T38" fmla="*/ 2147483647 w 312"/>
                <a:gd name="T39" fmla="*/ 2147483647 h 312"/>
                <a:gd name="T40" fmla="*/ 2147483647 w 312"/>
                <a:gd name="T41" fmla="*/ 2147483647 h 312"/>
                <a:gd name="T42" fmla="*/ 2147483647 w 312"/>
                <a:gd name="T43" fmla="*/ 2147483647 h 312"/>
                <a:gd name="T44" fmla="*/ 2147483647 w 312"/>
                <a:gd name="T45" fmla="*/ 2147483647 h 312"/>
                <a:gd name="T46" fmla="*/ 2147483647 w 312"/>
                <a:gd name="T47" fmla="*/ 2147483647 h 312"/>
                <a:gd name="T48" fmla="*/ 2147483647 w 312"/>
                <a:gd name="T49" fmla="*/ 2147483647 h 312"/>
                <a:gd name="T50" fmla="*/ 2147483647 w 312"/>
                <a:gd name="T51" fmla="*/ 2147483647 h 312"/>
                <a:gd name="T52" fmla="*/ 2147483647 w 312"/>
                <a:gd name="T53" fmla="*/ 2147483647 h 312"/>
                <a:gd name="T54" fmla="*/ 2147483647 w 312"/>
                <a:gd name="T55" fmla="*/ 2147483647 h 312"/>
                <a:gd name="T56" fmla="*/ 2147483647 w 312"/>
                <a:gd name="T57" fmla="*/ 2147483647 h 312"/>
                <a:gd name="T58" fmla="*/ 2147483647 w 312"/>
                <a:gd name="T59" fmla="*/ 2147483647 h 312"/>
                <a:gd name="T60" fmla="*/ 2147483647 w 312"/>
                <a:gd name="T61" fmla="*/ 2147483647 h 312"/>
                <a:gd name="T62" fmla="*/ 2147483647 w 312"/>
                <a:gd name="T63" fmla="*/ 2147483647 h 312"/>
                <a:gd name="T64" fmla="*/ 2147483647 w 312"/>
                <a:gd name="T65" fmla="*/ 2147483647 h 312"/>
                <a:gd name="T66" fmla="*/ 2147483647 w 312"/>
                <a:gd name="T67" fmla="*/ 2147483647 h 312"/>
                <a:gd name="T68" fmla="*/ 2147483647 w 312"/>
                <a:gd name="T69" fmla="*/ 2147483647 h 312"/>
                <a:gd name="T70" fmla="*/ 2147483647 w 312"/>
                <a:gd name="T71" fmla="*/ 2147483647 h 312"/>
                <a:gd name="T72" fmla="*/ 2147483647 w 312"/>
                <a:gd name="T73" fmla="*/ 2147483647 h 312"/>
                <a:gd name="T74" fmla="*/ 2147483647 w 312"/>
                <a:gd name="T75" fmla="*/ 2147483647 h 312"/>
                <a:gd name="T76" fmla="*/ 2147483647 w 312"/>
                <a:gd name="T77" fmla="*/ 2147483647 h 312"/>
                <a:gd name="T78" fmla="*/ 2147483647 w 312"/>
                <a:gd name="T79" fmla="*/ 2147483647 h 312"/>
                <a:gd name="T80" fmla="*/ 2147483647 w 312"/>
                <a:gd name="T81" fmla="*/ 2147483647 h 312"/>
                <a:gd name="T82" fmla="*/ 2147483647 w 312"/>
                <a:gd name="T83" fmla="*/ 2147483647 h 312"/>
                <a:gd name="T84" fmla="*/ 2147483647 w 312"/>
                <a:gd name="T85" fmla="*/ 2147483647 h 312"/>
                <a:gd name="T86" fmla="*/ 2147483647 w 312"/>
                <a:gd name="T87" fmla="*/ 2147483647 h 312"/>
                <a:gd name="T88" fmla="*/ 2147483647 w 312"/>
                <a:gd name="T89" fmla="*/ 2147483647 h 312"/>
                <a:gd name="T90" fmla="*/ 2147483647 w 312"/>
                <a:gd name="T91" fmla="*/ 2147483647 h 312"/>
                <a:gd name="T92" fmla="*/ 2147483647 w 312"/>
                <a:gd name="T93" fmla="*/ 2147483647 h 312"/>
                <a:gd name="T94" fmla="*/ 2147483647 w 312"/>
                <a:gd name="T95" fmla="*/ 2147483647 h 312"/>
                <a:gd name="T96" fmla="*/ 0 w 312"/>
                <a:gd name="T97" fmla="*/ 2147483647 h 31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12"/>
                <a:gd name="T148" fmla="*/ 0 h 312"/>
                <a:gd name="T149" fmla="*/ 312 w 312"/>
                <a:gd name="T150" fmla="*/ 312 h 31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12" h="312">
                  <a:moveTo>
                    <a:pt x="0" y="108"/>
                  </a:moveTo>
                  <a:lnTo>
                    <a:pt x="12" y="108"/>
                  </a:lnTo>
                  <a:lnTo>
                    <a:pt x="44" y="76"/>
                  </a:lnTo>
                  <a:lnTo>
                    <a:pt x="44" y="55"/>
                  </a:lnTo>
                  <a:lnTo>
                    <a:pt x="36" y="55"/>
                  </a:lnTo>
                  <a:lnTo>
                    <a:pt x="33" y="38"/>
                  </a:lnTo>
                  <a:lnTo>
                    <a:pt x="36" y="21"/>
                  </a:lnTo>
                  <a:lnTo>
                    <a:pt x="27" y="4"/>
                  </a:lnTo>
                  <a:lnTo>
                    <a:pt x="69" y="0"/>
                  </a:lnTo>
                  <a:lnTo>
                    <a:pt x="71" y="6"/>
                  </a:lnTo>
                  <a:lnTo>
                    <a:pt x="63" y="36"/>
                  </a:lnTo>
                  <a:lnTo>
                    <a:pt x="71" y="53"/>
                  </a:lnTo>
                  <a:lnTo>
                    <a:pt x="80" y="40"/>
                  </a:lnTo>
                  <a:lnTo>
                    <a:pt x="112" y="44"/>
                  </a:lnTo>
                  <a:lnTo>
                    <a:pt x="122" y="30"/>
                  </a:lnTo>
                  <a:lnTo>
                    <a:pt x="101" y="30"/>
                  </a:lnTo>
                  <a:lnTo>
                    <a:pt x="105" y="19"/>
                  </a:lnTo>
                  <a:lnTo>
                    <a:pt x="114" y="23"/>
                  </a:lnTo>
                  <a:lnTo>
                    <a:pt x="126" y="2"/>
                  </a:lnTo>
                  <a:lnTo>
                    <a:pt x="204" y="46"/>
                  </a:lnTo>
                  <a:lnTo>
                    <a:pt x="276" y="106"/>
                  </a:lnTo>
                  <a:lnTo>
                    <a:pt x="264" y="154"/>
                  </a:lnTo>
                  <a:lnTo>
                    <a:pt x="287" y="179"/>
                  </a:lnTo>
                  <a:lnTo>
                    <a:pt x="282" y="199"/>
                  </a:lnTo>
                  <a:lnTo>
                    <a:pt x="289" y="201"/>
                  </a:lnTo>
                  <a:lnTo>
                    <a:pt x="282" y="218"/>
                  </a:lnTo>
                  <a:lnTo>
                    <a:pt x="293" y="264"/>
                  </a:lnTo>
                  <a:lnTo>
                    <a:pt x="312" y="268"/>
                  </a:lnTo>
                  <a:lnTo>
                    <a:pt x="310" y="274"/>
                  </a:lnTo>
                  <a:lnTo>
                    <a:pt x="278" y="287"/>
                  </a:lnTo>
                  <a:lnTo>
                    <a:pt x="240" y="293"/>
                  </a:lnTo>
                  <a:lnTo>
                    <a:pt x="228" y="306"/>
                  </a:lnTo>
                  <a:lnTo>
                    <a:pt x="209" y="300"/>
                  </a:lnTo>
                  <a:lnTo>
                    <a:pt x="194" y="312"/>
                  </a:lnTo>
                  <a:lnTo>
                    <a:pt x="177" y="300"/>
                  </a:lnTo>
                  <a:lnTo>
                    <a:pt x="147" y="306"/>
                  </a:lnTo>
                  <a:lnTo>
                    <a:pt x="137" y="302"/>
                  </a:lnTo>
                  <a:lnTo>
                    <a:pt x="137" y="262"/>
                  </a:lnTo>
                  <a:lnTo>
                    <a:pt x="126" y="241"/>
                  </a:lnTo>
                  <a:lnTo>
                    <a:pt x="120" y="253"/>
                  </a:lnTo>
                  <a:lnTo>
                    <a:pt x="103" y="239"/>
                  </a:lnTo>
                  <a:lnTo>
                    <a:pt x="95" y="245"/>
                  </a:lnTo>
                  <a:lnTo>
                    <a:pt x="67" y="232"/>
                  </a:lnTo>
                  <a:lnTo>
                    <a:pt x="48" y="222"/>
                  </a:lnTo>
                  <a:lnTo>
                    <a:pt x="36" y="211"/>
                  </a:lnTo>
                  <a:lnTo>
                    <a:pt x="19" y="161"/>
                  </a:lnTo>
                  <a:lnTo>
                    <a:pt x="8" y="154"/>
                  </a:lnTo>
                  <a:lnTo>
                    <a:pt x="10" y="144"/>
                  </a:lnTo>
                  <a:lnTo>
                    <a:pt x="0" y="10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5" name="Freeform 211"/>
            <p:cNvSpPr>
              <a:spLocks/>
            </p:cNvSpPr>
            <p:nvPr/>
          </p:nvSpPr>
          <p:spPr bwMode="auto">
            <a:xfrm>
              <a:off x="3541668" y="4414442"/>
              <a:ext cx="9923" cy="16296"/>
            </a:xfrm>
            <a:custGeom>
              <a:avLst/>
              <a:gdLst>
                <a:gd name="T0" fmla="*/ 2147483647 w 17"/>
                <a:gd name="T1" fmla="*/ 0 h 24"/>
                <a:gd name="T2" fmla="*/ 2147483647 w 17"/>
                <a:gd name="T3" fmla="*/ 2147483647 h 24"/>
                <a:gd name="T4" fmla="*/ 2147483647 w 17"/>
                <a:gd name="T5" fmla="*/ 2147483647 h 24"/>
                <a:gd name="T6" fmla="*/ 2147483647 w 17"/>
                <a:gd name="T7" fmla="*/ 2147483647 h 24"/>
                <a:gd name="T8" fmla="*/ 0 w 17"/>
                <a:gd name="T9" fmla="*/ 2147483647 h 24"/>
                <a:gd name="T10" fmla="*/ 2147483647 w 17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4"/>
                <a:gd name="T20" fmla="*/ 17 w 17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4">
                  <a:moveTo>
                    <a:pt x="4" y="0"/>
                  </a:moveTo>
                  <a:lnTo>
                    <a:pt x="17" y="11"/>
                  </a:lnTo>
                  <a:lnTo>
                    <a:pt x="17" y="24"/>
                  </a:lnTo>
                  <a:lnTo>
                    <a:pt x="6" y="21"/>
                  </a:lnTo>
                  <a:lnTo>
                    <a:pt x="0" y="9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6" name="Freeform 212"/>
            <p:cNvSpPr>
              <a:spLocks/>
            </p:cNvSpPr>
            <p:nvPr/>
          </p:nvSpPr>
          <p:spPr bwMode="auto">
            <a:xfrm>
              <a:off x="2935273" y="4109467"/>
              <a:ext cx="33076" cy="90794"/>
            </a:xfrm>
            <a:custGeom>
              <a:avLst/>
              <a:gdLst>
                <a:gd name="T0" fmla="*/ 2147483647 w 59"/>
                <a:gd name="T1" fmla="*/ 2147483647 h 146"/>
                <a:gd name="T2" fmla="*/ 2147483647 w 59"/>
                <a:gd name="T3" fmla="*/ 2147483647 h 146"/>
                <a:gd name="T4" fmla="*/ 2147483647 w 59"/>
                <a:gd name="T5" fmla="*/ 2147483647 h 146"/>
                <a:gd name="T6" fmla="*/ 2147483647 w 59"/>
                <a:gd name="T7" fmla="*/ 2147483647 h 146"/>
                <a:gd name="T8" fmla="*/ 2147483647 w 59"/>
                <a:gd name="T9" fmla="*/ 2147483647 h 146"/>
                <a:gd name="T10" fmla="*/ 2147483647 w 59"/>
                <a:gd name="T11" fmla="*/ 2147483647 h 146"/>
                <a:gd name="T12" fmla="*/ 2147483647 w 59"/>
                <a:gd name="T13" fmla="*/ 2147483647 h 146"/>
                <a:gd name="T14" fmla="*/ 2147483647 w 59"/>
                <a:gd name="T15" fmla="*/ 2147483647 h 146"/>
                <a:gd name="T16" fmla="*/ 2147483647 w 59"/>
                <a:gd name="T17" fmla="*/ 2147483647 h 146"/>
                <a:gd name="T18" fmla="*/ 2147483647 w 59"/>
                <a:gd name="T19" fmla="*/ 2147483647 h 146"/>
                <a:gd name="T20" fmla="*/ 2147483647 w 59"/>
                <a:gd name="T21" fmla="*/ 2147483647 h 146"/>
                <a:gd name="T22" fmla="*/ 2147483647 w 59"/>
                <a:gd name="T23" fmla="*/ 2147483647 h 146"/>
                <a:gd name="T24" fmla="*/ 2147483647 w 59"/>
                <a:gd name="T25" fmla="*/ 2147483647 h 146"/>
                <a:gd name="T26" fmla="*/ 2147483647 w 59"/>
                <a:gd name="T27" fmla="*/ 2147483647 h 146"/>
                <a:gd name="T28" fmla="*/ 0 w 59"/>
                <a:gd name="T29" fmla="*/ 2147483647 h 146"/>
                <a:gd name="T30" fmla="*/ 2147483647 w 59"/>
                <a:gd name="T31" fmla="*/ 0 h 146"/>
                <a:gd name="T32" fmla="*/ 2147483647 w 59"/>
                <a:gd name="T33" fmla="*/ 2147483647 h 14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9"/>
                <a:gd name="T52" fmla="*/ 0 h 146"/>
                <a:gd name="T53" fmla="*/ 59 w 59"/>
                <a:gd name="T54" fmla="*/ 146 h 14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9" h="146">
                  <a:moveTo>
                    <a:pt x="27" y="2"/>
                  </a:moveTo>
                  <a:lnTo>
                    <a:pt x="27" y="22"/>
                  </a:lnTo>
                  <a:lnTo>
                    <a:pt x="44" y="41"/>
                  </a:lnTo>
                  <a:lnTo>
                    <a:pt x="48" y="66"/>
                  </a:lnTo>
                  <a:lnTo>
                    <a:pt x="55" y="72"/>
                  </a:lnTo>
                  <a:lnTo>
                    <a:pt x="54" y="125"/>
                  </a:lnTo>
                  <a:lnTo>
                    <a:pt x="59" y="144"/>
                  </a:lnTo>
                  <a:lnTo>
                    <a:pt x="33" y="146"/>
                  </a:lnTo>
                  <a:lnTo>
                    <a:pt x="23" y="140"/>
                  </a:lnTo>
                  <a:lnTo>
                    <a:pt x="17" y="117"/>
                  </a:lnTo>
                  <a:lnTo>
                    <a:pt x="21" y="102"/>
                  </a:lnTo>
                  <a:lnTo>
                    <a:pt x="10" y="74"/>
                  </a:lnTo>
                  <a:lnTo>
                    <a:pt x="17" y="70"/>
                  </a:lnTo>
                  <a:lnTo>
                    <a:pt x="14" y="28"/>
                  </a:lnTo>
                  <a:lnTo>
                    <a:pt x="0" y="15"/>
                  </a:lnTo>
                  <a:lnTo>
                    <a:pt x="6" y="0"/>
                  </a:lnTo>
                  <a:lnTo>
                    <a:pt x="27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7" name="Freeform 213"/>
            <p:cNvSpPr>
              <a:spLocks/>
            </p:cNvSpPr>
            <p:nvPr/>
          </p:nvSpPr>
          <p:spPr bwMode="auto">
            <a:xfrm>
              <a:off x="3140345" y="3880154"/>
              <a:ext cx="162073" cy="301483"/>
            </a:xfrm>
            <a:custGeom>
              <a:avLst/>
              <a:gdLst>
                <a:gd name="T0" fmla="*/ 2147483647 w 296"/>
                <a:gd name="T1" fmla="*/ 2147483647 h 484"/>
                <a:gd name="T2" fmla="*/ 2147483647 w 296"/>
                <a:gd name="T3" fmla="*/ 2147483647 h 484"/>
                <a:gd name="T4" fmla="*/ 2147483647 w 296"/>
                <a:gd name="T5" fmla="*/ 2147483647 h 484"/>
                <a:gd name="T6" fmla="*/ 2147483647 w 296"/>
                <a:gd name="T7" fmla="*/ 2147483647 h 484"/>
                <a:gd name="T8" fmla="*/ 2147483647 w 296"/>
                <a:gd name="T9" fmla="*/ 2147483647 h 484"/>
                <a:gd name="T10" fmla="*/ 2147483647 w 296"/>
                <a:gd name="T11" fmla="*/ 2147483647 h 484"/>
                <a:gd name="T12" fmla="*/ 2147483647 w 296"/>
                <a:gd name="T13" fmla="*/ 2147483647 h 484"/>
                <a:gd name="T14" fmla="*/ 2147483647 w 296"/>
                <a:gd name="T15" fmla="*/ 2147483647 h 484"/>
                <a:gd name="T16" fmla="*/ 2147483647 w 296"/>
                <a:gd name="T17" fmla="*/ 2147483647 h 484"/>
                <a:gd name="T18" fmla="*/ 2147483647 w 296"/>
                <a:gd name="T19" fmla="*/ 2147483647 h 484"/>
                <a:gd name="T20" fmla="*/ 0 w 296"/>
                <a:gd name="T21" fmla="*/ 2147483647 h 484"/>
                <a:gd name="T22" fmla="*/ 2147483647 w 296"/>
                <a:gd name="T23" fmla="*/ 2147483647 h 484"/>
                <a:gd name="T24" fmla="*/ 2147483647 w 296"/>
                <a:gd name="T25" fmla="*/ 2147483647 h 484"/>
                <a:gd name="T26" fmla="*/ 2147483647 w 296"/>
                <a:gd name="T27" fmla="*/ 2147483647 h 484"/>
                <a:gd name="T28" fmla="*/ 2147483647 w 296"/>
                <a:gd name="T29" fmla="*/ 2147483647 h 484"/>
                <a:gd name="T30" fmla="*/ 2147483647 w 296"/>
                <a:gd name="T31" fmla="*/ 2147483647 h 484"/>
                <a:gd name="T32" fmla="*/ 2147483647 w 296"/>
                <a:gd name="T33" fmla="*/ 2147483647 h 484"/>
                <a:gd name="T34" fmla="*/ 2147483647 w 296"/>
                <a:gd name="T35" fmla="*/ 2147483647 h 484"/>
                <a:gd name="T36" fmla="*/ 2147483647 w 296"/>
                <a:gd name="T37" fmla="*/ 2147483647 h 484"/>
                <a:gd name="T38" fmla="*/ 2147483647 w 296"/>
                <a:gd name="T39" fmla="*/ 0 h 484"/>
                <a:gd name="T40" fmla="*/ 2147483647 w 296"/>
                <a:gd name="T41" fmla="*/ 2147483647 h 484"/>
                <a:gd name="T42" fmla="*/ 2147483647 w 296"/>
                <a:gd name="T43" fmla="*/ 2147483647 h 484"/>
                <a:gd name="T44" fmla="*/ 2147483647 w 296"/>
                <a:gd name="T45" fmla="*/ 2147483647 h 484"/>
                <a:gd name="T46" fmla="*/ 2147483647 w 296"/>
                <a:gd name="T47" fmla="*/ 2147483647 h 484"/>
                <a:gd name="T48" fmla="*/ 2147483647 w 296"/>
                <a:gd name="T49" fmla="*/ 2147483647 h 484"/>
                <a:gd name="T50" fmla="*/ 2147483647 w 296"/>
                <a:gd name="T51" fmla="*/ 2147483647 h 484"/>
                <a:gd name="T52" fmla="*/ 2147483647 w 296"/>
                <a:gd name="T53" fmla="*/ 2147483647 h 484"/>
                <a:gd name="T54" fmla="*/ 2147483647 w 296"/>
                <a:gd name="T55" fmla="*/ 2147483647 h 484"/>
                <a:gd name="T56" fmla="*/ 2147483647 w 296"/>
                <a:gd name="T57" fmla="*/ 2147483647 h 484"/>
                <a:gd name="T58" fmla="*/ 2147483647 w 296"/>
                <a:gd name="T59" fmla="*/ 2147483647 h 484"/>
                <a:gd name="T60" fmla="*/ 2147483647 w 296"/>
                <a:gd name="T61" fmla="*/ 2147483647 h 484"/>
                <a:gd name="T62" fmla="*/ 2147483647 w 296"/>
                <a:gd name="T63" fmla="*/ 2147483647 h 484"/>
                <a:gd name="T64" fmla="*/ 2147483647 w 296"/>
                <a:gd name="T65" fmla="*/ 2147483647 h 484"/>
                <a:gd name="T66" fmla="*/ 2147483647 w 296"/>
                <a:gd name="T67" fmla="*/ 2147483647 h 484"/>
                <a:gd name="T68" fmla="*/ 2147483647 w 296"/>
                <a:gd name="T69" fmla="*/ 2147483647 h 484"/>
                <a:gd name="T70" fmla="*/ 2147483647 w 296"/>
                <a:gd name="T71" fmla="*/ 2147483647 h 484"/>
                <a:gd name="T72" fmla="*/ 2147483647 w 296"/>
                <a:gd name="T73" fmla="*/ 2147483647 h 484"/>
                <a:gd name="T74" fmla="*/ 2147483647 w 296"/>
                <a:gd name="T75" fmla="*/ 2147483647 h 484"/>
                <a:gd name="T76" fmla="*/ 2147483647 w 296"/>
                <a:gd name="T77" fmla="*/ 2147483647 h 484"/>
                <a:gd name="T78" fmla="*/ 2147483647 w 296"/>
                <a:gd name="T79" fmla="*/ 2147483647 h 48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6"/>
                <a:gd name="T121" fmla="*/ 0 h 484"/>
                <a:gd name="T122" fmla="*/ 296 w 296"/>
                <a:gd name="T123" fmla="*/ 484 h 48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6" h="484">
                  <a:moveTo>
                    <a:pt x="60" y="479"/>
                  </a:moveTo>
                  <a:lnTo>
                    <a:pt x="57" y="460"/>
                  </a:lnTo>
                  <a:lnTo>
                    <a:pt x="15" y="416"/>
                  </a:lnTo>
                  <a:lnTo>
                    <a:pt x="20" y="407"/>
                  </a:lnTo>
                  <a:lnTo>
                    <a:pt x="57" y="410"/>
                  </a:lnTo>
                  <a:lnTo>
                    <a:pt x="41" y="384"/>
                  </a:lnTo>
                  <a:lnTo>
                    <a:pt x="45" y="361"/>
                  </a:lnTo>
                  <a:lnTo>
                    <a:pt x="34" y="327"/>
                  </a:lnTo>
                  <a:lnTo>
                    <a:pt x="26" y="331"/>
                  </a:lnTo>
                  <a:lnTo>
                    <a:pt x="11" y="302"/>
                  </a:lnTo>
                  <a:lnTo>
                    <a:pt x="0" y="295"/>
                  </a:lnTo>
                  <a:lnTo>
                    <a:pt x="1" y="274"/>
                  </a:lnTo>
                  <a:lnTo>
                    <a:pt x="11" y="255"/>
                  </a:lnTo>
                  <a:lnTo>
                    <a:pt x="51" y="220"/>
                  </a:lnTo>
                  <a:lnTo>
                    <a:pt x="62" y="131"/>
                  </a:lnTo>
                  <a:lnTo>
                    <a:pt x="83" y="95"/>
                  </a:lnTo>
                  <a:lnTo>
                    <a:pt x="58" y="74"/>
                  </a:lnTo>
                  <a:lnTo>
                    <a:pt x="64" y="51"/>
                  </a:lnTo>
                  <a:lnTo>
                    <a:pt x="49" y="15"/>
                  </a:lnTo>
                  <a:lnTo>
                    <a:pt x="68" y="0"/>
                  </a:lnTo>
                  <a:lnTo>
                    <a:pt x="296" y="133"/>
                  </a:lnTo>
                  <a:lnTo>
                    <a:pt x="294" y="245"/>
                  </a:lnTo>
                  <a:lnTo>
                    <a:pt x="266" y="253"/>
                  </a:lnTo>
                  <a:lnTo>
                    <a:pt x="266" y="270"/>
                  </a:lnTo>
                  <a:lnTo>
                    <a:pt x="256" y="276"/>
                  </a:lnTo>
                  <a:lnTo>
                    <a:pt x="266" y="293"/>
                  </a:lnTo>
                  <a:lnTo>
                    <a:pt x="245" y="300"/>
                  </a:lnTo>
                  <a:lnTo>
                    <a:pt x="241" y="323"/>
                  </a:lnTo>
                  <a:lnTo>
                    <a:pt x="260" y="348"/>
                  </a:lnTo>
                  <a:lnTo>
                    <a:pt x="260" y="359"/>
                  </a:lnTo>
                  <a:lnTo>
                    <a:pt x="269" y="372"/>
                  </a:lnTo>
                  <a:lnTo>
                    <a:pt x="245" y="376"/>
                  </a:lnTo>
                  <a:lnTo>
                    <a:pt x="229" y="388"/>
                  </a:lnTo>
                  <a:lnTo>
                    <a:pt x="205" y="428"/>
                  </a:lnTo>
                  <a:lnTo>
                    <a:pt x="167" y="435"/>
                  </a:lnTo>
                  <a:lnTo>
                    <a:pt x="157" y="456"/>
                  </a:lnTo>
                  <a:lnTo>
                    <a:pt x="125" y="464"/>
                  </a:lnTo>
                  <a:lnTo>
                    <a:pt x="96" y="484"/>
                  </a:lnTo>
                  <a:lnTo>
                    <a:pt x="79" y="477"/>
                  </a:lnTo>
                  <a:lnTo>
                    <a:pt x="60" y="47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8" name="Freeform 214"/>
            <p:cNvSpPr>
              <a:spLocks/>
            </p:cNvSpPr>
            <p:nvPr/>
          </p:nvSpPr>
          <p:spPr bwMode="auto">
            <a:xfrm>
              <a:off x="3049937" y="3589147"/>
              <a:ext cx="67255" cy="162964"/>
            </a:xfrm>
            <a:custGeom>
              <a:avLst/>
              <a:gdLst>
                <a:gd name="T0" fmla="*/ 2147483647 w 126"/>
                <a:gd name="T1" fmla="*/ 2147483647 h 262"/>
                <a:gd name="T2" fmla="*/ 2147483647 w 126"/>
                <a:gd name="T3" fmla="*/ 2147483647 h 262"/>
                <a:gd name="T4" fmla="*/ 2147483647 w 126"/>
                <a:gd name="T5" fmla="*/ 2147483647 h 262"/>
                <a:gd name="T6" fmla="*/ 2147483647 w 126"/>
                <a:gd name="T7" fmla="*/ 2147483647 h 262"/>
                <a:gd name="T8" fmla="*/ 0 w 126"/>
                <a:gd name="T9" fmla="*/ 2147483647 h 262"/>
                <a:gd name="T10" fmla="*/ 2147483647 w 126"/>
                <a:gd name="T11" fmla="*/ 2147483647 h 262"/>
                <a:gd name="T12" fmla="*/ 2147483647 w 126"/>
                <a:gd name="T13" fmla="*/ 2147483647 h 262"/>
                <a:gd name="T14" fmla="*/ 2147483647 w 126"/>
                <a:gd name="T15" fmla="*/ 2147483647 h 262"/>
                <a:gd name="T16" fmla="*/ 2147483647 w 126"/>
                <a:gd name="T17" fmla="*/ 2147483647 h 262"/>
                <a:gd name="T18" fmla="*/ 2147483647 w 126"/>
                <a:gd name="T19" fmla="*/ 0 h 262"/>
                <a:gd name="T20" fmla="*/ 2147483647 w 126"/>
                <a:gd name="T21" fmla="*/ 2147483647 h 262"/>
                <a:gd name="T22" fmla="*/ 2147483647 w 126"/>
                <a:gd name="T23" fmla="*/ 2147483647 h 262"/>
                <a:gd name="T24" fmla="*/ 2147483647 w 126"/>
                <a:gd name="T25" fmla="*/ 2147483647 h 262"/>
                <a:gd name="T26" fmla="*/ 2147483647 w 126"/>
                <a:gd name="T27" fmla="*/ 2147483647 h 262"/>
                <a:gd name="T28" fmla="*/ 2147483647 w 126"/>
                <a:gd name="T29" fmla="*/ 2147483647 h 262"/>
                <a:gd name="T30" fmla="*/ 2147483647 w 126"/>
                <a:gd name="T31" fmla="*/ 2147483647 h 262"/>
                <a:gd name="T32" fmla="*/ 2147483647 w 126"/>
                <a:gd name="T33" fmla="*/ 2147483647 h 262"/>
                <a:gd name="T34" fmla="*/ 2147483647 w 126"/>
                <a:gd name="T35" fmla="*/ 2147483647 h 262"/>
                <a:gd name="T36" fmla="*/ 2147483647 w 126"/>
                <a:gd name="T37" fmla="*/ 2147483647 h 262"/>
                <a:gd name="T38" fmla="*/ 2147483647 w 126"/>
                <a:gd name="T39" fmla="*/ 2147483647 h 262"/>
                <a:gd name="T40" fmla="*/ 2147483647 w 126"/>
                <a:gd name="T41" fmla="*/ 2147483647 h 262"/>
                <a:gd name="T42" fmla="*/ 2147483647 w 126"/>
                <a:gd name="T43" fmla="*/ 2147483647 h 262"/>
                <a:gd name="T44" fmla="*/ 2147483647 w 126"/>
                <a:gd name="T45" fmla="*/ 2147483647 h 262"/>
                <a:gd name="T46" fmla="*/ 2147483647 w 126"/>
                <a:gd name="T47" fmla="*/ 2147483647 h 262"/>
                <a:gd name="T48" fmla="*/ 2147483647 w 126"/>
                <a:gd name="T49" fmla="*/ 2147483647 h 262"/>
                <a:gd name="T50" fmla="*/ 2147483647 w 126"/>
                <a:gd name="T51" fmla="*/ 2147483647 h 262"/>
                <a:gd name="T52" fmla="*/ 2147483647 w 126"/>
                <a:gd name="T53" fmla="*/ 2147483647 h 262"/>
                <a:gd name="T54" fmla="*/ 2147483647 w 126"/>
                <a:gd name="T55" fmla="*/ 2147483647 h 262"/>
                <a:gd name="T56" fmla="*/ 2147483647 w 126"/>
                <a:gd name="T57" fmla="*/ 2147483647 h 262"/>
                <a:gd name="T58" fmla="*/ 2147483647 w 126"/>
                <a:gd name="T59" fmla="*/ 2147483647 h 262"/>
                <a:gd name="T60" fmla="*/ 2147483647 w 126"/>
                <a:gd name="T61" fmla="*/ 2147483647 h 262"/>
                <a:gd name="T62" fmla="*/ 2147483647 w 126"/>
                <a:gd name="T63" fmla="*/ 2147483647 h 262"/>
                <a:gd name="T64" fmla="*/ 2147483647 w 126"/>
                <a:gd name="T65" fmla="*/ 2147483647 h 2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6"/>
                <a:gd name="T100" fmla="*/ 0 h 262"/>
                <a:gd name="T101" fmla="*/ 126 w 126"/>
                <a:gd name="T102" fmla="*/ 262 h 2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6" h="262">
                  <a:moveTo>
                    <a:pt x="48" y="262"/>
                  </a:moveTo>
                  <a:lnTo>
                    <a:pt x="44" y="194"/>
                  </a:lnTo>
                  <a:lnTo>
                    <a:pt x="25" y="180"/>
                  </a:lnTo>
                  <a:lnTo>
                    <a:pt x="12" y="159"/>
                  </a:lnTo>
                  <a:lnTo>
                    <a:pt x="0" y="119"/>
                  </a:lnTo>
                  <a:lnTo>
                    <a:pt x="27" y="89"/>
                  </a:lnTo>
                  <a:lnTo>
                    <a:pt x="25" y="32"/>
                  </a:lnTo>
                  <a:lnTo>
                    <a:pt x="35" y="13"/>
                  </a:lnTo>
                  <a:lnTo>
                    <a:pt x="52" y="4"/>
                  </a:lnTo>
                  <a:lnTo>
                    <a:pt x="73" y="0"/>
                  </a:lnTo>
                  <a:lnTo>
                    <a:pt x="69" y="13"/>
                  </a:lnTo>
                  <a:lnTo>
                    <a:pt x="76" y="17"/>
                  </a:lnTo>
                  <a:lnTo>
                    <a:pt x="90" y="7"/>
                  </a:lnTo>
                  <a:lnTo>
                    <a:pt x="93" y="19"/>
                  </a:lnTo>
                  <a:lnTo>
                    <a:pt x="82" y="32"/>
                  </a:lnTo>
                  <a:lnTo>
                    <a:pt x="82" y="49"/>
                  </a:lnTo>
                  <a:lnTo>
                    <a:pt x="101" y="70"/>
                  </a:lnTo>
                  <a:lnTo>
                    <a:pt x="95" y="87"/>
                  </a:lnTo>
                  <a:lnTo>
                    <a:pt x="73" y="106"/>
                  </a:lnTo>
                  <a:lnTo>
                    <a:pt x="78" y="123"/>
                  </a:lnTo>
                  <a:lnTo>
                    <a:pt x="90" y="127"/>
                  </a:lnTo>
                  <a:lnTo>
                    <a:pt x="90" y="110"/>
                  </a:lnTo>
                  <a:lnTo>
                    <a:pt x="95" y="116"/>
                  </a:lnTo>
                  <a:lnTo>
                    <a:pt x="101" y="137"/>
                  </a:lnTo>
                  <a:lnTo>
                    <a:pt x="112" y="138"/>
                  </a:lnTo>
                  <a:lnTo>
                    <a:pt x="126" y="144"/>
                  </a:lnTo>
                  <a:lnTo>
                    <a:pt x="116" y="157"/>
                  </a:lnTo>
                  <a:lnTo>
                    <a:pt x="116" y="176"/>
                  </a:lnTo>
                  <a:lnTo>
                    <a:pt x="99" y="186"/>
                  </a:lnTo>
                  <a:lnTo>
                    <a:pt x="86" y="201"/>
                  </a:lnTo>
                  <a:lnTo>
                    <a:pt x="82" y="245"/>
                  </a:lnTo>
                  <a:lnTo>
                    <a:pt x="59" y="252"/>
                  </a:lnTo>
                  <a:lnTo>
                    <a:pt x="48" y="26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39" name="Freeform 215"/>
            <p:cNvSpPr>
              <a:spLocks/>
            </p:cNvSpPr>
            <p:nvPr/>
          </p:nvSpPr>
          <p:spPr bwMode="auto">
            <a:xfrm>
              <a:off x="3396133" y="4236346"/>
              <a:ext cx="78280" cy="102434"/>
            </a:xfrm>
            <a:custGeom>
              <a:avLst/>
              <a:gdLst>
                <a:gd name="T0" fmla="*/ 2147483647 w 144"/>
                <a:gd name="T1" fmla="*/ 0 h 163"/>
                <a:gd name="T2" fmla="*/ 2147483647 w 144"/>
                <a:gd name="T3" fmla="*/ 2147483647 h 163"/>
                <a:gd name="T4" fmla="*/ 2147483647 w 144"/>
                <a:gd name="T5" fmla="*/ 2147483647 h 163"/>
                <a:gd name="T6" fmla="*/ 2147483647 w 144"/>
                <a:gd name="T7" fmla="*/ 2147483647 h 163"/>
                <a:gd name="T8" fmla="*/ 2147483647 w 144"/>
                <a:gd name="T9" fmla="*/ 2147483647 h 163"/>
                <a:gd name="T10" fmla="*/ 2147483647 w 144"/>
                <a:gd name="T11" fmla="*/ 2147483647 h 163"/>
                <a:gd name="T12" fmla="*/ 2147483647 w 144"/>
                <a:gd name="T13" fmla="*/ 2147483647 h 163"/>
                <a:gd name="T14" fmla="*/ 2147483647 w 144"/>
                <a:gd name="T15" fmla="*/ 2147483647 h 163"/>
                <a:gd name="T16" fmla="*/ 2147483647 w 144"/>
                <a:gd name="T17" fmla="*/ 2147483647 h 163"/>
                <a:gd name="T18" fmla="*/ 0 w 144"/>
                <a:gd name="T19" fmla="*/ 2147483647 h 163"/>
                <a:gd name="T20" fmla="*/ 2147483647 w 144"/>
                <a:gd name="T21" fmla="*/ 2147483647 h 163"/>
                <a:gd name="T22" fmla="*/ 2147483647 w 144"/>
                <a:gd name="T23" fmla="*/ 2147483647 h 163"/>
                <a:gd name="T24" fmla="*/ 2147483647 w 144"/>
                <a:gd name="T25" fmla="*/ 2147483647 h 163"/>
                <a:gd name="T26" fmla="*/ 2147483647 w 144"/>
                <a:gd name="T27" fmla="*/ 2147483647 h 163"/>
                <a:gd name="T28" fmla="*/ 2147483647 w 144"/>
                <a:gd name="T29" fmla="*/ 2147483647 h 163"/>
                <a:gd name="T30" fmla="*/ 2147483647 w 144"/>
                <a:gd name="T31" fmla="*/ 2147483647 h 163"/>
                <a:gd name="T32" fmla="*/ 2147483647 w 144"/>
                <a:gd name="T33" fmla="*/ 2147483647 h 163"/>
                <a:gd name="T34" fmla="*/ 2147483647 w 144"/>
                <a:gd name="T35" fmla="*/ 2147483647 h 163"/>
                <a:gd name="T36" fmla="*/ 2147483647 w 144"/>
                <a:gd name="T37" fmla="*/ 2147483647 h 163"/>
                <a:gd name="T38" fmla="*/ 2147483647 w 144"/>
                <a:gd name="T39" fmla="*/ 0 h 16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63"/>
                <a:gd name="T62" fmla="*/ 144 w 144"/>
                <a:gd name="T63" fmla="*/ 163 h 16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63">
                  <a:moveTo>
                    <a:pt x="114" y="0"/>
                  </a:moveTo>
                  <a:lnTo>
                    <a:pt x="129" y="15"/>
                  </a:lnTo>
                  <a:lnTo>
                    <a:pt x="144" y="45"/>
                  </a:lnTo>
                  <a:lnTo>
                    <a:pt x="133" y="89"/>
                  </a:lnTo>
                  <a:lnTo>
                    <a:pt x="122" y="116"/>
                  </a:lnTo>
                  <a:lnTo>
                    <a:pt x="99" y="116"/>
                  </a:lnTo>
                  <a:lnTo>
                    <a:pt x="67" y="123"/>
                  </a:lnTo>
                  <a:lnTo>
                    <a:pt x="63" y="150"/>
                  </a:lnTo>
                  <a:lnTo>
                    <a:pt x="21" y="152"/>
                  </a:lnTo>
                  <a:lnTo>
                    <a:pt x="0" y="163"/>
                  </a:lnTo>
                  <a:lnTo>
                    <a:pt x="4" y="99"/>
                  </a:lnTo>
                  <a:lnTo>
                    <a:pt x="40" y="57"/>
                  </a:lnTo>
                  <a:lnTo>
                    <a:pt x="27" y="49"/>
                  </a:lnTo>
                  <a:lnTo>
                    <a:pt x="30" y="21"/>
                  </a:lnTo>
                  <a:lnTo>
                    <a:pt x="40" y="9"/>
                  </a:lnTo>
                  <a:lnTo>
                    <a:pt x="57" y="7"/>
                  </a:lnTo>
                  <a:lnTo>
                    <a:pt x="74" y="13"/>
                  </a:lnTo>
                  <a:lnTo>
                    <a:pt x="91" y="6"/>
                  </a:lnTo>
                  <a:lnTo>
                    <a:pt x="106" y="9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0" name="Freeform 216"/>
            <p:cNvSpPr>
              <a:spLocks/>
            </p:cNvSpPr>
            <p:nvPr/>
          </p:nvSpPr>
          <p:spPr bwMode="auto">
            <a:xfrm>
              <a:off x="3121602" y="4218886"/>
              <a:ext cx="295480" cy="331747"/>
            </a:xfrm>
            <a:custGeom>
              <a:avLst/>
              <a:gdLst>
                <a:gd name="T0" fmla="*/ 2147483647 w 542"/>
                <a:gd name="T1" fmla="*/ 2147483647 h 532"/>
                <a:gd name="T2" fmla="*/ 2147483647 w 542"/>
                <a:gd name="T3" fmla="*/ 2147483647 h 532"/>
                <a:gd name="T4" fmla="*/ 2147483647 w 542"/>
                <a:gd name="T5" fmla="*/ 2147483647 h 532"/>
                <a:gd name="T6" fmla="*/ 2147483647 w 542"/>
                <a:gd name="T7" fmla="*/ 2147483647 h 532"/>
                <a:gd name="T8" fmla="*/ 2147483647 w 542"/>
                <a:gd name="T9" fmla="*/ 2147483647 h 532"/>
                <a:gd name="T10" fmla="*/ 2147483647 w 542"/>
                <a:gd name="T11" fmla="*/ 2147483647 h 532"/>
                <a:gd name="T12" fmla="*/ 2147483647 w 542"/>
                <a:gd name="T13" fmla="*/ 2147483647 h 532"/>
                <a:gd name="T14" fmla="*/ 2147483647 w 542"/>
                <a:gd name="T15" fmla="*/ 2147483647 h 532"/>
                <a:gd name="T16" fmla="*/ 2147483647 w 542"/>
                <a:gd name="T17" fmla="*/ 2147483647 h 532"/>
                <a:gd name="T18" fmla="*/ 2147483647 w 542"/>
                <a:gd name="T19" fmla="*/ 2147483647 h 532"/>
                <a:gd name="T20" fmla="*/ 2147483647 w 542"/>
                <a:gd name="T21" fmla="*/ 2147483647 h 532"/>
                <a:gd name="T22" fmla="*/ 2147483647 w 542"/>
                <a:gd name="T23" fmla="*/ 2147483647 h 532"/>
                <a:gd name="T24" fmla="*/ 2147483647 w 542"/>
                <a:gd name="T25" fmla="*/ 2147483647 h 532"/>
                <a:gd name="T26" fmla="*/ 2147483647 w 542"/>
                <a:gd name="T27" fmla="*/ 0 h 532"/>
                <a:gd name="T28" fmla="*/ 2147483647 w 542"/>
                <a:gd name="T29" fmla="*/ 2147483647 h 532"/>
                <a:gd name="T30" fmla="*/ 2147483647 w 542"/>
                <a:gd name="T31" fmla="*/ 2147483647 h 532"/>
                <a:gd name="T32" fmla="*/ 2147483647 w 542"/>
                <a:gd name="T33" fmla="*/ 2147483647 h 532"/>
                <a:gd name="T34" fmla="*/ 2147483647 w 542"/>
                <a:gd name="T35" fmla="*/ 2147483647 h 532"/>
                <a:gd name="T36" fmla="*/ 2147483647 w 542"/>
                <a:gd name="T37" fmla="*/ 2147483647 h 532"/>
                <a:gd name="T38" fmla="*/ 2147483647 w 542"/>
                <a:gd name="T39" fmla="*/ 2147483647 h 532"/>
                <a:gd name="T40" fmla="*/ 2147483647 w 542"/>
                <a:gd name="T41" fmla="*/ 2147483647 h 532"/>
                <a:gd name="T42" fmla="*/ 2147483647 w 542"/>
                <a:gd name="T43" fmla="*/ 2147483647 h 532"/>
                <a:gd name="T44" fmla="*/ 2147483647 w 542"/>
                <a:gd name="T45" fmla="*/ 2147483647 h 532"/>
                <a:gd name="T46" fmla="*/ 2147483647 w 542"/>
                <a:gd name="T47" fmla="*/ 2147483647 h 532"/>
                <a:gd name="T48" fmla="*/ 2147483647 w 542"/>
                <a:gd name="T49" fmla="*/ 2147483647 h 532"/>
                <a:gd name="T50" fmla="*/ 2147483647 w 542"/>
                <a:gd name="T51" fmla="*/ 2147483647 h 532"/>
                <a:gd name="T52" fmla="*/ 2147483647 w 542"/>
                <a:gd name="T53" fmla="*/ 2147483647 h 532"/>
                <a:gd name="T54" fmla="*/ 2147483647 w 542"/>
                <a:gd name="T55" fmla="*/ 2147483647 h 532"/>
                <a:gd name="T56" fmla="*/ 2147483647 w 542"/>
                <a:gd name="T57" fmla="*/ 2147483647 h 532"/>
                <a:gd name="T58" fmla="*/ 2147483647 w 542"/>
                <a:gd name="T59" fmla="*/ 2147483647 h 532"/>
                <a:gd name="T60" fmla="*/ 2147483647 w 542"/>
                <a:gd name="T61" fmla="*/ 2147483647 h 532"/>
                <a:gd name="T62" fmla="*/ 2147483647 w 542"/>
                <a:gd name="T63" fmla="*/ 2147483647 h 532"/>
                <a:gd name="T64" fmla="*/ 2147483647 w 542"/>
                <a:gd name="T65" fmla="*/ 2147483647 h 532"/>
                <a:gd name="T66" fmla="*/ 2147483647 w 542"/>
                <a:gd name="T67" fmla="*/ 2147483647 h 5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42"/>
                <a:gd name="T103" fmla="*/ 0 h 532"/>
                <a:gd name="T104" fmla="*/ 542 w 542"/>
                <a:gd name="T105" fmla="*/ 532 h 5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42" h="532">
                  <a:moveTo>
                    <a:pt x="337" y="462"/>
                  </a:moveTo>
                  <a:lnTo>
                    <a:pt x="280" y="466"/>
                  </a:lnTo>
                  <a:lnTo>
                    <a:pt x="266" y="365"/>
                  </a:lnTo>
                  <a:lnTo>
                    <a:pt x="247" y="363"/>
                  </a:lnTo>
                  <a:lnTo>
                    <a:pt x="238" y="350"/>
                  </a:lnTo>
                  <a:lnTo>
                    <a:pt x="215" y="356"/>
                  </a:lnTo>
                  <a:lnTo>
                    <a:pt x="207" y="384"/>
                  </a:lnTo>
                  <a:lnTo>
                    <a:pt x="158" y="386"/>
                  </a:lnTo>
                  <a:lnTo>
                    <a:pt x="141" y="365"/>
                  </a:lnTo>
                  <a:lnTo>
                    <a:pt x="145" y="356"/>
                  </a:lnTo>
                  <a:lnTo>
                    <a:pt x="131" y="321"/>
                  </a:lnTo>
                  <a:lnTo>
                    <a:pt x="33" y="321"/>
                  </a:lnTo>
                  <a:lnTo>
                    <a:pt x="0" y="319"/>
                  </a:lnTo>
                  <a:lnTo>
                    <a:pt x="6" y="314"/>
                  </a:lnTo>
                  <a:lnTo>
                    <a:pt x="17" y="283"/>
                  </a:lnTo>
                  <a:lnTo>
                    <a:pt x="36" y="291"/>
                  </a:lnTo>
                  <a:lnTo>
                    <a:pt x="48" y="278"/>
                  </a:lnTo>
                  <a:lnTo>
                    <a:pt x="65" y="281"/>
                  </a:lnTo>
                  <a:lnTo>
                    <a:pt x="78" y="293"/>
                  </a:lnTo>
                  <a:lnTo>
                    <a:pt x="107" y="268"/>
                  </a:lnTo>
                  <a:lnTo>
                    <a:pt x="116" y="243"/>
                  </a:lnTo>
                  <a:lnTo>
                    <a:pt x="118" y="213"/>
                  </a:lnTo>
                  <a:lnTo>
                    <a:pt x="160" y="171"/>
                  </a:lnTo>
                  <a:lnTo>
                    <a:pt x="166" y="112"/>
                  </a:lnTo>
                  <a:lnTo>
                    <a:pt x="185" y="52"/>
                  </a:lnTo>
                  <a:lnTo>
                    <a:pt x="183" y="38"/>
                  </a:lnTo>
                  <a:lnTo>
                    <a:pt x="185" y="23"/>
                  </a:lnTo>
                  <a:lnTo>
                    <a:pt x="211" y="0"/>
                  </a:lnTo>
                  <a:lnTo>
                    <a:pt x="234" y="17"/>
                  </a:lnTo>
                  <a:lnTo>
                    <a:pt x="289" y="27"/>
                  </a:lnTo>
                  <a:lnTo>
                    <a:pt x="303" y="10"/>
                  </a:lnTo>
                  <a:lnTo>
                    <a:pt x="320" y="17"/>
                  </a:lnTo>
                  <a:lnTo>
                    <a:pt x="350" y="2"/>
                  </a:lnTo>
                  <a:lnTo>
                    <a:pt x="361" y="12"/>
                  </a:lnTo>
                  <a:lnTo>
                    <a:pt x="380" y="0"/>
                  </a:lnTo>
                  <a:lnTo>
                    <a:pt x="434" y="8"/>
                  </a:lnTo>
                  <a:lnTo>
                    <a:pt x="462" y="25"/>
                  </a:lnTo>
                  <a:lnTo>
                    <a:pt x="500" y="17"/>
                  </a:lnTo>
                  <a:lnTo>
                    <a:pt x="531" y="48"/>
                  </a:lnTo>
                  <a:lnTo>
                    <a:pt x="529" y="76"/>
                  </a:lnTo>
                  <a:lnTo>
                    <a:pt x="542" y="86"/>
                  </a:lnTo>
                  <a:lnTo>
                    <a:pt x="506" y="128"/>
                  </a:lnTo>
                  <a:lnTo>
                    <a:pt x="502" y="192"/>
                  </a:lnTo>
                  <a:lnTo>
                    <a:pt x="491" y="198"/>
                  </a:lnTo>
                  <a:lnTo>
                    <a:pt x="485" y="209"/>
                  </a:lnTo>
                  <a:lnTo>
                    <a:pt x="489" y="228"/>
                  </a:lnTo>
                  <a:lnTo>
                    <a:pt x="493" y="251"/>
                  </a:lnTo>
                  <a:lnTo>
                    <a:pt x="483" y="253"/>
                  </a:lnTo>
                  <a:lnTo>
                    <a:pt x="477" y="283"/>
                  </a:lnTo>
                  <a:lnTo>
                    <a:pt x="487" y="278"/>
                  </a:lnTo>
                  <a:lnTo>
                    <a:pt x="479" y="293"/>
                  </a:lnTo>
                  <a:lnTo>
                    <a:pt x="483" y="327"/>
                  </a:lnTo>
                  <a:lnTo>
                    <a:pt x="510" y="363"/>
                  </a:lnTo>
                  <a:lnTo>
                    <a:pt x="519" y="397"/>
                  </a:lnTo>
                  <a:lnTo>
                    <a:pt x="479" y="401"/>
                  </a:lnTo>
                  <a:lnTo>
                    <a:pt x="466" y="433"/>
                  </a:lnTo>
                  <a:lnTo>
                    <a:pt x="462" y="483"/>
                  </a:lnTo>
                  <a:lnTo>
                    <a:pt x="489" y="509"/>
                  </a:lnTo>
                  <a:lnTo>
                    <a:pt x="508" y="494"/>
                  </a:lnTo>
                  <a:lnTo>
                    <a:pt x="510" y="528"/>
                  </a:lnTo>
                  <a:lnTo>
                    <a:pt x="479" y="532"/>
                  </a:lnTo>
                  <a:lnTo>
                    <a:pt x="464" y="509"/>
                  </a:lnTo>
                  <a:lnTo>
                    <a:pt x="439" y="506"/>
                  </a:lnTo>
                  <a:lnTo>
                    <a:pt x="430" y="485"/>
                  </a:lnTo>
                  <a:lnTo>
                    <a:pt x="386" y="494"/>
                  </a:lnTo>
                  <a:lnTo>
                    <a:pt x="375" y="468"/>
                  </a:lnTo>
                  <a:lnTo>
                    <a:pt x="354" y="475"/>
                  </a:lnTo>
                  <a:lnTo>
                    <a:pt x="337" y="46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1" name="Freeform 217"/>
            <p:cNvSpPr>
              <a:spLocks/>
            </p:cNvSpPr>
            <p:nvPr/>
          </p:nvSpPr>
          <p:spPr bwMode="auto">
            <a:xfrm>
              <a:off x="3156883" y="4111795"/>
              <a:ext cx="200662" cy="143175"/>
            </a:xfrm>
            <a:custGeom>
              <a:avLst/>
              <a:gdLst>
                <a:gd name="T0" fmla="*/ 2147483647 w 369"/>
                <a:gd name="T1" fmla="*/ 2147483647 h 230"/>
                <a:gd name="T2" fmla="*/ 2147483647 w 369"/>
                <a:gd name="T3" fmla="*/ 2147483647 h 230"/>
                <a:gd name="T4" fmla="*/ 2147483647 w 369"/>
                <a:gd name="T5" fmla="*/ 2147483647 h 230"/>
                <a:gd name="T6" fmla="*/ 0 w 369"/>
                <a:gd name="T7" fmla="*/ 2147483647 h 230"/>
                <a:gd name="T8" fmla="*/ 2147483647 w 369"/>
                <a:gd name="T9" fmla="*/ 2147483647 h 230"/>
                <a:gd name="T10" fmla="*/ 2147483647 w 369"/>
                <a:gd name="T11" fmla="*/ 2147483647 h 230"/>
                <a:gd name="T12" fmla="*/ 2147483647 w 369"/>
                <a:gd name="T13" fmla="*/ 2147483647 h 230"/>
                <a:gd name="T14" fmla="*/ 2147483647 w 369"/>
                <a:gd name="T15" fmla="*/ 2147483647 h 230"/>
                <a:gd name="T16" fmla="*/ 2147483647 w 369"/>
                <a:gd name="T17" fmla="*/ 2147483647 h 230"/>
                <a:gd name="T18" fmla="*/ 2147483647 w 369"/>
                <a:gd name="T19" fmla="*/ 2147483647 h 230"/>
                <a:gd name="T20" fmla="*/ 2147483647 w 369"/>
                <a:gd name="T21" fmla="*/ 2147483647 h 230"/>
                <a:gd name="T22" fmla="*/ 2147483647 w 369"/>
                <a:gd name="T23" fmla="*/ 2147483647 h 230"/>
                <a:gd name="T24" fmla="*/ 2147483647 w 369"/>
                <a:gd name="T25" fmla="*/ 2147483647 h 230"/>
                <a:gd name="T26" fmla="*/ 2147483647 w 369"/>
                <a:gd name="T27" fmla="*/ 0 h 230"/>
                <a:gd name="T28" fmla="*/ 2147483647 w 369"/>
                <a:gd name="T29" fmla="*/ 2147483647 h 230"/>
                <a:gd name="T30" fmla="*/ 2147483647 w 369"/>
                <a:gd name="T31" fmla="*/ 2147483647 h 230"/>
                <a:gd name="T32" fmla="*/ 2147483647 w 369"/>
                <a:gd name="T33" fmla="*/ 2147483647 h 230"/>
                <a:gd name="T34" fmla="*/ 2147483647 w 369"/>
                <a:gd name="T35" fmla="*/ 2147483647 h 230"/>
                <a:gd name="T36" fmla="*/ 2147483647 w 369"/>
                <a:gd name="T37" fmla="*/ 2147483647 h 230"/>
                <a:gd name="T38" fmla="*/ 2147483647 w 369"/>
                <a:gd name="T39" fmla="*/ 2147483647 h 230"/>
                <a:gd name="T40" fmla="*/ 2147483647 w 369"/>
                <a:gd name="T41" fmla="*/ 2147483647 h 230"/>
                <a:gd name="T42" fmla="*/ 2147483647 w 369"/>
                <a:gd name="T43" fmla="*/ 2147483647 h 230"/>
                <a:gd name="T44" fmla="*/ 2147483647 w 369"/>
                <a:gd name="T45" fmla="*/ 2147483647 h 230"/>
                <a:gd name="T46" fmla="*/ 2147483647 w 369"/>
                <a:gd name="T47" fmla="*/ 2147483647 h 230"/>
                <a:gd name="T48" fmla="*/ 2147483647 w 369"/>
                <a:gd name="T49" fmla="*/ 2147483647 h 230"/>
                <a:gd name="T50" fmla="*/ 2147483647 w 369"/>
                <a:gd name="T51" fmla="*/ 2147483647 h 230"/>
                <a:gd name="T52" fmla="*/ 2147483647 w 369"/>
                <a:gd name="T53" fmla="*/ 2147483647 h 230"/>
                <a:gd name="T54" fmla="*/ 2147483647 w 369"/>
                <a:gd name="T55" fmla="*/ 2147483647 h 230"/>
                <a:gd name="T56" fmla="*/ 2147483647 w 369"/>
                <a:gd name="T57" fmla="*/ 2147483647 h 230"/>
                <a:gd name="T58" fmla="*/ 2147483647 w 369"/>
                <a:gd name="T59" fmla="*/ 2147483647 h 230"/>
                <a:gd name="T60" fmla="*/ 2147483647 w 369"/>
                <a:gd name="T61" fmla="*/ 2147483647 h 230"/>
                <a:gd name="T62" fmla="*/ 2147483647 w 369"/>
                <a:gd name="T63" fmla="*/ 2147483647 h 230"/>
                <a:gd name="T64" fmla="*/ 2147483647 w 369"/>
                <a:gd name="T65" fmla="*/ 2147483647 h 230"/>
                <a:gd name="T66" fmla="*/ 2147483647 w 369"/>
                <a:gd name="T67" fmla="*/ 2147483647 h 23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69"/>
                <a:gd name="T103" fmla="*/ 0 h 230"/>
                <a:gd name="T104" fmla="*/ 369 w 369"/>
                <a:gd name="T105" fmla="*/ 230 h 23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69" h="230">
                  <a:moveTo>
                    <a:pt x="49" y="230"/>
                  </a:moveTo>
                  <a:lnTo>
                    <a:pt x="32" y="226"/>
                  </a:lnTo>
                  <a:lnTo>
                    <a:pt x="11" y="196"/>
                  </a:lnTo>
                  <a:lnTo>
                    <a:pt x="0" y="145"/>
                  </a:lnTo>
                  <a:lnTo>
                    <a:pt x="32" y="107"/>
                  </a:lnTo>
                  <a:lnTo>
                    <a:pt x="51" y="105"/>
                  </a:lnTo>
                  <a:lnTo>
                    <a:pt x="68" y="112"/>
                  </a:lnTo>
                  <a:lnTo>
                    <a:pt x="97" y="92"/>
                  </a:lnTo>
                  <a:lnTo>
                    <a:pt x="129" y="84"/>
                  </a:lnTo>
                  <a:lnTo>
                    <a:pt x="139" y="63"/>
                  </a:lnTo>
                  <a:lnTo>
                    <a:pt x="177" y="56"/>
                  </a:lnTo>
                  <a:lnTo>
                    <a:pt x="200" y="16"/>
                  </a:lnTo>
                  <a:lnTo>
                    <a:pt x="217" y="4"/>
                  </a:lnTo>
                  <a:lnTo>
                    <a:pt x="240" y="0"/>
                  </a:lnTo>
                  <a:lnTo>
                    <a:pt x="243" y="38"/>
                  </a:lnTo>
                  <a:lnTo>
                    <a:pt x="257" y="69"/>
                  </a:lnTo>
                  <a:lnTo>
                    <a:pt x="279" y="73"/>
                  </a:lnTo>
                  <a:lnTo>
                    <a:pt x="287" y="86"/>
                  </a:lnTo>
                  <a:lnTo>
                    <a:pt x="314" y="93"/>
                  </a:lnTo>
                  <a:lnTo>
                    <a:pt x="342" y="145"/>
                  </a:lnTo>
                  <a:lnTo>
                    <a:pt x="367" y="154"/>
                  </a:lnTo>
                  <a:lnTo>
                    <a:pt x="369" y="179"/>
                  </a:lnTo>
                  <a:lnTo>
                    <a:pt x="316" y="171"/>
                  </a:lnTo>
                  <a:lnTo>
                    <a:pt x="298" y="185"/>
                  </a:lnTo>
                  <a:lnTo>
                    <a:pt x="285" y="173"/>
                  </a:lnTo>
                  <a:lnTo>
                    <a:pt x="257" y="188"/>
                  </a:lnTo>
                  <a:lnTo>
                    <a:pt x="238" y="181"/>
                  </a:lnTo>
                  <a:lnTo>
                    <a:pt x="224" y="200"/>
                  </a:lnTo>
                  <a:lnTo>
                    <a:pt x="169" y="190"/>
                  </a:lnTo>
                  <a:lnTo>
                    <a:pt x="146" y="171"/>
                  </a:lnTo>
                  <a:lnTo>
                    <a:pt x="120" y="194"/>
                  </a:lnTo>
                  <a:lnTo>
                    <a:pt x="120" y="211"/>
                  </a:lnTo>
                  <a:lnTo>
                    <a:pt x="91" y="207"/>
                  </a:lnTo>
                  <a:lnTo>
                    <a:pt x="49" y="23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2" name="Freeform 218"/>
            <p:cNvSpPr>
              <a:spLocks/>
            </p:cNvSpPr>
            <p:nvPr/>
          </p:nvSpPr>
          <p:spPr bwMode="auto">
            <a:xfrm>
              <a:off x="3052142" y="4282907"/>
              <a:ext cx="4410" cy="6984"/>
            </a:xfrm>
            <a:custGeom>
              <a:avLst/>
              <a:gdLst>
                <a:gd name="T0" fmla="*/ 2147483647 w 10"/>
                <a:gd name="T1" fmla="*/ 0 h 11"/>
                <a:gd name="T2" fmla="*/ 2147483647 w 10"/>
                <a:gd name="T3" fmla="*/ 2147483647 h 11"/>
                <a:gd name="T4" fmla="*/ 2147483647 w 10"/>
                <a:gd name="T5" fmla="*/ 2147483647 h 11"/>
                <a:gd name="T6" fmla="*/ 0 w 10"/>
                <a:gd name="T7" fmla="*/ 2147483647 h 11"/>
                <a:gd name="T8" fmla="*/ 2147483647 w 10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1"/>
                <a:gd name="T17" fmla="*/ 10 w 10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1">
                  <a:moveTo>
                    <a:pt x="10" y="0"/>
                  </a:moveTo>
                  <a:lnTo>
                    <a:pt x="10" y="6"/>
                  </a:lnTo>
                  <a:lnTo>
                    <a:pt x="2" y="11"/>
                  </a:lnTo>
                  <a:lnTo>
                    <a:pt x="0" y="4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3" name="Freeform 219"/>
            <p:cNvSpPr>
              <a:spLocks/>
            </p:cNvSpPr>
            <p:nvPr/>
          </p:nvSpPr>
          <p:spPr bwMode="auto">
            <a:xfrm>
              <a:off x="3041116" y="4306188"/>
              <a:ext cx="7718" cy="11640"/>
            </a:xfrm>
            <a:custGeom>
              <a:avLst/>
              <a:gdLst>
                <a:gd name="T0" fmla="*/ 2147483647 w 13"/>
                <a:gd name="T1" fmla="*/ 2147483647 h 19"/>
                <a:gd name="T2" fmla="*/ 0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0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2147483647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9"/>
                <a:gd name="T23" fmla="*/ 13 w 13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9">
                  <a:moveTo>
                    <a:pt x="8" y="19"/>
                  </a:moveTo>
                  <a:lnTo>
                    <a:pt x="0" y="11"/>
                  </a:lnTo>
                  <a:lnTo>
                    <a:pt x="4" y="6"/>
                  </a:lnTo>
                  <a:lnTo>
                    <a:pt x="10" y="0"/>
                  </a:lnTo>
                  <a:lnTo>
                    <a:pt x="13" y="4"/>
                  </a:lnTo>
                  <a:lnTo>
                    <a:pt x="10" y="9"/>
                  </a:lnTo>
                  <a:lnTo>
                    <a:pt x="8" y="1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4" name="Freeform 220"/>
            <p:cNvSpPr>
              <a:spLocks/>
            </p:cNvSpPr>
            <p:nvPr/>
          </p:nvSpPr>
          <p:spPr bwMode="auto">
            <a:xfrm>
              <a:off x="1806276" y="4715925"/>
              <a:ext cx="309813" cy="707729"/>
            </a:xfrm>
            <a:custGeom>
              <a:avLst/>
              <a:gdLst>
                <a:gd name="T0" fmla="*/ 2147483647 w 566"/>
                <a:gd name="T1" fmla="*/ 2147483647 h 1138"/>
                <a:gd name="T2" fmla="*/ 2147483647 w 566"/>
                <a:gd name="T3" fmla="*/ 2147483647 h 1138"/>
                <a:gd name="T4" fmla="*/ 2147483647 w 566"/>
                <a:gd name="T5" fmla="*/ 2147483647 h 1138"/>
                <a:gd name="T6" fmla="*/ 2147483647 w 566"/>
                <a:gd name="T7" fmla="*/ 2147483647 h 1138"/>
                <a:gd name="T8" fmla="*/ 2147483647 w 566"/>
                <a:gd name="T9" fmla="*/ 2147483647 h 1138"/>
                <a:gd name="T10" fmla="*/ 2147483647 w 566"/>
                <a:gd name="T11" fmla="*/ 2147483647 h 1138"/>
                <a:gd name="T12" fmla="*/ 2147483647 w 566"/>
                <a:gd name="T13" fmla="*/ 2147483647 h 1138"/>
                <a:gd name="T14" fmla="*/ 2147483647 w 566"/>
                <a:gd name="T15" fmla="*/ 2147483647 h 1138"/>
                <a:gd name="T16" fmla="*/ 2147483647 w 566"/>
                <a:gd name="T17" fmla="*/ 2147483647 h 1138"/>
                <a:gd name="T18" fmla="*/ 2147483647 w 566"/>
                <a:gd name="T19" fmla="*/ 2147483647 h 1138"/>
                <a:gd name="T20" fmla="*/ 2147483647 w 566"/>
                <a:gd name="T21" fmla="*/ 2147483647 h 1138"/>
                <a:gd name="T22" fmla="*/ 2147483647 w 566"/>
                <a:gd name="T23" fmla="*/ 2147483647 h 1138"/>
                <a:gd name="T24" fmla="*/ 2147483647 w 566"/>
                <a:gd name="T25" fmla="*/ 2147483647 h 1138"/>
                <a:gd name="T26" fmla="*/ 2147483647 w 566"/>
                <a:gd name="T27" fmla="*/ 2147483647 h 1138"/>
                <a:gd name="T28" fmla="*/ 2147483647 w 566"/>
                <a:gd name="T29" fmla="*/ 2147483647 h 1138"/>
                <a:gd name="T30" fmla="*/ 2147483647 w 566"/>
                <a:gd name="T31" fmla="*/ 2147483647 h 1138"/>
                <a:gd name="T32" fmla="*/ 2147483647 w 566"/>
                <a:gd name="T33" fmla="*/ 2147483647 h 1138"/>
                <a:gd name="T34" fmla="*/ 2147483647 w 566"/>
                <a:gd name="T35" fmla="*/ 2147483647 h 1138"/>
                <a:gd name="T36" fmla="*/ 2147483647 w 566"/>
                <a:gd name="T37" fmla="*/ 2147483647 h 1138"/>
                <a:gd name="T38" fmla="*/ 2147483647 w 566"/>
                <a:gd name="T39" fmla="*/ 2147483647 h 1138"/>
                <a:gd name="T40" fmla="*/ 2147483647 w 566"/>
                <a:gd name="T41" fmla="*/ 2147483647 h 1138"/>
                <a:gd name="T42" fmla="*/ 2147483647 w 566"/>
                <a:gd name="T43" fmla="*/ 2147483647 h 1138"/>
                <a:gd name="T44" fmla="*/ 2147483647 w 566"/>
                <a:gd name="T45" fmla="*/ 2147483647 h 1138"/>
                <a:gd name="T46" fmla="*/ 2147483647 w 566"/>
                <a:gd name="T47" fmla="*/ 2147483647 h 1138"/>
                <a:gd name="T48" fmla="*/ 2147483647 w 566"/>
                <a:gd name="T49" fmla="*/ 2147483647 h 1138"/>
                <a:gd name="T50" fmla="*/ 2147483647 w 566"/>
                <a:gd name="T51" fmla="*/ 2147483647 h 1138"/>
                <a:gd name="T52" fmla="*/ 2147483647 w 566"/>
                <a:gd name="T53" fmla="*/ 2147483647 h 1138"/>
                <a:gd name="T54" fmla="*/ 2147483647 w 566"/>
                <a:gd name="T55" fmla="*/ 2147483647 h 1138"/>
                <a:gd name="T56" fmla="*/ 2147483647 w 566"/>
                <a:gd name="T57" fmla="*/ 2147483647 h 1138"/>
                <a:gd name="T58" fmla="*/ 2147483647 w 566"/>
                <a:gd name="T59" fmla="*/ 2147483647 h 1138"/>
                <a:gd name="T60" fmla="*/ 2147483647 w 566"/>
                <a:gd name="T61" fmla="*/ 2147483647 h 1138"/>
                <a:gd name="T62" fmla="*/ 2147483647 w 566"/>
                <a:gd name="T63" fmla="*/ 2147483647 h 1138"/>
                <a:gd name="T64" fmla="*/ 2147483647 w 566"/>
                <a:gd name="T65" fmla="*/ 2147483647 h 1138"/>
                <a:gd name="T66" fmla="*/ 2147483647 w 566"/>
                <a:gd name="T67" fmla="*/ 2147483647 h 1138"/>
                <a:gd name="T68" fmla="*/ 2147483647 w 566"/>
                <a:gd name="T69" fmla="*/ 2147483647 h 1138"/>
                <a:gd name="T70" fmla="*/ 2147483647 w 566"/>
                <a:gd name="T71" fmla="*/ 2147483647 h 1138"/>
                <a:gd name="T72" fmla="*/ 2147483647 w 566"/>
                <a:gd name="T73" fmla="*/ 2147483647 h 1138"/>
                <a:gd name="T74" fmla="*/ 2147483647 w 566"/>
                <a:gd name="T75" fmla="*/ 2147483647 h 1138"/>
                <a:gd name="T76" fmla="*/ 2147483647 w 566"/>
                <a:gd name="T77" fmla="*/ 2147483647 h 1138"/>
                <a:gd name="T78" fmla="*/ 2147483647 w 566"/>
                <a:gd name="T79" fmla="*/ 2147483647 h 1138"/>
                <a:gd name="T80" fmla="*/ 2147483647 w 566"/>
                <a:gd name="T81" fmla="*/ 2147483647 h 1138"/>
                <a:gd name="T82" fmla="*/ 2147483647 w 566"/>
                <a:gd name="T83" fmla="*/ 2147483647 h 1138"/>
                <a:gd name="T84" fmla="*/ 2147483647 w 566"/>
                <a:gd name="T85" fmla="*/ 2147483647 h 1138"/>
                <a:gd name="T86" fmla="*/ 2147483647 w 566"/>
                <a:gd name="T87" fmla="*/ 2147483647 h 1138"/>
                <a:gd name="T88" fmla="*/ 2147483647 w 566"/>
                <a:gd name="T89" fmla="*/ 2147483647 h 1138"/>
                <a:gd name="T90" fmla="*/ 2147483647 w 566"/>
                <a:gd name="T91" fmla="*/ 2147483647 h 1138"/>
                <a:gd name="T92" fmla="*/ 2147483647 w 566"/>
                <a:gd name="T93" fmla="*/ 2147483647 h 1138"/>
                <a:gd name="T94" fmla="*/ 2147483647 w 566"/>
                <a:gd name="T95" fmla="*/ 2147483647 h 1138"/>
                <a:gd name="T96" fmla="*/ 2147483647 w 566"/>
                <a:gd name="T97" fmla="*/ 2147483647 h 1138"/>
                <a:gd name="T98" fmla="*/ 2147483647 w 566"/>
                <a:gd name="T99" fmla="*/ 2147483647 h 113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66"/>
                <a:gd name="T151" fmla="*/ 0 h 1138"/>
                <a:gd name="T152" fmla="*/ 566 w 566"/>
                <a:gd name="T153" fmla="*/ 1138 h 113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66" h="1138">
                  <a:moveTo>
                    <a:pt x="429" y="374"/>
                  </a:moveTo>
                  <a:lnTo>
                    <a:pt x="424" y="412"/>
                  </a:lnTo>
                  <a:lnTo>
                    <a:pt x="433" y="429"/>
                  </a:lnTo>
                  <a:lnTo>
                    <a:pt x="467" y="456"/>
                  </a:lnTo>
                  <a:lnTo>
                    <a:pt x="456" y="467"/>
                  </a:lnTo>
                  <a:lnTo>
                    <a:pt x="465" y="485"/>
                  </a:lnTo>
                  <a:lnTo>
                    <a:pt x="479" y="483"/>
                  </a:lnTo>
                  <a:lnTo>
                    <a:pt x="479" y="504"/>
                  </a:lnTo>
                  <a:lnTo>
                    <a:pt x="448" y="549"/>
                  </a:lnTo>
                  <a:lnTo>
                    <a:pt x="414" y="568"/>
                  </a:lnTo>
                  <a:lnTo>
                    <a:pt x="334" y="578"/>
                  </a:lnTo>
                  <a:lnTo>
                    <a:pt x="317" y="619"/>
                  </a:lnTo>
                  <a:lnTo>
                    <a:pt x="321" y="656"/>
                  </a:lnTo>
                  <a:lnTo>
                    <a:pt x="294" y="669"/>
                  </a:lnTo>
                  <a:lnTo>
                    <a:pt x="247" y="646"/>
                  </a:lnTo>
                  <a:lnTo>
                    <a:pt x="245" y="695"/>
                  </a:lnTo>
                  <a:lnTo>
                    <a:pt x="266" y="703"/>
                  </a:lnTo>
                  <a:lnTo>
                    <a:pt x="281" y="695"/>
                  </a:lnTo>
                  <a:lnTo>
                    <a:pt x="283" y="718"/>
                  </a:lnTo>
                  <a:lnTo>
                    <a:pt x="270" y="724"/>
                  </a:lnTo>
                  <a:lnTo>
                    <a:pt x="256" y="716"/>
                  </a:lnTo>
                  <a:lnTo>
                    <a:pt x="268" y="730"/>
                  </a:lnTo>
                  <a:lnTo>
                    <a:pt x="247" y="743"/>
                  </a:lnTo>
                  <a:lnTo>
                    <a:pt x="234" y="817"/>
                  </a:lnTo>
                  <a:lnTo>
                    <a:pt x="203" y="817"/>
                  </a:lnTo>
                  <a:lnTo>
                    <a:pt x="184" y="838"/>
                  </a:lnTo>
                  <a:lnTo>
                    <a:pt x="179" y="866"/>
                  </a:lnTo>
                  <a:lnTo>
                    <a:pt x="203" y="893"/>
                  </a:lnTo>
                  <a:lnTo>
                    <a:pt x="228" y="899"/>
                  </a:lnTo>
                  <a:lnTo>
                    <a:pt x="222" y="942"/>
                  </a:lnTo>
                  <a:lnTo>
                    <a:pt x="171" y="994"/>
                  </a:lnTo>
                  <a:lnTo>
                    <a:pt x="179" y="999"/>
                  </a:lnTo>
                  <a:lnTo>
                    <a:pt x="161" y="1032"/>
                  </a:lnTo>
                  <a:lnTo>
                    <a:pt x="146" y="1032"/>
                  </a:lnTo>
                  <a:lnTo>
                    <a:pt x="131" y="1052"/>
                  </a:lnTo>
                  <a:lnTo>
                    <a:pt x="129" y="1071"/>
                  </a:lnTo>
                  <a:lnTo>
                    <a:pt x="146" y="1138"/>
                  </a:lnTo>
                  <a:lnTo>
                    <a:pt x="127" y="1125"/>
                  </a:lnTo>
                  <a:lnTo>
                    <a:pt x="42" y="1117"/>
                  </a:lnTo>
                  <a:lnTo>
                    <a:pt x="28" y="1096"/>
                  </a:lnTo>
                  <a:lnTo>
                    <a:pt x="30" y="1064"/>
                  </a:lnTo>
                  <a:lnTo>
                    <a:pt x="9" y="1058"/>
                  </a:lnTo>
                  <a:lnTo>
                    <a:pt x="0" y="1013"/>
                  </a:lnTo>
                  <a:lnTo>
                    <a:pt x="13" y="975"/>
                  </a:lnTo>
                  <a:lnTo>
                    <a:pt x="23" y="967"/>
                  </a:lnTo>
                  <a:lnTo>
                    <a:pt x="47" y="878"/>
                  </a:lnTo>
                  <a:lnTo>
                    <a:pt x="46" y="840"/>
                  </a:lnTo>
                  <a:lnTo>
                    <a:pt x="57" y="823"/>
                  </a:lnTo>
                  <a:lnTo>
                    <a:pt x="40" y="807"/>
                  </a:lnTo>
                  <a:lnTo>
                    <a:pt x="61" y="802"/>
                  </a:lnTo>
                  <a:lnTo>
                    <a:pt x="65" y="792"/>
                  </a:lnTo>
                  <a:lnTo>
                    <a:pt x="47" y="787"/>
                  </a:lnTo>
                  <a:lnTo>
                    <a:pt x="49" y="739"/>
                  </a:lnTo>
                  <a:lnTo>
                    <a:pt x="40" y="718"/>
                  </a:lnTo>
                  <a:lnTo>
                    <a:pt x="51" y="692"/>
                  </a:lnTo>
                  <a:lnTo>
                    <a:pt x="42" y="650"/>
                  </a:lnTo>
                  <a:lnTo>
                    <a:pt x="44" y="608"/>
                  </a:lnTo>
                  <a:lnTo>
                    <a:pt x="55" y="602"/>
                  </a:lnTo>
                  <a:lnTo>
                    <a:pt x="55" y="578"/>
                  </a:lnTo>
                  <a:lnTo>
                    <a:pt x="70" y="564"/>
                  </a:lnTo>
                  <a:lnTo>
                    <a:pt x="65" y="500"/>
                  </a:lnTo>
                  <a:lnTo>
                    <a:pt x="82" y="473"/>
                  </a:lnTo>
                  <a:lnTo>
                    <a:pt x="87" y="429"/>
                  </a:lnTo>
                  <a:lnTo>
                    <a:pt x="104" y="397"/>
                  </a:lnTo>
                  <a:lnTo>
                    <a:pt x="106" y="365"/>
                  </a:lnTo>
                  <a:lnTo>
                    <a:pt x="95" y="367"/>
                  </a:lnTo>
                  <a:lnTo>
                    <a:pt x="84" y="312"/>
                  </a:lnTo>
                  <a:lnTo>
                    <a:pt x="85" y="287"/>
                  </a:lnTo>
                  <a:lnTo>
                    <a:pt x="103" y="274"/>
                  </a:lnTo>
                  <a:lnTo>
                    <a:pt x="95" y="240"/>
                  </a:lnTo>
                  <a:lnTo>
                    <a:pt x="112" y="192"/>
                  </a:lnTo>
                  <a:lnTo>
                    <a:pt x="135" y="164"/>
                  </a:lnTo>
                  <a:lnTo>
                    <a:pt x="127" y="141"/>
                  </a:lnTo>
                  <a:lnTo>
                    <a:pt x="137" y="89"/>
                  </a:lnTo>
                  <a:lnTo>
                    <a:pt x="179" y="63"/>
                  </a:lnTo>
                  <a:lnTo>
                    <a:pt x="177" y="31"/>
                  </a:lnTo>
                  <a:lnTo>
                    <a:pt x="205" y="0"/>
                  </a:lnTo>
                  <a:lnTo>
                    <a:pt x="251" y="10"/>
                  </a:lnTo>
                  <a:lnTo>
                    <a:pt x="260" y="31"/>
                  </a:lnTo>
                  <a:lnTo>
                    <a:pt x="270" y="6"/>
                  </a:lnTo>
                  <a:lnTo>
                    <a:pt x="296" y="6"/>
                  </a:lnTo>
                  <a:lnTo>
                    <a:pt x="310" y="14"/>
                  </a:lnTo>
                  <a:lnTo>
                    <a:pt x="359" y="63"/>
                  </a:lnTo>
                  <a:lnTo>
                    <a:pt x="384" y="67"/>
                  </a:lnTo>
                  <a:lnTo>
                    <a:pt x="448" y="105"/>
                  </a:lnTo>
                  <a:lnTo>
                    <a:pt x="446" y="120"/>
                  </a:lnTo>
                  <a:lnTo>
                    <a:pt x="420" y="175"/>
                  </a:lnTo>
                  <a:lnTo>
                    <a:pt x="446" y="171"/>
                  </a:lnTo>
                  <a:lnTo>
                    <a:pt x="473" y="181"/>
                  </a:lnTo>
                  <a:lnTo>
                    <a:pt x="509" y="175"/>
                  </a:lnTo>
                  <a:lnTo>
                    <a:pt x="536" y="156"/>
                  </a:lnTo>
                  <a:lnTo>
                    <a:pt x="543" y="118"/>
                  </a:lnTo>
                  <a:lnTo>
                    <a:pt x="566" y="122"/>
                  </a:lnTo>
                  <a:lnTo>
                    <a:pt x="566" y="165"/>
                  </a:lnTo>
                  <a:lnTo>
                    <a:pt x="528" y="188"/>
                  </a:lnTo>
                  <a:lnTo>
                    <a:pt x="460" y="257"/>
                  </a:lnTo>
                  <a:lnTo>
                    <a:pt x="456" y="268"/>
                  </a:lnTo>
                  <a:lnTo>
                    <a:pt x="445" y="278"/>
                  </a:lnTo>
                  <a:lnTo>
                    <a:pt x="433" y="325"/>
                  </a:lnTo>
                  <a:lnTo>
                    <a:pt x="439" y="361"/>
                  </a:lnTo>
                  <a:lnTo>
                    <a:pt x="429" y="37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5" name="Freeform 221"/>
            <p:cNvSpPr>
              <a:spLocks/>
            </p:cNvSpPr>
            <p:nvPr/>
          </p:nvSpPr>
          <p:spPr bwMode="auto">
            <a:xfrm>
              <a:off x="1882352" y="5424818"/>
              <a:ext cx="57332" cy="79154"/>
            </a:xfrm>
            <a:custGeom>
              <a:avLst/>
              <a:gdLst>
                <a:gd name="T0" fmla="*/ 2147483647 w 106"/>
                <a:gd name="T1" fmla="*/ 0 h 125"/>
                <a:gd name="T2" fmla="*/ 2147483647 w 106"/>
                <a:gd name="T3" fmla="*/ 2147483647 h 125"/>
                <a:gd name="T4" fmla="*/ 2147483647 w 106"/>
                <a:gd name="T5" fmla="*/ 2147483647 h 125"/>
                <a:gd name="T6" fmla="*/ 2147483647 w 106"/>
                <a:gd name="T7" fmla="*/ 2147483647 h 125"/>
                <a:gd name="T8" fmla="*/ 2147483647 w 106"/>
                <a:gd name="T9" fmla="*/ 2147483647 h 125"/>
                <a:gd name="T10" fmla="*/ 2147483647 w 106"/>
                <a:gd name="T11" fmla="*/ 2147483647 h 125"/>
                <a:gd name="T12" fmla="*/ 2147483647 w 106"/>
                <a:gd name="T13" fmla="*/ 2147483647 h 125"/>
                <a:gd name="T14" fmla="*/ 2147483647 w 106"/>
                <a:gd name="T15" fmla="*/ 2147483647 h 125"/>
                <a:gd name="T16" fmla="*/ 2147483647 w 106"/>
                <a:gd name="T17" fmla="*/ 2147483647 h 125"/>
                <a:gd name="T18" fmla="*/ 2147483647 w 106"/>
                <a:gd name="T19" fmla="*/ 2147483647 h 125"/>
                <a:gd name="T20" fmla="*/ 2147483647 w 106"/>
                <a:gd name="T21" fmla="*/ 2147483647 h 125"/>
                <a:gd name="T22" fmla="*/ 2147483647 w 106"/>
                <a:gd name="T23" fmla="*/ 2147483647 h 125"/>
                <a:gd name="T24" fmla="*/ 0 w 106"/>
                <a:gd name="T25" fmla="*/ 2147483647 h 125"/>
                <a:gd name="T26" fmla="*/ 2147483647 w 106"/>
                <a:gd name="T27" fmla="*/ 0 h 1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6"/>
                <a:gd name="T43" fmla="*/ 0 h 125"/>
                <a:gd name="T44" fmla="*/ 106 w 106"/>
                <a:gd name="T45" fmla="*/ 125 h 1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6" h="125">
                  <a:moveTo>
                    <a:pt x="2" y="0"/>
                  </a:moveTo>
                  <a:lnTo>
                    <a:pt x="15" y="17"/>
                  </a:lnTo>
                  <a:lnTo>
                    <a:pt x="2" y="30"/>
                  </a:lnTo>
                  <a:lnTo>
                    <a:pt x="17" y="36"/>
                  </a:lnTo>
                  <a:lnTo>
                    <a:pt x="40" y="78"/>
                  </a:lnTo>
                  <a:lnTo>
                    <a:pt x="70" y="97"/>
                  </a:lnTo>
                  <a:lnTo>
                    <a:pt x="106" y="101"/>
                  </a:lnTo>
                  <a:lnTo>
                    <a:pt x="100" y="118"/>
                  </a:lnTo>
                  <a:lnTo>
                    <a:pt x="78" y="114"/>
                  </a:lnTo>
                  <a:lnTo>
                    <a:pt x="64" y="125"/>
                  </a:lnTo>
                  <a:lnTo>
                    <a:pt x="47" y="112"/>
                  </a:lnTo>
                  <a:lnTo>
                    <a:pt x="15" y="112"/>
                  </a:lnTo>
                  <a:lnTo>
                    <a:pt x="0" y="11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6" name="Freeform 222"/>
            <p:cNvSpPr>
              <a:spLocks/>
            </p:cNvSpPr>
            <p:nvPr/>
          </p:nvSpPr>
          <p:spPr bwMode="auto">
            <a:xfrm>
              <a:off x="1743432" y="3845233"/>
              <a:ext cx="7718" cy="8148"/>
            </a:xfrm>
            <a:custGeom>
              <a:avLst/>
              <a:gdLst>
                <a:gd name="T0" fmla="*/ 0 w 13"/>
                <a:gd name="T1" fmla="*/ 2147483647 h 15"/>
                <a:gd name="T2" fmla="*/ 2147483647 w 13"/>
                <a:gd name="T3" fmla="*/ 0 h 15"/>
                <a:gd name="T4" fmla="*/ 2147483647 w 13"/>
                <a:gd name="T5" fmla="*/ 2147483647 h 15"/>
                <a:gd name="T6" fmla="*/ 2147483647 w 13"/>
                <a:gd name="T7" fmla="*/ 2147483647 h 15"/>
                <a:gd name="T8" fmla="*/ 0 w 13"/>
                <a:gd name="T9" fmla="*/ 2147483647 h 15"/>
                <a:gd name="T10" fmla="*/ 0 w 13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5"/>
                <a:gd name="T20" fmla="*/ 13 w 13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5">
                  <a:moveTo>
                    <a:pt x="0" y="2"/>
                  </a:moveTo>
                  <a:lnTo>
                    <a:pt x="9" y="0"/>
                  </a:lnTo>
                  <a:lnTo>
                    <a:pt x="13" y="8"/>
                  </a:lnTo>
                  <a:lnTo>
                    <a:pt x="6" y="12"/>
                  </a:lnTo>
                  <a:lnTo>
                    <a:pt x="0" y="1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7" name="Freeform 223"/>
            <p:cNvSpPr>
              <a:spLocks/>
            </p:cNvSpPr>
            <p:nvPr/>
          </p:nvSpPr>
          <p:spPr bwMode="auto">
            <a:xfrm>
              <a:off x="1730202" y="3847561"/>
              <a:ext cx="11025" cy="16296"/>
            </a:xfrm>
            <a:custGeom>
              <a:avLst/>
              <a:gdLst>
                <a:gd name="T0" fmla="*/ 2147483647 w 19"/>
                <a:gd name="T1" fmla="*/ 2147483647 h 25"/>
                <a:gd name="T2" fmla="*/ 2147483647 w 19"/>
                <a:gd name="T3" fmla="*/ 0 h 25"/>
                <a:gd name="T4" fmla="*/ 2147483647 w 19"/>
                <a:gd name="T5" fmla="*/ 2147483647 h 25"/>
                <a:gd name="T6" fmla="*/ 2147483647 w 19"/>
                <a:gd name="T7" fmla="*/ 2147483647 h 25"/>
                <a:gd name="T8" fmla="*/ 0 w 19"/>
                <a:gd name="T9" fmla="*/ 2147483647 h 25"/>
                <a:gd name="T10" fmla="*/ 2147483647 w 19"/>
                <a:gd name="T11" fmla="*/ 214748364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5"/>
                <a:gd name="T20" fmla="*/ 19 w 19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5">
                  <a:moveTo>
                    <a:pt x="6" y="2"/>
                  </a:moveTo>
                  <a:lnTo>
                    <a:pt x="14" y="0"/>
                  </a:lnTo>
                  <a:lnTo>
                    <a:pt x="19" y="19"/>
                  </a:lnTo>
                  <a:lnTo>
                    <a:pt x="14" y="25"/>
                  </a:lnTo>
                  <a:lnTo>
                    <a:pt x="0" y="17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8" name="Freeform 224"/>
            <p:cNvSpPr>
              <a:spLocks/>
            </p:cNvSpPr>
            <p:nvPr/>
          </p:nvSpPr>
          <p:spPr bwMode="auto">
            <a:xfrm>
              <a:off x="1740124" y="3866185"/>
              <a:ext cx="5513" cy="12804"/>
            </a:xfrm>
            <a:custGeom>
              <a:avLst/>
              <a:gdLst>
                <a:gd name="T0" fmla="*/ 2147483647 w 12"/>
                <a:gd name="T1" fmla="*/ 2147483647 h 21"/>
                <a:gd name="T2" fmla="*/ 2147483647 w 12"/>
                <a:gd name="T3" fmla="*/ 2147483647 h 21"/>
                <a:gd name="T4" fmla="*/ 0 w 12"/>
                <a:gd name="T5" fmla="*/ 2147483647 h 21"/>
                <a:gd name="T6" fmla="*/ 2147483647 w 12"/>
                <a:gd name="T7" fmla="*/ 0 h 21"/>
                <a:gd name="T8" fmla="*/ 2147483647 w 12"/>
                <a:gd name="T9" fmla="*/ 2147483647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21"/>
                <a:gd name="T17" fmla="*/ 12 w 12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21">
                  <a:moveTo>
                    <a:pt x="12" y="17"/>
                  </a:moveTo>
                  <a:lnTo>
                    <a:pt x="4" y="21"/>
                  </a:lnTo>
                  <a:lnTo>
                    <a:pt x="0" y="6"/>
                  </a:lnTo>
                  <a:lnTo>
                    <a:pt x="8" y="0"/>
                  </a:lnTo>
                  <a:lnTo>
                    <a:pt x="12" y="1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49" name="Freeform 225"/>
            <p:cNvSpPr>
              <a:spLocks/>
            </p:cNvSpPr>
            <p:nvPr/>
          </p:nvSpPr>
          <p:spPr bwMode="auto">
            <a:xfrm>
              <a:off x="1804071" y="3922059"/>
              <a:ext cx="9923" cy="9312"/>
            </a:xfrm>
            <a:custGeom>
              <a:avLst/>
              <a:gdLst>
                <a:gd name="T0" fmla="*/ 0 w 19"/>
                <a:gd name="T1" fmla="*/ 2147483647 h 13"/>
                <a:gd name="T2" fmla="*/ 2147483647 w 19"/>
                <a:gd name="T3" fmla="*/ 0 h 13"/>
                <a:gd name="T4" fmla="*/ 2147483647 w 19"/>
                <a:gd name="T5" fmla="*/ 0 h 13"/>
                <a:gd name="T6" fmla="*/ 2147483647 w 19"/>
                <a:gd name="T7" fmla="*/ 2147483647 h 13"/>
                <a:gd name="T8" fmla="*/ 0 w 19"/>
                <a:gd name="T9" fmla="*/ 2147483647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3"/>
                <a:gd name="T17" fmla="*/ 19 w 19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3">
                  <a:moveTo>
                    <a:pt x="0" y="9"/>
                  </a:moveTo>
                  <a:lnTo>
                    <a:pt x="8" y="0"/>
                  </a:lnTo>
                  <a:lnTo>
                    <a:pt x="19" y="0"/>
                  </a:lnTo>
                  <a:lnTo>
                    <a:pt x="15" y="13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0" name="Freeform 226"/>
            <p:cNvSpPr>
              <a:spLocks/>
            </p:cNvSpPr>
            <p:nvPr/>
          </p:nvSpPr>
          <p:spPr bwMode="auto">
            <a:xfrm>
              <a:off x="1789738" y="3891794"/>
              <a:ext cx="13230" cy="17460"/>
            </a:xfrm>
            <a:custGeom>
              <a:avLst/>
              <a:gdLst>
                <a:gd name="T0" fmla="*/ 2147483647 w 23"/>
                <a:gd name="T1" fmla="*/ 0 h 29"/>
                <a:gd name="T2" fmla="*/ 2147483647 w 23"/>
                <a:gd name="T3" fmla="*/ 2147483647 h 29"/>
                <a:gd name="T4" fmla="*/ 2147483647 w 23"/>
                <a:gd name="T5" fmla="*/ 2147483647 h 29"/>
                <a:gd name="T6" fmla="*/ 2147483647 w 23"/>
                <a:gd name="T7" fmla="*/ 2147483647 h 29"/>
                <a:gd name="T8" fmla="*/ 2147483647 w 23"/>
                <a:gd name="T9" fmla="*/ 2147483647 h 29"/>
                <a:gd name="T10" fmla="*/ 2147483647 w 23"/>
                <a:gd name="T11" fmla="*/ 2147483647 h 29"/>
                <a:gd name="T12" fmla="*/ 2147483647 w 23"/>
                <a:gd name="T13" fmla="*/ 2147483647 h 29"/>
                <a:gd name="T14" fmla="*/ 0 w 23"/>
                <a:gd name="T15" fmla="*/ 2147483647 h 29"/>
                <a:gd name="T16" fmla="*/ 2147483647 w 23"/>
                <a:gd name="T17" fmla="*/ 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29"/>
                <a:gd name="T29" fmla="*/ 23 w 23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29">
                  <a:moveTo>
                    <a:pt x="4" y="0"/>
                  </a:moveTo>
                  <a:lnTo>
                    <a:pt x="14" y="8"/>
                  </a:lnTo>
                  <a:lnTo>
                    <a:pt x="18" y="4"/>
                  </a:lnTo>
                  <a:lnTo>
                    <a:pt x="23" y="15"/>
                  </a:lnTo>
                  <a:lnTo>
                    <a:pt x="10" y="29"/>
                  </a:lnTo>
                  <a:lnTo>
                    <a:pt x="18" y="15"/>
                  </a:lnTo>
                  <a:lnTo>
                    <a:pt x="12" y="6"/>
                  </a:lnTo>
                  <a:lnTo>
                    <a:pt x="0" y="1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1" name="Freeform 227"/>
            <p:cNvSpPr>
              <a:spLocks/>
            </p:cNvSpPr>
            <p:nvPr/>
          </p:nvSpPr>
          <p:spPr bwMode="auto">
            <a:xfrm>
              <a:off x="1778713" y="3877825"/>
              <a:ext cx="6615" cy="15132"/>
            </a:xfrm>
            <a:custGeom>
              <a:avLst/>
              <a:gdLst>
                <a:gd name="T0" fmla="*/ 2147483647 w 15"/>
                <a:gd name="T1" fmla="*/ 0 h 27"/>
                <a:gd name="T2" fmla="*/ 2147483647 w 15"/>
                <a:gd name="T3" fmla="*/ 2147483647 h 27"/>
                <a:gd name="T4" fmla="*/ 2147483647 w 15"/>
                <a:gd name="T5" fmla="*/ 2147483647 h 27"/>
                <a:gd name="T6" fmla="*/ 2147483647 w 15"/>
                <a:gd name="T7" fmla="*/ 2147483647 h 27"/>
                <a:gd name="T8" fmla="*/ 0 w 15"/>
                <a:gd name="T9" fmla="*/ 2147483647 h 27"/>
                <a:gd name="T10" fmla="*/ 2147483647 w 15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7"/>
                <a:gd name="T20" fmla="*/ 15 w 15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7">
                  <a:moveTo>
                    <a:pt x="2" y="0"/>
                  </a:moveTo>
                  <a:lnTo>
                    <a:pt x="7" y="16"/>
                  </a:lnTo>
                  <a:lnTo>
                    <a:pt x="15" y="27"/>
                  </a:lnTo>
                  <a:lnTo>
                    <a:pt x="3" y="19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2" name="Freeform 228"/>
            <p:cNvSpPr>
              <a:spLocks/>
            </p:cNvSpPr>
            <p:nvPr/>
          </p:nvSpPr>
          <p:spPr bwMode="auto">
            <a:xfrm>
              <a:off x="1775405" y="3856873"/>
              <a:ext cx="6615" cy="13968"/>
            </a:xfrm>
            <a:custGeom>
              <a:avLst/>
              <a:gdLst>
                <a:gd name="T0" fmla="*/ 2147483647 w 11"/>
                <a:gd name="T1" fmla="*/ 0 h 23"/>
                <a:gd name="T2" fmla="*/ 2147483647 w 11"/>
                <a:gd name="T3" fmla="*/ 2147483647 h 23"/>
                <a:gd name="T4" fmla="*/ 2147483647 w 11"/>
                <a:gd name="T5" fmla="*/ 2147483647 h 23"/>
                <a:gd name="T6" fmla="*/ 0 w 11"/>
                <a:gd name="T7" fmla="*/ 2147483647 h 23"/>
                <a:gd name="T8" fmla="*/ 2147483647 w 11"/>
                <a:gd name="T9" fmla="*/ 2147483647 h 23"/>
                <a:gd name="T10" fmla="*/ 2147483647 w 11"/>
                <a:gd name="T11" fmla="*/ 0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23"/>
                <a:gd name="T20" fmla="*/ 11 w 11"/>
                <a:gd name="T21" fmla="*/ 23 h 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23">
                  <a:moveTo>
                    <a:pt x="2" y="0"/>
                  </a:moveTo>
                  <a:lnTo>
                    <a:pt x="8" y="17"/>
                  </a:lnTo>
                  <a:lnTo>
                    <a:pt x="11" y="21"/>
                  </a:lnTo>
                  <a:lnTo>
                    <a:pt x="0" y="23"/>
                  </a:lnTo>
                  <a:lnTo>
                    <a:pt x="2" y="17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3" name="Freeform 229"/>
            <p:cNvSpPr>
              <a:spLocks/>
            </p:cNvSpPr>
            <p:nvPr/>
          </p:nvSpPr>
          <p:spPr bwMode="auto">
            <a:xfrm>
              <a:off x="1755560" y="3838249"/>
              <a:ext cx="11025" cy="18624"/>
            </a:xfrm>
            <a:custGeom>
              <a:avLst/>
              <a:gdLst>
                <a:gd name="T0" fmla="*/ 2147483647 w 21"/>
                <a:gd name="T1" fmla="*/ 0 h 30"/>
                <a:gd name="T2" fmla="*/ 2147483647 w 21"/>
                <a:gd name="T3" fmla="*/ 2147483647 h 30"/>
                <a:gd name="T4" fmla="*/ 2147483647 w 21"/>
                <a:gd name="T5" fmla="*/ 2147483647 h 30"/>
                <a:gd name="T6" fmla="*/ 2147483647 w 21"/>
                <a:gd name="T7" fmla="*/ 2147483647 h 30"/>
                <a:gd name="T8" fmla="*/ 2147483647 w 21"/>
                <a:gd name="T9" fmla="*/ 2147483647 h 30"/>
                <a:gd name="T10" fmla="*/ 0 w 21"/>
                <a:gd name="T11" fmla="*/ 2147483647 h 30"/>
                <a:gd name="T12" fmla="*/ 2147483647 w 21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30"/>
                <a:gd name="T23" fmla="*/ 21 w 21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30">
                  <a:moveTo>
                    <a:pt x="4" y="0"/>
                  </a:moveTo>
                  <a:lnTo>
                    <a:pt x="21" y="11"/>
                  </a:lnTo>
                  <a:lnTo>
                    <a:pt x="19" y="30"/>
                  </a:lnTo>
                  <a:lnTo>
                    <a:pt x="17" y="15"/>
                  </a:lnTo>
                  <a:lnTo>
                    <a:pt x="9" y="7"/>
                  </a:lnTo>
                  <a:lnTo>
                    <a:pt x="0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4" name="Freeform 230"/>
            <p:cNvSpPr>
              <a:spLocks/>
            </p:cNvSpPr>
            <p:nvPr/>
          </p:nvSpPr>
          <p:spPr bwMode="auto">
            <a:xfrm>
              <a:off x="1745637" y="3813804"/>
              <a:ext cx="8820" cy="18624"/>
            </a:xfrm>
            <a:custGeom>
              <a:avLst/>
              <a:gdLst>
                <a:gd name="T0" fmla="*/ 0 w 15"/>
                <a:gd name="T1" fmla="*/ 0 h 30"/>
                <a:gd name="T2" fmla="*/ 2147483647 w 15"/>
                <a:gd name="T3" fmla="*/ 2147483647 h 30"/>
                <a:gd name="T4" fmla="*/ 2147483647 w 15"/>
                <a:gd name="T5" fmla="*/ 2147483647 h 30"/>
                <a:gd name="T6" fmla="*/ 2147483647 w 15"/>
                <a:gd name="T7" fmla="*/ 2147483647 h 30"/>
                <a:gd name="T8" fmla="*/ 2147483647 w 15"/>
                <a:gd name="T9" fmla="*/ 2147483647 h 30"/>
                <a:gd name="T10" fmla="*/ 2147483647 w 15"/>
                <a:gd name="T11" fmla="*/ 2147483647 h 30"/>
                <a:gd name="T12" fmla="*/ 0 w 15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0"/>
                <a:gd name="T23" fmla="*/ 15 w 15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0">
                  <a:moveTo>
                    <a:pt x="0" y="0"/>
                  </a:moveTo>
                  <a:lnTo>
                    <a:pt x="11" y="5"/>
                  </a:lnTo>
                  <a:lnTo>
                    <a:pt x="15" y="15"/>
                  </a:lnTo>
                  <a:lnTo>
                    <a:pt x="9" y="30"/>
                  </a:lnTo>
                  <a:lnTo>
                    <a:pt x="4" y="24"/>
                  </a:lnTo>
                  <a:lnTo>
                    <a:pt x="7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5" name="Freeform 231"/>
            <p:cNvSpPr>
              <a:spLocks/>
            </p:cNvSpPr>
            <p:nvPr/>
          </p:nvSpPr>
          <p:spPr bwMode="auto">
            <a:xfrm>
              <a:off x="1725791" y="3819624"/>
              <a:ext cx="15436" cy="5820"/>
            </a:xfrm>
            <a:custGeom>
              <a:avLst/>
              <a:gdLst>
                <a:gd name="T0" fmla="*/ 2147483647 w 26"/>
                <a:gd name="T1" fmla="*/ 0 h 10"/>
                <a:gd name="T2" fmla="*/ 2147483647 w 26"/>
                <a:gd name="T3" fmla="*/ 0 h 10"/>
                <a:gd name="T4" fmla="*/ 2147483647 w 26"/>
                <a:gd name="T5" fmla="*/ 2147483647 h 10"/>
                <a:gd name="T6" fmla="*/ 2147483647 w 26"/>
                <a:gd name="T7" fmla="*/ 2147483647 h 10"/>
                <a:gd name="T8" fmla="*/ 0 w 26"/>
                <a:gd name="T9" fmla="*/ 2147483647 h 10"/>
                <a:gd name="T10" fmla="*/ 2147483647 w 26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0"/>
                <a:gd name="T20" fmla="*/ 26 w 26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0">
                  <a:moveTo>
                    <a:pt x="7" y="0"/>
                  </a:moveTo>
                  <a:lnTo>
                    <a:pt x="26" y="0"/>
                  </a:lnTo>
                  <a:lnTo>
                    <a:pt x="24" y="6"/>
                  </a:lnTo>
                  <a:lnTo>
                    <a:pt x="15" y="6"/>
                  </a:lnTo>
                  <a:lnTo>
                    <a:pt x="0" y="1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6" name="Freeform 232"/>
            <p:cNvSpPr>
              <a:spLocks/>
            </p:cNvSpPr>
            <p:nvPr/>
          </p:nvSpPr>
          <p:spPr bwMode="auto">
            <a:xfrm>
              <a:off x="2020168" y="4072218"/>
              <a:ext cx="5513" cy="8148"/>
            </a:xfrm>
            <a:custGeom>
              <a:avLst/>
              <a:gdLst>
                <a:gd name="T0" fmla="*/ 2147483647 w 10"/>
                <a:gd name="T1" fmla="*/ 0 h 13"/>
                <a:gd name="T2" fmla="*/ 2147483647 w 10"/>
                <a:gd name="T3" fmla="*/ 2147483647 h 13"/>
                <a:gd name="T4" fmla="*/ 2147483647 w 10"/>
                <a:gd name="T5" fmla="*/ 2147483647 h 13"/>
                <a:gd name="T6" fmla="*/ 0 w 10"/>
                <a:gd name="T7" fmla="*/ 2147483647 h 13"/>
                <a:gd name="T8" fmla="*/ 2147483647 w 10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2" y="0"/>
                  </a:moveTo>
                  <a:lnTo>
                    <a:pt x="10" y="9"/>
                  </a:lnTo>
                  <a:lnTo>
                    <a:pt x="4" y="13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7" name="Freeform 233"/>
            <p:cNvSpPr>
              <a:spLocks/>
            </p:cNvSpPr>
            <p:nvPr/>
          </p:nvSpPr>
          <p:spPr bwMode="auto">
            <a:xfrm>
              <a:off x="1559308" y="3979096"/>
              <a:ext cx="19846" cy="47725"/>
            </a:xfrm>
            <a:custGeom>
              <a:avLst/>
              <a:gdLst>
                <a:gd name="T0" fmla="*/ 2147483647 w 36"/>
                <a:gd name="T1" fmla="*/ 0 h 76"/>
                <a:gd name="T2" fmla="*/ 2147483647 w 36"/>
                <a:gd name="T3" fmla="*/ 2147483647 h 76"/>
                <a:gd name="T4" fmla="*/ 2147483647 w 36"/>
                <a:gd name="T5" fmla="*/ 2147483647 h 76"/>
                <a:gd name="T6" fmla="*/ 2147483647 w 36"/>
                <a:gd name="T7" fmla="*/ 2147483647 h 76"/>
                <a:gd name="T8" fmla="*/ 2147483647 w 36"/>
                <a:gd name="T9" fmla="*/ 2147483647 h 76"/>
                <a:gd name="T10" fmla="*/ 2147483647 w 36"/>
                <a:gd name="T11" fmla="*/ 2147483647 h 76"/>
                <a:gd name="T12" fmla="*/ 2147483647 w 36"/>
                <a:gd name="T13" fmla="*/ 2147483647 h 76"/>
                <a:gd name="T14" fmla="*/ 0 w 36"/>
                <a:gd name="T15" fmla="*/ 2147483647 h 76"/>
                <a:gd name="T16" fmla="*/ 2147483647 w 36"/>
                <a:gd name="T17" fmla="*/ 2147483647 h 76"/>
                <a:gd name="T18" fmla="*/ 2147483647 w 36"/>
                <a:gd name="T19" fmla="*/ 0 h 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76"/>
                <a:gd name="T32" fmla="*/ 36 w 36"/>
                <a:gd name="T33" fmla="*/ 76 h 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76">
                  <a:moveTo>
                    <a:pt x="26" y="0"/>
                  </a:moveTo>
                  <a:lnTo>
                    <a:pt x="34" y="3"/>
                  </a:lnTo>
                  <a:lnTo>
                    <a:pt x="36" y="49"/>
                  </a:lnTo>
                  <a:lnTo>
                    <a:pt x="30" y="60"/>
                  </a:lnTo>
                  <a:lnTo>
                    <a:pt x="19" y="66"/>
                  </a:lnTo>
                  <a:lnTo>
                    <a:pt x="11" y="76"/>
                  </a:lnTo>
                  <a:lnTo>
                    <a:pt x="2" y="74"/>
                  </a:lnTo>
                  <a:lnTo>
                    <a:pt x="0" y="49"/>
                  </a:lnTo>
                  <a:lnTo>
                    <a:pt x="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8" name="Freeform 234"/>
            <p:cNvSpPr>
              <a:spLocks/>
            </p:cNvSpPr>
            <p:nvPr/>
          </p:nvSpPr>
          <p:spPr bwMode="auto">
            <a:xfrm>
              <a:off x="1868018" y="4484284"/>
              <a:ext cx="184124" cy="251430"/>
            </a:xfrm>
            <a:custGeom>
              <a:avLst/>
              <a:gdLst>
                <a:gd name="T0" fmla="*/ 2147483647 w 338"/>
                <a:gd name="T1" fmla="*/ 2147483647 h 401"/>
                <a:gd name="T2" fmla="*/ 2147483647 w 338"/>
                <a:gd name="T3" fmla="*/ 2147483647 h 401"/>
                <a:gd name="T4" fmla="*/ 2147483647 w 338"/>
                <a:gd name="T5" fmla="*/ 2147483647 h 401"/>
                <a:gd name="T6" fmla="*/ 2147483647 w 338"/>
                <a:gd name="T7" fmla="*/ 2147483647 h 401"/>
                <a:gd name="T8" fmla="*/ 2147483647 w 338"/>
                <a:gd name="T9" fmla="*/ 2147483647 h 401"/>
                <a:gd name="T10" fmla="*/ 2147483647 w 338"/>
                <a:gd name="T11" fmla="*/ 2147483647 h 401"/>
                <a:gd name="T12" fmla="*/ 2147483647 w 338"/>
                <a:gd name="T13" fmla="*/ 2147483647 h 401"/>
                <a:gd name="T14" fmla="*/ 2147483647 w 338"/>
                <a:gd name="T15" fmla="*/ 2147483647 h 401"/>
                <a:gd name="T16" fmla="*/ 2147483647 w 338"/>
                <a:gd name="T17" fmla="*/ 2147483647 h 401"/>
                <a:gd name="T18" fmla="*/ 2147483647 w 338"/>
                <a:gd name="T19" fmla="*/ 2147483647 h 401"/>
                <a:gd name="T20" fmla="*/ 2147483647 w 338"/>
                <a:gd name="T21" fmla="*/ 2147483647 h 401"/>
                <a:gd name="T22" fmla="*/ 0 w 338"/>
                <a:gd name="T23" fmla="*/ 2147483647 h 401"/>
                <a:gd name="T24" fmla="*/ 0 w 338"/>
                <a:gd name="T25" fmla="*/ 2147483647 h 401"/>
                <a:gd name="T26" fmla="*/ 2147483647 w 338"/>
                <a:gd name="T27" fmla="*/ 2147483647 h 401"/>
                <a:gd name="T28" fmla="*/ 0 w 338"/>
                <a:gd name="T29" fmla="*/ 2147483647 h 401"/>
                <a:gd name="T30" fmla="*/ 2147483647 w 338"/>
                <a:gd name="T31" fmla="*/ 2147483647 h 401"/>
                <a:gd name="T32" fmla="*/ 2147483647 w 338"/>
                <a:gd name="T33" fmla="*/ 2147483647 h 401"/>
                <a:gd name="T34" fmla="*/ 2147483647 w 338"/>
                <a:gd name="T35" fmla="*/ 2147483647 h 401"/>
                <a:gd name="T36" fmla="*/ 2147483647 w 338"/>
                <a:gd name="T37" fmla="*/ 2147483647 h 401"/>
                <a:gd name="T38" fmla="*/ 2147483647 w 338"/>
                <a:gd name="T39" fmla="*/ 2147483647 h 401"/>
                <a:gd name="T40" fmla="*/ 2147483647 w 338"/>
                <a:gd name="T41" fmla="*/ 2147483647 h 401"/>
                <a:gd name="T42" fmla="*/ 2147483647 w 338"/>
                <a:gd name="T43" fmla="*/ 0 h 401"/>
                <a:gd name="T44" fmla="*/ 2147483647 w 338"/>
                <a:gd name="T45" fmla="*/ 2147483647 h 401"/>
                <a:gd name="T46" fmla="*/ 2147483647 w 338"/>
                <a:gd name="T47" fmla="*/ 2147483647 h 401"/>
                <a:gd name="T48" fmla="*/ 2147483647 w 338"/>
                <a:gd name="T49" fmla="*/ 2147483647 h 401"/>
                <a:gd name="T50" fmla="*/ 2147483647 w 338"/>
                <a:gd name="T51" fmla="*/ 2147483647 h 401"/>
                <a:gd name="T52" fmla="*/ 2147483647 w 338"/>
                <a:gd name="T53" fmla="*/ 2147483647 h 401"/>
                <a:gd name="T54" fmla="*/ 2147483647 w 338"/>
                <a:gd name="T55" fmla="*/ 2147483647 h 401"/>
                <a:gd name="T56" fmla="*/ 2147483647 w 338"/>
                <a:gd name="T57" fmla="*/ 2147483647 h 401"/>
                <a:gd name="T58" fmla="*/ 2147483647 w 338"/>
                <a:gd name="T59" fmla="*/ 2147483647 h 401"/>
                <a:gd name="T60" fmla="*/ 2147483647 w 338"/>
                <a:gd name="T61" fmla="*/ 2147483647 h 401"/>
                <a:gd name="T62" fmla="*/ 2147483647 w 338"/>
                <a:gd name="T63" fmla="*/ 2147483647 h 401"/>
                <a:gd name="T64" fmla="*/ 2147483647 w 338"/>
                <a:gd name="T65" fmla="*/ 2147483647 h 401"/>
                <a:gd name="T66" fmla="*/ 2147483647 w 338"/>
                <a:gd name="T67" fmla="*/ 2147483647 h 401"/>
                <a:gd name="T68" fmla="*/ 2147483647 w 338"/>
                <a:gd name="T69" fmla="*/ 2147483647 h 401"/>
                <a:gd name="T70" fmla="*/ 2147483647 w 338"/>
                <a:gd name="T71" fmla="*/ 2147483647 h 401"/>
                <a:gd name="T72" fmla="*/ 2147483647 w 338"/>
                <a:gd name="T73" fmla="*/ 2147483647 h 401"/>
                <a:gd name="T74" fmla="*/ 2147483647 w 338"/>
                <a:gd name="T75" fmla="*/ 2147483647 h 401"/>
                <a:gd name="T76" fmla="*/ 2147483647 w 338"/>
                <a:gd name="T77" fmla="*/ 2147483647 h 401"/>
                <a:gd name="T78" fmla="*/ 2147483647 w 338"/>
                <a:gd name="T79" fmla="*/ 2147483647 h 401"/>
                <a:gd name="T80" fmla="*/ 2147483647 w 338"/>
                <a:gd name="T81" fmla="*/ 2147483647 h 401"/>
                <a:gd name="T82" fmla="*/ 2147483647 w 338"/>
                <a:gd name="T83" fmla="*/ 2147483647 h 401"/>
                <a:gd name="T84" fmla="*/ 2147483647 w 338"/>
                <a:gd name="T85" fmla="*/ 2147483647 h 40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38"/>
                <a:gd name="T130" fmla="*/ 0 h 401"/>
                <a:gd name="T131" fmla="*/ 338 w 338"/>
                <a:gd name="T132" fmla="*/ 401 h 40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38" h="401">
                  <a:moveTo>
                    <a:pt x="198" y="382"/>
                  </a:moveTo>
                  <a:lnTo>
                    <a:pt x="184" y="376"/>
                  </a:lnTo>
                  <a:lnTo>
                    <a:pt x="160" y="376"/>
                  </a:lnTo>
                  <a:lnTo>
                    <a:pt x="148" y="401"/>
                  </a:lnTo>
                  <a:lnTo>
                    <a:pt x="139" y="380"/>
                  </a:lnTo>
                  <a:lnTo>
                    <a:pt x="95" y="370"/>
                  </a:lnTo>
                  <a:lnTo>
                    <a:pt x="67" y="401"/>
                  </a:lnTo>
                  <a:lnTo>
                    <a:pt x="46" y="393"/>
                  </a:lnTo>
                  <a:lnTo>
                    <a:pt x="23" y="323"/>
                  </a:lnTo>
                  <a:lnTo>
                    <a:pt x="25" y="285"/>
                  </a:lnTo>
                  <a:lnTo>
                    <a:pt x="12" y="260"/>
                  </a:lnTo>
                  <a:lnTo>
                    <a:pt x="0" y="243"/>
                  </a:lnTo>
                  <a:lnTo>
                    <a:pt x="0" y="224"/>
                  </a:lnTo>
                  <a:lnTo>
                    <a:pt x="8" y="195"/>
                  </a:lnTo>
                  <a:lnTo>
                    <a:pt x="0" y="188"/>
                  </a:lnTo>
                  <a:lnTo>
                    <a:pt x="15" y="144"/>
                  </a:lnTo>
                  <a:lnTo>
                    <a:pt x="13" y="100"/>
                  </a:lnTo>
                  <a:lnTo>
                    <a:pt x="23" y="85"/>
                  </a:lnTo>
                  <a:lnTo>
                    <a:pt x="6" y="47"/>
                  </a:lnTo>
                  <a:lnTo>
                    <a:pt x="31" y="45"/>
                  </a:lnTo>
                  <a:lnTo>
                    <a:pt x="84" y="9"/>
                  </a:lnTo>
                  <a:lnTo>
                    <a:pt x="122" y="0"/>
                  </a:lnTo>
                  <a:lnTo>
                    <a:pt x="126" y="66"/>
                  </a:lnTo>
                  <a:lnTo>
                    <a:pt x="165" y="83"/>
                  </a:lnTo>
                  <a:lnTo>
                    <a:pt x="228" y="116"/>
                  </a:lnTo>
                  <a:lnTo>
                    <a:pt x="255" y="119"/>
                  </a:lnTo>
                  <a:lnTo>
                    <a:pt x="266" y="135"/>
                  </a:lnTo>
                  <a:lnTo>
                    <a:pt x="262" y="167"/>
                  </a:lnTo>
                  <a:lnTo>
                    <a:pt x="270" y="199"/>
                  </a:lnTo>
                  <a:lnTo>
                    <a:pt x="323" y="195"/>
                  </a:lnTo>
                  <a:lnTo>
                    <a:pt x="316" y="228"/>
                  </a:lnTo>
                  <a:lnTo>
                    <a:pt x="338" y="231"/>
                  </a:lnTo>
                  <a:lnTo>
                    <a:pt x="338" y="250"/>
                  </a:lnTo>
                  <a:lnTo>
                    <a:pt x="327" y="298"/>
                  </a:lnTo>
                  <a:lnTo>
                    <a:pt x="336" y="313"/>
                  </a:lnTo>
                  <a:lnTo>
                    <a:pt x="335" y="323"/>
                  </a:lnTo>
                  <a:lnTo>
                    <a:pt x="327" y="325"/>
                  </a:lnTo>
                  <a:lnTo>
                    <a:pt x="319" y="306"/>
                  </a:lnTo>
                  <a:lnTo>
                    <a:pt x="297" y="294"/>
                  </a:lnTo>
                  <a:lnTo>
                    <a:pt x="224" y="307"/>
                  </a:lnTo>
                  <a:lnTo>
                    <a:pt x="209" y="332"/>
                  </a:lnTo>
                  <a:lnTo>
                    <a:pt x="209" y="359"/>
                  </a:lnTo>
                  <a:lnTo>
                    <a:pt x="198" y="38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59" name="Freeform 235"/>
            <p:cNvSpPr>
              <a:spLocks/>
            </p:cNvSpPr>
            <p:nvPr/>
          </p:nvSpPr>
          <p:spPr bwMode="auto">
            <a:xfrm>
              <a:off x="1796354" y="4220049"/>
              <a:ext cx="611908" cy="743813"/>
            </a:xfrm>
            <a:custGeom>
              <a:avLst/>
              <a:gdLst>
                <a:gd name="T0" fmla="*/ 2147483647 w 1123"/>
                <a:gd name="T1" fmla="*/ 2147483647 h 1193"/>
                <a:gd name="T2" fmla="*/ 2147483647 w 1123"/>
                <a:gd name="T3" fmla="*/ 2147483647 h 1193"/>
                <a:gd name="T4" fmla="*/ 2147483647 w 1123"/>
                <a:gd name="T5" fmla="*/ 2147483647 h 1193"/>
                <a:gd name="T6" fmla="*/ 2147483647 w 1123"/>
                <a:gd name="T7" fmla="*/ 2147483647 h 1193"/>
                <a:gd name="T8" fmla="*/ 2147483647 w 1123"/>
                <a:gd name="T9" fmla="*/ 2147483647 h 1193"/>
                <a:gd name="T10" fmla="*/ 2147483647 w 1123"/>
                <a:gd name="T11" fmla="*/ 2147483647 h 1193"/>
                <a:gd name="T12" fmla="*/ 2147483647 w 1123"/>
                <a:gd name="T13" fmla="*/ 2147483647 h 1193"/>
                <a:gd name="T14" fmla="*/ 2147483647 w 1123"/>
                <a:gd name="T15" fmla="*/ 2147483647 h 1193"/>
                <a:gd name="T16" fmla="*/ 2147483647 w 1123"/>
                <a:gd name="T17" fmla="*/ 2147483647 h 1193"/>
                <a:gd name="T18" fmla="*/ 2147483647 w 1123"/>
                <a:gd name="T19" fmla="*/ 2147483647 h 1193"/>
                <a:gd name="T20" fmla="*/ 2147483647 w 1123"/>
                <a:gd name="T21" fmla="*/ 2147483647 h 1193"/>
                <a:gd name="T22" fmla="*/ 2147483647 w 1123"/>
                <a:gd name="T23" fmla="*/ 2147483647 h 1193"/>
                <a:gd name="T24" fmla="*/ 2147483647 w 1123"/>
                <a:gd name="T25" fmla="*/ 2147483647 h 1193"/>
                <a:gd name="T26" fmla="*/ 2147483647 w 1123"/>
                <a:gd name="T27" fmla="*/ 2147483647 h 1193"/>
                <a:gd name="T28" fmla="*/ 2147483647 w 1123"/>
                <a:gd name="T29" fmla="*/ 2147483647 h 1193"/>
                <a:gd name="T30" fmla="*/ 2147483647 w 1123"/>
                <a:gd name="T31" fmla="*/ 2147483647 h 1193"/>
                <a:gd name="T32" fmla="*/ 2147483647 w 1123"/>
                <a:gd name="T33" fmla="*/ 2147483647 h 1193"/>
                <a:gd name="T34" fmla="*/ 2147483647 w 1123"/>
                <a:gd name="T35" fmla="*/ 2147483647 h 1193"/>
                <a:gd name="T36" fmla="*/ 2147483647 w 1123"/>
                <a:gd name="T37" fmla="*/ 2147483647 h 1193"/>
                <a:gd name="T38" fmla="*/ 2147483647 w 1123"/>
                <a:gd name="T39" fmla="*/ 2147483647 h 1193"/>
                <a:gd name="T40" fmla="*/ 2147483647 w 1123"/>
                <a:gd name="T41" fmla="*/ 2147483647 h 1193"/>
                <a:gd name="T42" fmla="*/ 2147483647 w 1123"/>
                <a:gd name="T43" fmla="*/ 2147483647 h 1193"/>
                <a:gd name="T44" fmla="*/ 2147483647 w 1123"/>
                <a:gd name="T45" fmla="*/ 2147483647 h 1193"/>
                <a:gd name="T46" fmla="*/ 2147483647 w 1123"/>
                <a:gd name="T47" fmla="*/ 2147483647 h 1193"/>
                <a:gd name="T48" fmla="*/ 2147483647 w 1123"/>
                <a:gd name="T49" fmla="*/ 2147483647 h 1193"/>
                <a:gd name="T50" fmla="*/ 2147483647 w 1123"/>
                <a:gd name="T51" fmla="*/ 2147483647 h 1193"/>
                <a:gd name="T52" fmla="*/ 2147483647 w 1123"/>
                <a:gd name="T53" fmla="*/ 2147483647 h 1193"/>
                <a:gd name="T54" fmla="*/ 2147483647 w 1123"/>
                <a:gd name="T55" fmla="*/ 2147483647 h 1193"/>
                <a:gd name="T56" fmla="*/ 2147483647 w 1123"/>
                <a:gd name="T57" fmla="*/ 2147483647 h 1193"/>
                <a:gd name="T58" fmla="*/ 2147483647 w 1123"/>
                <a:gd name="T59" fmla="*/ 2147483647 h 1193"/>
                <a:gd name="T60" fmla="*/ 2147483647 w 1123"/>
                <a:gd name="T61" fmla="*/ 2147483647 h 1193"/>
                <a:gd name="T62" fmla="*/ 2147483647 w 1123"/>
                <a:gd name="T63" fmla="*/ 2147483647 h 1193"/>
                <a:gd name="T64" fmla="*/ 2147483647 w 1123"/>
                <a:gd name="T65" fmla="*/ 2147483647 h 1193"/>
                <a:gd name="T66" fmla="*/ 2147483647 w 1123"/>
                <a:gd name="T67" fmla="*/ 2147483647 h 1193"/>
                <a:gd name="T68" fmla="*/ 2147483647 w 1123"/>
                <a:gd name="T69" fmla="*/ 2147483647 h 1193"/>
                <a:gd name="T70" fmla="*/ 2147483647 w 1123"/>
                <a:gd name="T71" fmla="*/ 2147483647 h 1193"/>
                <a:gd name="T72" fmla="*/ 2147483647 w 1123"/>
                <a:gd name="T73" fmla="*/ 2147483647 h 1193"/>
                <a:gd name="T74" fmla="*/ 2147483647 w 1123"/>
                <a:gd name="T75" fmla="*/ 2147483647 h 1193"/>
                <a:gd name="T76" fmla="*/ 2147483647 w 1123"/>
                <a:gd name="T77" fmla="*/ 2147483647 h 1193"/>
                <a:gd name="T78" fmla="*/ 2147483647 w 1123"/>
                <a:gd name="T79" fmla="*/ 2147483647 h 1193"/>
                <a:gd name="T80" fmla="*/ 2147483647 w 1123"/>
                <a:gd name="T81" fmla="*/ 2147483647 h 1193"/>
                <a:gd name="T82" fmla="*/ 2147483647 w 1123"/>
                <a:gd name="T83" fmla="*/ 2147483647 h 1193"/>
                <a:gd name="T84" fmla="*/ 2147483647 w 1123"/>
                <a:gd name="T85" fmla="*/ 2147483647 h 1193"/>
                <a:gd name="T86" fmla="*/ 2147483647 w 1123"/>
                <a:gd name="T87" fmla="*/ 2147483647 h 1193"/>
                <a:gd name="T88" fmla="*/ 2147483647 w 1123"/>
                <a:gd name="T89" fmla="*/ 2147483647 h 1193"/>
                <a:gd name="T90" fmla="*/ 2147483647 w 1123"/>
                <a:gd name="T91" fmla="*/ 2147483647 h 1193"/>
                <a:gd name="T92" fmla="*/ 2147483647 w 1123"/>
                <a:gd name="T93" fmla="*/ 2147483647 h 1193"/>
                <a:gd name="T94" fmla="*/ 2147483647 w 1123"/>
                <a:gd name="T95" fmla="*/ 2147483647 h 119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23"/>
                <a:gd name="T145" fmla="*/ 0 h 1193"/>
                <a:gd name="T146" fmla="*/ 1123 w 1123"/>
                <a:gd name="T147" fmla="*/ 1193 h 119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23" h="1193">
                  <a:moveTo>
                    <a:pt x="475" y="1064"/>
                  </a:moveTo>
                  <a:lnTo>
                    <a:pt x="479" y="1053"/>
                  </a:lnTo>
                  <a:lnTo>
                    <a:pt x="547" y="984"/>
                  </a:lnTo>
                  <a:lnTo>
                    <a:pt x="585" y="959"/>
                  </a:lnTo>
                  <a:lnTo>
                    <a:pt x="585" y="916"/>
                  </a:lnTo>
                  <a:lnTo>
                    <a:pt x="562" y="914"/>
                  </a:lnTo>
                  <a:lnTo>
                    <a:pt x="560" y="908"/>
                  </a:lnTo>
                  <a:lnTo>
                    <a:pt x="568" y="870"/>
                  </a:lnTo>
                  <a:lnTo>
                    <a:pt x="557" y="857"/>
                  </a:lnTo>
                  <a:lnTo>
                    <a:pt x="532" y="866"/>
                  </a:lnTo>
                  <a:lnTo>
                    <a:pt x="532" y="817"/>
                  </a:lnTo>
                  <a:lnTo>
                    <a:pt x="511" y="802"/>
                  </a:lnTo>
                  <a:lnTo>
                    <a:pt x="486" y="811"/>
                  </a:lnTo>
                  <a:lnTo>
                    <a:pt x="462" y="806"/>
                  </a:lnTo>
                  <a:lnTo>
                    <a:pt x="467" y="770"/>
                  </a:lnTo>
                  <a:lnTo>
                    <a:pt x="465" y="749"/>
                  </a:lnTo>
                  <a:lnTo>
                    <a:pt x="467" y="741"/>
                  </a:lnTo>
                  <a:lnTo>
                    <a:pt x="458" y="726"/>
                  </a:lnTo>
                  <a:lnTo>
                    <a:pt x="469" y="676"/>
                  </a:lnTo>
                  <a:lnTo>
                    <a:pt x="469" y="657"/>
                  </a:lnTo>
                  <a:lnTo>
                    <a:pt x="446" y="654"/>
                  </a:lnTo>
                  <a:lnTo>
                    <a:pt x="454" y="621"/>
                  </a:lnTo>
                  <a:lnTo>
                    <a:pt x="401" y="625"/>
                  </a:lnTo>
                  <a:lnTo>
                    <a:pt x="391" y="593"/>
                  </a:lnTo>
                  <a:lnTo>
                    <a:pt x="397" y="561"/>
                  </a:lnTo>
                  <a:lnTo>
                    <a:pt x="386" y="545"/>
                  </a:lnTo>
                  <a:lnTo>
                    <a:pt x="359" y="543"/>
                  </a:lnTo>
                  <a:lnTo>
                    <a:pt x="296" y="509"/>
                  </a:lnTo>
                  <a:lnTo>
                    <a:pt x="256" y="492"/>
                  </a:lnTo>
                  <a:lnTo>
                    <a:pt x="253" y="426"/>
                  </a:lnTo>
                  <a:lnTo>
                    <a:pt x="213" y="435"/>
                  </a:lnTo>
                  <a:lnTo>
                    <a:pt x="161" y="471"/>
                  </a:lnTo>
                  <a:lnTo>
                    <a:pt x="137" y="475"/>
                  </a:lnTo>
                  <a:lnTo>
                    <a:pt x="99" y="471"/>
                  </a:lnTo>
                  <a:lnTo>
                    <a:pt x="101" y="424"/>
                  </a:lnTo>
                  <a:lnTo>
                    <a:pt x="57" y="447"/>
                  </a:lnTo>
                  <a:lnTo>
                    <a:pt x="46" y="430"/>
                  </a:lnTo>
                  <a:lnTo>
                    <a:pt x="21" y="426"/>
                  </a:lnTo>
                  <a:lnTo>
                    <a:pt x="21" y="405"/>
                  </a:lnTo>
                  <a:lnTo>
                    <a:pt x="0" y="371"/>
                  </a:lnTo>
                  <a:lnTo>
                    <a:pt x="28" y="336"/>
                  </a:lnTo>
                  <a:lnTo>
                    <a:pt x="38" y="304"/>
                  </a:lnTo>
                  <a:lnTo>
                    <a:pt x="57" y="293"/>
                  </a:lnTo>
                  <a:lnTo>
                    <a:pt x="87" y="283"/>
                  </a:lnTo>
                  <a:lnTo>
                    <a:pt x="114" y="283"/>
                  </a:lnTo>
                  <a:lnTo>
                    <a:pt x="110" y="272"/>
                  </a:lnTo>
                  <a:lnTo>
                    <a:pt x="141" y="186"/>
                  </a:lnTo>
                  <a:lnTo>
                    <a:pt x="131" y="167"/>
                  </a:lnTo>
                  <a:lnTo>
                    <a:pt x="114" y="162"/>
                  </a:lnTo>
                  <a:lnTo>
                    <a:pt x="110" y="147"/>
                  </a:lnTo>
                  <a:lnTo>
                    <a:pt x="137" y="147"/>
                  </a:lnTo>
                  <a:lnTo>
                    <a:pt x="144" y="133"/>
                  </a:lnTo>
                  <a:lnTo>
                    <a:pt x="120" y="126"/>
                  </a:lnTo>
                  <a:lnTo>
                    <a:pt x="123" y="105"/>
                  </a:lnTo>
                  <a:lnTo>
                    <a:pt x="160" y="101"/>
                  </a:lnTo>
                  <a:lnTo>
                    <a:pt x="184" y="90"/>
                  </a:lnTo>
                  <a:lnTo>
                    <a:pt x="188" y="112"/>
                  </a:lnTo>
                  <a:lnTo>
                    <a:pt x="207" y="116"/>
                  </a:lnTo>
                  <a:lnTo>
                    <a:pt x="224" y="120"/>
                  </a:lnTo>
                  <a:lnTo>
                    <a:pt x="266" y="105"/>
                  </a:lnTo>
                  <a:lnTo>
                    <a:pt x="279" y="90"/>
                  </a:lnTo>
                  <a:lnTo>
                    <a:pt x="302" y="82"/>
                  </a:lnTo>
                  <a:lnTo>
                    <a:pt x="275" y="78"/>
                  </a:lnTo>
                  <a:lnTo>
                    <a:pt x="270" y="46"/>
                  </a:lnTo>
                  <a:lnTo>
                    <a:pt x="255" y="31"/>
                  </a:lnTo>
                  <a:lnTo>
                    <a:pt x="268" y="19"/>
                  </a:lnTo>
                  <a:lnTo>
                    <a:pt x="291" y="29"/>
                  </a:lnTo>
                  <a:lnTo>
                    <a:pt x="315" y="36"/>
                  </a:lnTo>
                  <a:lnTo>
                    <a:pt x="376" y="21"/>
                  </a:lnTo>
                  <a:lnTo>
                    <a:pt x="382" y="2"/>
                  </a:lnTo>
                  <a:lnTo>
                    <a:pt x="395" y="0"/>
                  </a:lnTo>
                  <a:lnTo>
                    <a:pt x="399" y="21"/>
                  </a:lnTo>
                  <a:lnTo>
                    <a:pt x="414" y="27"/>
                  </a:lnTo>
                  <a:lnTo>
                    <a:pt x="401" y="42"/>
                  </a:lnTo>
                  <a:lnTo>
                    <a:pt x="401" y="84"/>
                  </a:lnTo>
                  <a:lnTo>
                    <a:pt x="412" y="110"/>
                  </a:lnTo>
                  <a:lnTo>
                    <a:pt x="435" y="118"/>
                  </a:lnTo>
                  <a:lnTo>
                    <a:pt x="450" y="105"/>
                  </a:lnTo>
                  <a:lnTo>
                    <a:pt x="505" y="95"/>
                  </a:lnTo>
                  <a:lnTo>
                    <a:pt x="511" y="101"/>
                  </a:lnTo>
                  <a:lnTo>
                    <a:pt x="515" y="78"/>
                  </a:lnTo>
                  <a:lnTo>
                    <a:pt x="551" y="74"/>
                  </a:lnTo>
                  <a:lnTo>
                    <a:pt x="568" y="91"/>
                  </a:lnTo>
                  <a:lnTo>
                    <a:pt x="587" y="95"/>
                  </a:lnTo>
                  <a:lnTo>
                    <a:pt x="616" y="74"/>
                  </a:lnTo>
                  <a:lnTo>
                    <a:pt x="631" y="40"/>
                  </a:lnTo>
                  <a:lnTo>
                    <a:pt x="640" y="27"/>
                  </a:lnTo>
                  <a:lnTo>
                    <a:pt x="655" y="38"/>
                  </a:lnTo>
                  <a:lnTo>
                    <a:pt x="663" y="88"/>
                  </a:lnTo>
                  <a:lnTo>
                    <a:pt x="684" y="99"/>
                  </a:lnTo>
                  <a:lnTo>
                    <a:pt x="678" y="141"/>
                  </a:lnTo>
                  <a:lnTo>
                    <a:pt x="701" y="150"/>
                  </a:lnTo>
                  <a:lnTo>
                    <a:pt x="665" y="150"/>
                  </a:lnTo>
                  <a:lnTo>
                    <a:pt x="673" y="158"/>
                  </a:lnTo>
                  <a:lnTo>
                    <a:pt x="722" y="164"/>
                  </a:lnTo>
                  <a:lnTo>
                    <a:pt x="711" y="186"/>
                  </a:lnTo>
                  <a:lnTo>
                    <a:pt x="695" y="194"/>
                  </a:lnTo>
                  <a:lnTo>
                    <a:pt x="692" y="226"/>
                  </a:lnTo>
                  <a:lnTo>
                    <a:pt x="707" y="202"/>
                  </a:lnTo>
                  <a:lnTo>
                    <a:pt x="737" y="169"/>
                  </a:lnTo>
                  <a:lnTo>
                    <a:pt x="804" y="185"/>
                  </a:lnTo>
                  <a:lnTo>
                    <a:pt x="811" y="198"/>
                  </a:lnTo>
                  <a:lnTo>
                    <a:pt x="827" y="181"/>
                  </a:lnTo>
                  <a:lnTo>
                    <a:pt x="840" y="205"/>
                  </a:lnTo>
                  <a:lnTo>
                    <a:pt x="840" y="226"/>
                  </a:lnTo>
                  <a:lnTo>
                    <a:pt x="863" y="215"/>
                  </a:lnTo>
                  <a:lnTo>
                    <a:pt x="912" y="232"/>
                  </a:lnTo>
                  <a:lnTo>
                    <a:pt x="965" y="230"/>
                  </a:lnTo>
                  <a:lnTo>
                    <a:pt x="984" y="238"/>
                  </a:lnTo>
                  <a:lnTo>
                    <a:pt x="1032" y="281"/>
                  </a:lnTo>
                  <a:lnTo>
                    <a:pt x="1045" y="278"/>
                  </a:lnTo>
                  <a:lnTo>
                    <a:pt x="1058" y="297"/>
                  </a:lnTo>
                  <a:lnTo>
                    <a:pt x="1098" y="300"/>
                  </a:lnTo>
                  <a:lnTo>
                    <a:pt x="1123" y="361"/>
                  </a:lnTo>
                  <a:lnTo>
                    <a:pt x="1121" y="382"/>
                  </a:lnTo>
                  <a:lnTo>
                    <a:pt x="1068" y="460"/>
                  </a:lnTo>
                  <a:lnTo>
                    <a:pt x="1053" y="468"/>
                  </a:lnTo>
                  <a:lnTo>
                    <a:pt x="1011" y="526"/>
                  </a:lnTo>
                  <a:lnTo>
                    <a:pt x="1005" y="519"/>
                  </a:lnTo>
                  <a:lnTo>
                    <a:pt x="994" y="540"/>
                  </a:lnTo>
                  <a:lnTo>
                    <a:pt x="992" y="671"/>
                  </a:lnTo>
                  <a:lnTo>
                    <a:pt x="979" y="686"/>
                  </a:lnTo>
                  <a:lnTo>
                    <a:pt x="980" y="718"/>
                  </a:lnTo>
                  <a:lnTo>
                    <a:pt x="935" y="806"/>
                  </a:lnTo>
                  <a:lnTo>
                    <a:pt x="920" y="815"/>
                  </a:lnTo>
                  <a:lnTo>
                    <a:pt x="914" y="828"/>
                  </a:lnTo>
                  <a:lnTo>
                    <a:pt x="880" y="830"/>
                  </a:lnTo>
                  <a:lnTo>
                    <a:pt x="821" y="855"/>
                  </a:lnTo>
                  <a:lnTo>
                    <a:pt x="825" y="868"/>
                  </a:lnTo>
                  <a:lnTo>
                    <a:pt x="789" y="868"/>
                  </a:lnTo>
                  <a:lnTo>
                    <a:pt x="741" y="908"/>
                  </a:lnTo>
                  <a:lnTo>
                    <a:pt x="722" y="904"/>
                  </a:lnTo>
                  <a:lnTo>
                    <a:pt x="728" y="912"/>
                  </a:lnTo>
                  <a:lnTo>
                    <a:pt x="726" y="984"/>
                  </a:lnTo>
                  <a:lnTo>
                    <a:pt x="716" y="1011"/>
                  </a:lnTo>
                  <a:lnTo>
                    <a:pt x="627" y="1132"/>
                  </a:lnTo>
                  <a:lnTo>
                    <a:pt x="608" y="1174"/>
                  </a:lnTo>
                  <a:lnTo>
                    <a:pt x="581" y="1193"/>
                  </a:lnTo>
                  <a:lnTo>
                    <a:pt x="579" y="1170"/>
                  </a:lnTo>
                  <a:lnTo>
                    <a:pt x="587" y="1149"/>
                  </a:lnTo>
                  <a:lnTo>
                    <a:pt x="576" y="1117"/>
                  </a:lnTo>
                  <a:lnTo>
                    <a:pt x="547" y="1106"/>
                  </a:lnTo>
                  <a:lnTo>
                    <a:pt x="532" y="1081"/>
                  </a:lnTo>
                  <a:lnTo>
                    <a:pt x="511" y="1089"/>
                  </a:lnTo>
                  <a:lnTo>
                    <a:pt x="498" y="1064"/>
                  </a:lnTo>
                  <a:lnTo>
                    <a:pt x="475" y="106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0" name="Freeform 236"/>
            <p:cNvSpPr>
              <a:spLocks/>
            </p:cNvSpPr>
            <p:nvPr/>
          </p:nvSpPr>
          <p:spPr bwMode="auto">
            <a:xfrm>
              <a:off x="1778713" y="4636771"/>
              <a:ext cx="125689" cy="826459"/>
            </a:xfrm>
            <a:custGeom>
              <a:avLst/>
              <a:gdLst>
                <a:gd name="T0" fmla="*/ 2147483647 w 232"/>
                <a:gd name="T1" fmla="*/ 2147483647 h 1326"/>
                <a:gd name="T2" fmla="*/ 2147483647 w 232"/>
                <a:gd name="T3" fmla="*/ 2147483647 h 1326"/>
                <a:gd name="T4" fmla="*/ 2147483647 w 232"/>
                <a:gd name="T5" fmla="*/ 2147483647 h 1326"/>
                <a:gd name="T6" fmla="*/ 2147483647 w 232"/>
                <a:gd name="T7" fmla="*/ 2147483647 h 1326"/>
                <a:gd name="T8" fmla="*/ 2147483647 w 232"/>
                <a:gd name="T9" fmla="*/ 2147483647 h 1326"/>
                <a:gd name="T10" fmla="*/ 2147483647 w 232"/>
                <a:gd name="T11" fmla="*/ 2147483647 h 1326"/>
                <a:gd name="T12" fmla="*/ 2147483647 w 232"/>
                <a:gd name="T13" fmla="*/ 2147483647 h 1326"/>
                <a:gd name="T14" fmla="*/ 2147483647 w 232"/>
                <a:gd name="T15" fmla="*/ 2147483647 h 1326"/>
                <a:gd name="T16" fmla="*/ 2147483647 w 232"/>
                <a:gd name="T17" fmla="*/ 2147483647 h 1326"/>
                <a:gd name="T18" fmla="*/ 2147483647 w 232"/>
                <a:gd name="T19" fmla="*/ 2147483647 h 1326"/>
                <a:gd name="T20" fmla="*/ 2147483647 w 232"/>
                <a:gd name="T21" fmla="*/ 2147483647 h 1326"/>
                <a:gd name="T22" fmla="*/ 2147483647 w 232"/>
                <a:gd name="T23" fmla="*/ 2147483647 h 1326"/>
                <a:gd name="T24" fmla="*/ 2147483647 w 232"/>
                <a:gd name="T25" fmla="*/ 2147483647 h 1326"/>
                <a:gd name="T26" fmla="*/ 2147483647 w 232"/>
                <a:gd name="T27" fmla="*/ 2147483647 h 1326"/>
                <a:gd name="T28" fmla="*/ 2147483647 w 232"/>
                <a:gd name="T29" fmla="*/ 2147483647 h 1326"/>
                <a:gd name="T30" fmla="*/ 2147483647 w 232"/>
                <a:gd name="T31" fmla="*/ 2147483647 h 1326"/>
                <a:gd name="T32" fmla="*/ 2147483647 w 232"/>
                <a:gd name="T33" fmla="*/ 2147483647 h 1326"/>
                <a:gd name="T34" fmla="*/ 2147483647 w 232"/>
                <a:gd name="T35" fmla="*/ 2147483647 h 1326"/>
                <a:gd name="T36" fmla="*/ 2147483647 w 232"/>
                <a:gd name="T37" fmla="*/ 2147483647 h 1326"/>
                <a:gd name="T38" fmla="*/ 2147483647 w 232"/>
                <a:gd name="T39" fmla="*/ 2147483647 h 1326"/>
                <a:gd name="T40" fmla="*/ 2147483647 w 232"/>
                <a:gd name="T41" fmla="*/ 2147483647 h 1326"/>
                <a:gd name="T42" fmla="*/ 2147483647 w 232"/>
                <a:gd name="T43" fmla="*/ 2147483647 h 1326"/>
                <a:gd name="T44" fmla="*/ 2147483647 w 232"/>
                <a:gd name="T45" fmla="*/ 2147483647 h 1326"/>
                <a:gd name="T46" fmla="*/ 2147483647 w 232"/>
                <a:gd name="T47" fmla="*/ 2147483647 h 1326"/>
                <a:gd name="T48" fmla="*/ 2147483647 w 232"/>
                <a:gd name="T49" fmla="*/ 2147483647 h 1326"/>
                <a:gd name="T50" fmla="*/ 2147483647 w 232"/>
                <a:gd name="T51" fmla="*/ 2147483647 h 1326"/>
                <a:gd name="T52" fmla="*/ 2147483647 w 232"/>
                <a:gd name="T53" fmla="*/ 2147483647 h 1326"/>
                <a:gd name="T54" fmla="*/ 2147483647 w 232"/>
                <a:gd name="T55" fmla="*/ 2147483647 h 1326"/>
                <a:gd name="T56" fmla="*/ 2147483647 w 232"/>
                <a:gd name="T57" fmla="*/ 2147483647 h 1326"/>
                <a:gd name="T58" fmla="*/ 0 w 232"/>
                <a:gd name="T59" fmla="*/ 2147483647 h 1326"/>
                <a:gd name="T60" fmla="*/ 2147483647 w 232"/>
                <a:gd name="T61" fmla="*/ 2147483647 h 1326"/>
                <a:gd name="T62" fmla="*/ 2147483647 w 232"/>
                <a:gd name="T63" fmla="*/ 2147483647 h 1326"/>
                <a:gd name="T64" fmla="*/ 2147483647 w 232"/>
                <a:gd name="T65" fmla="*/ 2147483647 h 1326"/>
                <a:gd name="T66" fmla="*/ 2147483647 w 232"/>
                <a:gd name="T67" fmla="*/ 2147483647 h 1326"/>
                <a:gd name="T68" fmla="*/ 2147483647 w 232"/>
                <a:gd name="T69" fmla="*/ 2147483647 h 1326"/>
                <a:gd name="T70" fmla="*/ 2147483647 w 232"/>
                <a:gd name="T71" fmla="*/ 2147483647 h 1326"/>
                <a:gd name="T72" fmla="*/ 2147483647 w 232"/>
                <a:gd name="T73" fmla="*/ 2147483647 h 1326"/>
                <a:gd name="T74" fmla="*/ 2147483647 w 232"/>
                <a:gd name="T75" fmla="*/ 2147483647 h 1326"/>
                <a:gd name="T76" fmla="*/ 2147483647 w 232"/>
                <a:gd name="T77" fmla="*/ 2147483647 h 1326"/>
                <a:gd name="T78" fmla="*/ 2147483647 w 232"/>
                <a:gd name="T79" fmla="*/ 2147483647 h 1326"/>
                <a:gd name="T80" fmla="*/ 2147483647 w 232"/>
                <a:gd name="T81" fmla="*/ 2147483647 h 1326"/>
                <a:gd name="T82" fmla="*/ 2147483647 w 232"/>
                <a:gd name="T83" fmla="*/ 2147483647 h 1326"/>
                <a:gd name="T84" fmla="*/ 2147483647 w 232"/>
                <a:gd name="T85" fmla="*/ 2147483647 h 1326"/>
                <a:gd name="T86" fmla="*/ 2147483647 w 232"/>
                <a:gd name="T87" fmla="*/ 0 h 1326"/>
                <a:gd name="T88" fmla="*/ 2147483647 w 232"/>
                <a:gd name="T89" fmla="*/ 2147483647 h 1326"/>
                <a:gd name="T90" fmla="*/ 2147483647 w 232"/>
                <a:gd name="T91" fmla="*/ 2147483647 h 132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2"/>
                <a:gd name="T139" fmla="*/ 0 h 1326"/>
                <a:gd name="T140" fmla="*/ 232 w 232"/>
                <a:gd name="T141" fmla="*/ 1326 h 132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2" h="1326">
                  <a:moveTo>
                    <a:pt x="230" y="158"/>
                  </a:moveTo>
                  <a:lnTo>
                    <a:pt x="232" y="188"/>
                  </a:lnTo>
                  <a:lnTo>
                    <a:pt x="188" y="216"/>
                  </a:lnTo>
                  <a:lnTo>
                    <a:pt x="178" y="268"/>
                  </a:lnTo>
                  <a:lnTo>
                    <a:pt x="186" y="289"/>
                  </a:lnTo>
                  <a:lnTo>
                    <a:pt x="163" y="319"/>
                  </a:lnTo>
                  <a:lnTo>
                    <a:pt x="148" y="366"/>
                  </a:lnTo>
                  <a:lnTo>
                    <a:pt x="156" y="399"/>
                  </a:lnTo>
                  <a:lnTo>
                    <a:pt x="138" y="414"/>
                  </a:lnTo>
                  <a:lnTo>
                    <a:pt x="135" y="439"/>
                  </a:lnTo>
                  <a:lnTo>
                    <a:pt x="148" y="492"/>
                  </a:lnTo>
                  <a:lnTo>
                    <a:pt x="159" y="492"/>
                  </a:lnTo>
                  <a:lnTo>
                    <a:pt x="157" y="522"/>
                  </a:lnTo>
                  <a:lnTo>
                    <a:pt x="138" y="554"/>
                  </a:lnTo>
                  <a:lnTo>
                    <a:pt x="135" y="598"/>
                  </a:lnTo>
                  <a:lnTo>
                    <a:pt x="118" y="625"/>
                  </a:lnTo>
                  <a:lnTo>
                    <a:pt x="123" y="689"/>
                  </a:lnTo>
                  <a:lnTo>
                    <a:pt x="106" y="703"/>
                  </a:lnTo>
                  <a:lnTo>
                    <a:pt x="108" y="729"/>
                  </a:lnTo>
                  <a:lnTo>
                    <a:pt x="95" y="735"/>
                  </a:lnTo>
                  <a:lnTo>
                    <a:pt x="95" y="777"/>
                  </a:lnTo>
                  <a:lnTo>
                    <a:pt x="104" y="818"/>
                  </a:lnTo>
                  <a:lnTo>
                    <a:pt x="93" y="843"/>
                  </a:lnTo>
                  <a:lnTo>
                    <a:pt x="102" y="866"/>
                  </a:lnTo>
                  <a:lnTo>
                    <a:pt x="100" y="912"/>
                  </a:lnTo>
                  <a:lnTo>
                    <a:pt x="116" y="917"/>
                  </a:lnTo>
                  <a:lnTo>
                    <a:pt x="114" y="927"/>
                  </a:lnTo>
                  <a:lnTo>
                    <a:pt x="93" y="932"/>
                  </a:lnTo>
                  <a:lnTo>
                    <a:pt x="110" y="948"/>
                  </a:lnTo>
                  <a:lnTo>
                    <a:pt x="99" y="967"/>
                  </a:lnTo>
                  <a:lnTo>
                    <a:pt x="100" y="1003"/>
                  </a:lnTo>
                  <a:lnTo>
                    <a:pt x="76" y="1092"/>
                  </a:lnTo>
                  <a:lnTo>
                    <a:pt x="66" y="1100"/>
                  </a:lnTo>
                  <a:lnTo>
                    <a:pt x="53" y="1138"/>
                  </a:lnTo>
                  <a:lnTo>
                    <a:pt x="62" y="1183"/>
                  </a:lnTo>
                  <a:lnTo>
                    <a:pt x="81" y="1189"/>
                  </a:lnTo>
                  <a:lnTo>
                    <a:pt x="81" y="1221"/>
                  </a:lnTo>
                  <a:lnTo>
                    <a:pt x="95" y="1242"/>
                  </a:lnTo>
                  <a:lnTo>
                    <a:pt x="180" y="1250"/>
                  </a:lnTo>
                  <a:lnTo>
                    <a:pt x="171" y="1261"/>
                  </a:lnTo>
                  <a:lnTo>
                    <a:pt x="131" y="1271"/>
                  </a:lnTo>
                  <a:lnTo>
                    <a:pt x="121" y="1326"/>
                  </a:lnTo>
                  <a:lnTo>
                    <a:pt x="95" y="1310"/>
                  </a:lnTo>
                  <a:lnTo>
                    <a:pt x="66" y="1301"/>
                  </a:lnTo>
                  <a:lnTo>
                    <a:pt x="78" y="1291"/>
                  </a:lnTo>
                  <a:lnTo>
                    <a:pt x="51" y="1280"/>
                  </a:lnTo>
                  <a:lnTo>
                    <a:pt x="55" y="1269"/>
                  </a:lnTo>
                  <a:lnTo>
                    <a:pt x="36" y="1274"/>
                  </a:lnTo>
                  <a:lnTo>
                    <a:pt x="32" y="1231"/>
                  </a:lnTo>
                  <a:lnTo>
                    <a:pt x="19" y="1261"/>
                  </a:lnTo>
                  <a:lnTo>
                    <a:pt x="5" y="1215"/>
                  </a:lnTo>
                  <a:lnTo>
                    <a:pt x="24" y="1179"/>
                  </a:lnTo>
                  <a:lnTo>
                    <a:pt x="5" y="1187"/>
                  </a:lnTo>
                  <a:lnTo>
                    <a:pt x="5" y="1065"/>
                  </a:lnTo>
                  <a:lnTo>
                    <a:pt x="38" y="1037"/>
                  </a:lnTo>
                  <a:lnTo>
                    <a:pt x="40" y="1014"/>
                  </a:lnTo>
                  <a:lnTo>
                    <a:pt x="15" y="1005"/>
                  </a:lnTo>
                  <a:lnTo>
                    <a:pt x="9" y="1020"/>
                  </a:lnTo>
                  <a:lnTo>
                    <a:pt x="0" y="1024"/>
                  </a:lnTo>
                  <a:lnTo>
                    <a:pt x="0" y="1005"/>
                  </a:lnTo>
                  <a:lnTo>
                    <a:pt x="17" y="978"/>
                  </a:lnTo>
                  <a:lnTo>
                    <a:pt x="40" y="891"/>
                  </a:lnTo>
                  <a:lnTo>
                    <a:pt x="53" y="887"/>
                  </a:lnTo>
                  <a:lnTo>
                    <a:pt x="55" y="913"/>
                  </a:lnTo>
                  <a:lnTo>
                    <a:pt x="80" y="818"/>
                  </a:lnTo>
                  <a:lnTo>
                    <a:pt x="64" y="813"/>
                  </a:lnTo>
                  <a:lnTo>
                    <a:pt x="55" y="864"/>
                  </a:lnTo>
                  <a:lnTo>
                    <a:pt x="40" y="866"/>
                  </a:lnTo>
                  <a:lnTo>
                    <a:pt x="45" y="811"/>
                  </a:lnTo>
                  <a:lnTo>
                    <a:pt x="55" y="801"/>
                  </a:lnTo>
                  <a:lnTo>
                    <a:pt x="47" y="782"/>
                  </a:lnTo>
                  <a:lnTo>
                    <a:pt x="47" y="743"/>
                  </a:lnTo>
                  <a:lnTo>
                    <a:pt x="62" y="735"/>
                  </a:lnTo>
                  <a:lnTo>
                    <a:pt x="55" y="638"/>
                  </a:lnTo>
                  <a:lnTo>
                    <a:pt x="102" y="509"/>
                  </a:lnTo>
                  <a:lnTo>
                    <a:pt x="97" y="492"/>
                  </a:lnTo>
                  <a:lnTo>
                    <a:pt x="108" y="475"/>
                  </a:lnTo>
                  <a:lnTo>
                    <a:pt x="99" y="399"/>
                  </a:lnTo>
                  <a:lnTo>
                    <a:pt x="112" y="389"/>
                  </a:lnTo>
                  <a:lnTo>
                    <a:pt x="106" y="359"/>
                  </a:lnTo>
                  <a:lnTo>
                    <a:pt x="135" y="273"/>
                  </a:lnTo>
                  <a:lnTo>
                    <a:pt x="129" y="247"/>
                  </a:lnTo>
                  <a:lnTo>
                    <a:pt x="135" y="233"/>
                  </a:lnTo>
                  <a:lnTo>
                    <a:pt x="133" y="163"/>
                  </a:lnTo>
                  <a:lnTo>
                    <a:pt x="142" y="158"/>
                  </a:lnTo>
                  <a:lnTo>
                    <a:pt x="144" y="59"/>
                  </a:lnTo>
                  <a:lnTo>
                    <a:pt x="137" y="17"/>
                  </a:lnTo>
                  <a:lnTo>
                    <a:pt x="165" y="0"/>
                  </a:lnTo>
                  <a:lnTo>
                    <a:pt x="176" y="17"/>
                  </a:lnTo>
                  <a:lnTo>
                    <a:pt x="188" y="42"/>
                  </a:lnTo>
                  <a:lnTo>
                    <a:pt x="186" y="80"/>
                  </a:lnTo>
                  <a:lnTo>
                    <a:pt x="211" y="150"/>
                  </a:lnTo>
                  <a:lnTo>
                    <a:pt x="230" y="15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1" name="Freeform 237"/>
            <p:cNvSpPr>
              <a:spLocks/>
            </p:cNvSpPr>
            <p:nvPr/>
          </p:nvSpPr>
          <p:spPr bwMode="auto">
            <a:xfrm>
              <a:off x="1790841" y="5424818"/>
              <a:ext cx="120177" cy="101270"/>
            </a:xfrm>
            <a:custGeom>
              <a:avLst/>
              <a:gdLst>
                <a:gd name="T0" fmla="*/ 2147483647 w 221"/>
                <a:gd name="T1" fmla="*/ 0 h 161"/>
                <a:gd name="T2" fmla="*/ 2147483647 w 221"/>
                <a:gd name="T3" fmla="*/ 2147483647 h 161"/>
                <a:gd name="T4" fmla="*/ 2147483647 w 221"/>
                <a:gd name="T5" fmla="*/ 2147483647 h 161"/>
                <a:gd name="T6" fmla="*/ 2147483647 w 221"/>
                <a:gd name="T7" fmla="*/ 2147483647 h 161"/>
                <a:gd name="T8" fmla="*/ 2147483647 w 221"/>
                <a:gd name="T9" fmla="*/ 2147483647 h 161"/>
                <a:gd name="T10" fmla="*/ 2147483647 w 221"/>
                <a:gd name="T11" fmla="*/ 2147483647 h 161"/>
                <a:gd name="T12" fmla="*/ 2147483647 w 221"/>
                <a:gd name="T13" fmla="*/ 2147483647 h 161"/>
                <a:gd name="T14" fmla="*/ 2147483647 w 221"/>
                <a:gd name="T15" fmla="*/ 2147483647 h 161"/>
                <a:gd name="T16" fmla="*/ 2147483647 w 221"/>
                <a:gd name="T17" fmla="*/ 2147483647 h 161"/>
                <a:gd name="T18" fmla="*/ 2147483647 w 221"/>
                <a:gd name="T19" fmla="*/ 2147483647 h 161"/>
                <a:gd name="T20" fmla="*/ 2147483647 w 221"/>
                <a:gd name="T21" fmla="*/ 2147483647 h 161"/>
                <a:gd name="T22" fmla="*/ 2147483647 w 221"/>
                <a:gd name="T23" fmla="*/ 2147483647 h 161"/>
                <a:gd name="T24" fmla="*/ 2147483647 w 221"/>
                <a:gd name="T25" fmla="*/ 2147483647 h 161"/>
                <a:gd name="T26" fmla="*/ 2147483647 w 221"/>
                <a:gd name="T27" fmla="*/ 2147483647 h 161"/>
                <a:gd name="T28" fmla="*/ 2147483647 w 221"/>
                <a:gd name="T29" fmla="*/ 2147483647 h 161"/>
                <a:gd name="T30" fmla="*/ 2147483647 w 221"/>
                <a:gd name="T31" fmla="*/ 2147483647 h 161"/>
                <a:gd name="T32" fmla="*/ 2147483647 w 221"/>
                <a:gd name="T33" fmla="*/ 2147483647 h 161"/>
                <a:gd name="T34" fmla="*/ 2147483647 w 221"/>
                <a:gd name="T35" fmla="*/ 2147483647 h 161"/>
                <a:gd name="T36" fmla="*/ 2147483647 w 221"/>
                <a:gd name="T37" fmla="*/ 2147483647 h 161"/>
                <a:gd name="T38" fmla="*/ 2147483647 w 221"/>
                <a:gd name="T39" fmla="*/ 2147483647 h 161"/>
                <a:gd name="T40" fmla="*/ 2147483647 w 221"/>
                <a:gd name="T41" fmla="*/ 2147483647 h 161"/>
                <a:gd name="T42" fmla="*/ 2147483647 w 221"/>
                <a:gd name="T43" fmla="*/ 2147483647 h 161"/>
                <a:gd name="T44" fmla="*/ 2147483647 w 221"/>
                <a:gd name="T45" fmla="*/ 2147483647 h 161"/>
                <a:gd name="T46" fmla="*/ 2147483647 w 221"/>
                <a:gd name="T47" fmla="*/ 2147483647 h 161"/>
                <a:gd name="T48" fmla="*/ 2147483647 w 221"/>
                <a:gd name="T49" fmla="*/ 2147483647 h 161"/>
                <a:gd name="T50" fmla="*/ 2147483647 w 221"/>
                <a:gd name="T51" fmla="*/ 2147483647 h 161"/>
                <a:gd name="T52" fmla="*/ 2147483647 w 221"/>
                <a:gd name="T53" fmla="*/ 2147483647 h 161"/>
                <a:gd name="T54" fmla="*/ 2147483647 w 221"/>
                <a:gd name="T55" fmla="*/ 2147483647 h 161"/>
                <a:gd name="T56" fmla="*/ 2147483647 w 221"/>
                <a:gd name="T57" fmla="*/ 2147483647 h 161"/>
                <a:gd name="T58" fmla="*/ 2147483647 w 221"/>
                <a:gd name="T59" fmla="*/ 2147483647 h 161"/>
                <a:gd name="T60" fmla="*/ 2147483647 w 221"/>
                <a:gd name="T61" fmla="*/ 2147483647 h 161"/>
                <a:gd name="T62" fmla="*/ 2147483647 w 221"/>
                <a:gd name="T63" fmla="*/ 2147483647 h 161"/>
                <a:gd name="T64" fmla="*/ 2147483647 w 221"/>
                <a:gd name="T65" fmla="*/ 2147483647 h 161"/>
                <a:gd name="T66" fmla="*/ 0 w 221"/>
                <a:gd name="T67" fmla="*/ 2147483647 h 161"/>
                <a:gd name="T68" fmla="*/ 0 w 221"/>
                <a:gd name="T69" fmla="*/ 2147483647 h 161"/>
                <a:gd name="T70" fmla="*/ 2147483647 w 221"/>
                <a:gd name="T71" fmla="*/ 2147483647 h 161"/>
                <a:gd name="T72" fmla="*/ 2147483647 w 221"/>
                <a:gd name="T73" fmla="*/ 2147483647 h 161"/>
                <a:gd name="T74" fmla="*/ 2147483647 w 221"/>
                <a:gd name="T75" fmla="*/ 2147483647 h 161"/>
                <a:gd name="T76" fmla="*/ 2147483647 w 221"/>
                <a:gd name="T77" fmla="*/ 2147483647 h 161"/>
                <a:gd name="T78" fmla="*/ 2147483647 w 221"/>
                <a:gd name="T79" fmla="*/ 2147483647 h 161"/>
                <a:gd name="T80" fmla="*/ 2147483647 w 221"/>
                <a:gd name="T81" fmla="*/ 2147483647 h 161"/>
                <a:gd name="T82" fmla="*/ 2147483647 w 221"/>
                <a:gd name="T83" fmla="*/ 2147483647 h 161"/>
                <a:gd name="T84" fmla="*/ 2147483647 w 221"/>
                <a:gd name="T85" fmla="*/ 2147483647 h 161"/>
                <a:gd name="T86" fmla="*/ 2147483647 w 221"/>
                <a:gd name="T87" fmla="*/ 0 h 16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21"/>
                <a:gd name="T133" fmla="*/ 0 h 161"/>
                <a:gd name="T134" fmla="*/ 221 w 221"/>
                <a:gd name="T135" fmla="*/ 161 h 16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21" h="161">
                  <a:moveTo>
                    <a:pt x="170" y="0"/>
                  </a:moveTo>
                  <a:lnTo>
                    <a:pt x="168" y="112"/>
                  </a:lnTo>
                  <a:lnTo>
                    <a:pt x="158" y="116"/>
                  </a:lnTo>
                  <a:lnTo>
                    <a:pt x="177" y="116"/>
                  </a:lnTo>
                  <a:lnTo>
                    <a:pt x="211" y="120"/>
                  </a:lnTo>
                  <a:lnTo>
                    <a:pt x="221" y="129"/>
                  </a:lnTo>
                  <a:lnTo>
                    <a:pt x="211" y="137"/>
                  </a:lnTo>
                  <a:lnTo>
                    <a:pt x="190" y="131"/>
                  </a:lnTo>
                  <a:lnTo>
                    <a:pt x="183" y="125"/>
                  </a:lnTo>
                  <a:lnTo>
                    <a:pt x="177" y="137"/>
                  </a:lnTo>
                  <a:lnTo>
                    <a:pt x="189" y="144"/>
                  </a:lnTo>
                  <a:lnTo>
                    <a:pt x="190" y="161"/>
                  </a:lnTo>
                  <a:lnTo>
                    <a:pt x="181" y="154"/>
                  </a:lnTo>
                  <a:lnTo>
                    <a:pt x="166" y="156"/>
                  </a:lnTo>
                  <a:lnTo>
                    <a:pt x="160" y="139"/>
                  </a:lnTo>
                  <a:lnTo>
                    <a:pt x="154" y="137"/>
                  </a:lnTo>
                  <a:lnTo>
                    <a:pt x="152" y="154"/>
                  </a:lnTo>
                  <a:lnTo>
                    <a:pt x="130" y="139"/>
                  </a:lnTo>
                  <a:lnTo>
                    <a:pt x="135" y="120"/>
                  </a:lnTo>
                  <a:lnTo>
                    <a:pt x="130" y="116"/>
                  </a:lnTo>
                  <a:lnTo>
                    <a:pt x="120" y="127"/>
                  </a:lnTo>
                  <a:lnTo>
                    <a:pt x="101" y="116"/>
                  </a:lnTo>
                  <a:lnTo>
                    <a:pt x="120" y="116"/>
                  </a:lnTo>
                  <a:lnTo>
                    <a:pt x="118" y="106"/>
                  </a:lnTo>
                  <a:lnTo>
                    <a:pt x="99" y="99"/>
                  </a:lnTo>
                  <a:lnTo>
                    <a:pt x="80" y="102"/>
                  </a:lnTo>
                  <a:lnTo>
                    <a:pt x="76" y="91"/>
                  </a:lnTo>
                  <a:lnTo>
                    <a:pt x="97" y="83"/>
                  </a:lnTo>
                  <a:lnTo>
                    <a:pt x="75" y="70"/>
                  </a:lnTo>
                  <a:lnTo>
                    <a:pt x="57" y="76"/>
                  </a:lnTo>
                  <a:lnTo>
                    <a:pt x="38" y="68"/>
                  </a:lnTo>
                  <a:lnTo>
                    <a:pt x="25" y="49"/>
                  </a:lnTo>
                  <a:lnTo>
                    <a:pt x="37" y="40"/>
                  </a:lnTo>
                  <a:lnTo>
                    <a:pt x="0" y="23"/>
                  </a:lnTo>
                  <a:lnTo>
                    <a:pt x="0" y="11"/>
                  </a:lnTo>
                  <a:lnTo>
                    <a:pt x="107" y="74"/>
                  </a:lnTo>
                  <a:lnTo>
                    <a:pt x="164" y="95"/>
                  </a:lnTo>
                  <a:lnTo>
                    <a:pt x="135" y="72"/>
                  </a:lnTo>
                  <a:lnTo>
                    <a:pt x="133" y="53"/>
                  </a:lnTo>
                  <a:lnTo>
                    <a:pt x="151" y="38"/>
                  </a:lnTo>
                  <a:lnTo>
                    <a:pt x="122" y="40"/>
                  </a:lnTo>
                  <a:lnTo>
                    <a:pt x="130" y="6"/>
                  </a:lnTo>
                  <a:lnTo>
                    <a:pt x="151" y="2"/>
                  </a:lnTo>
                  <a:lnTo>
                    <a:pt x="17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2" name="Freeform 238"/>
            <p:cNvSpPr>
              <a:spLocks/>
            </p:cNvSpPr>
            <p:nvPr/>
          </p:nvSpPr>
          <p:spPr bwMode="auto">
            <a:xfrm>
              <a:off x="1850378" y="5452755"/>
              <a:ext cx="8820" cy="17460"/>
            </a:xfrm>
            <a:custGeom>
              <a:avLst/>
              <a:gdLst>
                <a:gd name="T0" fmla="*/ 2147483647 w 15"/>
                <a:gd name="T1" fmla="*/ 0 h 26"/>
                <a:gd name="T2" fmla="*/ 2147483647 w 15"/>
                <a:gd name="T3" fmla="*/ 2147483647 h 26"/>
                <a:gd name="T4" fmla="*/ 2147483647 w 15"/>
                <a:gd name="T5" fmla="*/ 2147483647 h 26"/>
                <a:gd name="T6" fmla="*/ 2147483647 w 15"/>
                <a:gd name="T7" fmla="*/ 2147483647 h 26"/>
                <a:gd name="T8" fmla="*/ 0 w 15"/>
                <a:gd name="T9" fmla="*/ 2147483647 h 26"/>
                <a:gd name="T10" fmla="*/ 0 w 15"/>
                <a:gd name="T11" fmla="*/ 2147483647 h 26"/>
                <a:gd name="T12" fmla="*/ 2147483647 w 15"/>
                <a:gd name="T13" fmla="*/ 2147483647 h 26"/>
                <a:gd name="T14" fmla="*/ 2147483647 w 15"/>
                <a:gd name="T15" fmla="*/ 0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26"/>
                <a:gd name="T26" fmla="*/ 15 w 15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26">
                  <a:moveTo>
                    <a:pt x="11" y="0"/>
                  </a:moveTo>
                  <a:lnTo>
                    <a:pt x="15" y="20"/>
                  </a:lnTo>
                  <a:lnTo>
                    <a:pt x="9" y="17"/>
                  </a:lnTo>
                  <a:lnTo>
                    <a:pt x="11" y="26"/>
                  </a:lnTo>
                  <a:lnTo>
                    <a:pt x="0" y="22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3" name="Freeform 239"/>
            <p:cNvSpPr>
              <a:spLocks/>
            </p:cNvSpPr>
            <p:nvPr/>
          </p:nvSpPr>
          <p:spPr bwMode="auto">
            <a:xfrm>
              <a:off x="1613333" y="4115287"/>
              <a:ext cx="54025" cy="50053"/>
            </a:xfrm>
            <a:custGeom>
              <a:avLst/>
              <a:gdLst>
                <a:gd name="T0" fmla="*/ 2147483647 w 98"/>
                <a:gd name="T1" fmla="*/ 2147483647 h 80"/>
                <a:gd name="T2" fmla="*/ 2147483647 w 98"/>
                <a:gd name="T3" fmla="*/ 2147483647 h 80"/>
                <a:gd name="T4" fmla="*/ 2147483647 w 98"/>
                <a:gd name="T5" fmla="*/ 2147483647 h 80"/>
                <a:gd name="T6" fmla="*/ 2147483647 w 98"/>
                <a:gd name="T7" fmla="*/ 2147483647 h 80"/>
                <a:gd name="T8" fmla="*/ 2147483647 w 98"/>
                <a:gd name="T9" fmla="*/ 2147483647 h 80"/>
                <a:gd name="T10" fmla="*/ 2147483647 w 98"/>
                <a:gd name="T11" fmla="*/ 2147483647 h 80"/>
                <a:gd name="T12" fmla="*/ 2147483647 w 98"/>
                <a:gd name="T13" fmla="*/ 2147483647 h 80"/>
                <a:gd name="T14" fmla="*/ 2147483647 w 98"/>
                <a:gd name="T15" fmla="*/ 2147483647 h 80"/>
                <a:gd name="T16" fmla="*/ 2147483647 w 98"/>
                <a:gd name="T17" fmla="*/ 2147483647 h 80"/>
                <a:gd name="T18" fmla="*/ 2147483647 w 98"/>
                <a:gd name="T19" fmla="*/ 2147483647 h 80"/>
                <a:gd name="T20" fmla="*/ 0 w 98"/>
                <a:gd name="T21" fmla="*/ 2147483647 h 80"/>
                <a:gd name="T22" fmla="*/ 2147483647 w 98"/>
                <a:gd name="T23" fmla="*/ 2147483647 h 80"/>
                <a:gd name="T24" fmla="*/ 0 w 98"/>
                <a:gd name="T25" fmla="*/ 2147483647 h 80"/>
                <a:gd name="T26" fmla="*/ 2147483647 w 98"/>
                <a:gd name="T27" fmla="*/ 0 h 80"/>
                <a:gd name="T28" fmla="*/ 2147483647 w 98"/>
                <a:gd name="T29" fmla="*/ 0 h 80"/>
                <a:gd name="T30" fmla="*/ 2147483647 w 98"/>
                <a:gd name="T31" fmla="*/ 2147483647 h 80"/>
                <a:gd name="T32" fmla="*/ 2147483647 w 98"/>
                <a:gd name="T33" fmla="*/ 2147483647 h 80"/>
                <a:gd name="T34" fmla="*/ 2147483647 w 98"/>
                <a:gd name="T35" fmla="*/ 2147483647 h 80"/>
                <a:gd name="T36" fmla="*/ 2147483647 w 98"/>
                <a:gd name="T37" fmla="*/ 2147483647 h 80"/>
                <a:gd name="T38" fmla="*/ 2147483647 w 98"/>
                <a:gd name="T39" fmla="*/ 2147483647 h 80"/>
                <a:gd name="T40" fmla="*/ 2147483647 w 98"/>
                <a:gd name="T41" fmla="*/ 2147483647 h 80"/>
                <a:gd name="T42" fmla="*/ 2147483647 w 98"/>
                <a:gd name="T43" fmla="*/ 2147483647 h 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80"/>
                <a:gd name="T68" fmla="*/ 98 w 98"/>
                <a:gd name="T69" fmla="*/ 80 h 8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80">
                  <a:moveTo>
                    <a:pt x="85" y="78"/>
                  </a:moveTo>
                  <a:lnTo>
                    <a:pt x="79" y="68"/>
                  </a:lnTo>
                  <a:lnTo>
                    <a:pt x="79" y="80"/>
                  </a:lnTo>
                  <a:lnTo>
                    <a:pt x="60" y="74"/>
                  </a:lnTo>
                  <a:lnTo>
                    <a:pt x="68" y="68"/>
                  </a:lnTo>
                  <a:lnTo>
                    <a:pt x="45" y="50"/>
                  </a:lnTo>
                  <a:lnTo>
                    <a:pt x="36" y="34"/>
                  </a:lnTo>
                  <a:lnTo>
                    <a:pt x="34" y="44"/>
                  </a:lnTo>
                  <a:lnTo>
                    <a:pt x="26" y="53"/>
                  </a:lnTo>
                  <a:lnTo>
                    <a:pt x="5" y="40"/>
                  </a:lnTo>
                  <a:lnTo>
                    <a:pt x="0" y="27"/>
                  </a:lnTo>
                  <a:lnTo>
                    <a:pt x="9" y="17"/>
                  </a:lnTo>
                  <a:lnTo>
                    <a:pt x="0" y="13"/>
                  </a:lnTo>
                  <a:lnTo>
                    <a:pt x="5" y="0"/>
                  </a:lnTo>
                  <a:lnTo>
                    <a:pt x="38" y="0"/>
                  </a:lnTo>
                  <a:lnTo>
                    <a:pt x="60" y="10"/>
                  </a:lnTo>
                  <a:lnTo>
                    <a:pt x="66" y="2"/>
                  </a:lnTo>
                  <a:lnTo>
                    <a:pt x="72" y="8"/>
                  </a:lnTo>
                  <a:lnTo>
                    <a:pt x="85" y="36"/>
                  </a:lnTo>
                  <a:lnTo>
                    <a:pt x="98" y="46"/>
                  </a:lnTo>
                  <a:lnTo>
                    <a:pt x="85" y="51"/>
                  </a:lnTo>
                  <a:lnTo>
                    <a:pt x="85" y="7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4" name="Freeform 240"/>
            <p:cNvSpPr>
              <a:spLocks/>
            </p:cNvSpPr>
            <p:nvPr/>
          </p:nvSpPr>
          <p:spPr bwMode="auto">
            <a:xfrm>
              <a:off x="1827225" y="3952323"/>
              <a:ext cx="58435" cy="48889"/>
            </a:xfrm>
            <a:custGeom>
              <a:avLst/>
              <a:gdLst>
                <a:gd name="T0" fmla="*/ 2147483647 w 106"/>
                <a:gd name="T1" fmla="*/ 2147483647 h 78"/>
                <a:gd name="T2" fmla="*/ 2147483647 w 106"/>
                <a:gd name="T3" fmla="*/ 0 h 78"/>
                <a:gd name="T4" fmla="*/ 2147483647 w 106"/>
                <a:gd name="T5" fmla="*/ 2147483647 h 78"/>
                <a:gd name="T6" fmla="*/ 2147483647 w 106"/>
                <a:gd name="T7" fmla="*/ 0 h 78"/>
                <a:gd name="T8" fmla="*/ 2147483647 w 106"/>
                <a:gd name="T9" fmla="*/ 2147483647 h 78"/>
                <a:gd name="T10" fmla="*/ 2147483647 w 106"/>
                <a:gd name="T11" fmla="*/ 2147483647 h 78"/>
                <a:gd name="T12" fmla="*/ 2147483647 w 106"/>
                <a:gd name="T13" fmla="*/ 2147483647 h 78"/>
                <a:gd name="T14" fmla="*/ 2147483647 w 106"/>
                <a:gd name="T15" fmla="*/ 2147483647 h 78"/>
                <a:gd name="T16" fmla="*/ 2147483647 w 106"/>
                <a:gd name="T17" fmla="*/ 2147483647 h 78"/>
                <a:gd name="T18" fmla="*/ 2147483647 w 106"/>
                <a:gd name="T19" fmla="*/ 2147483647 h 78"/>
                <a:gd name="T20" fmla="*/ 2147483647 w 106"/>
                <a:gd name="T21" fmla="*/ 2147483647 h 78"/>
                <a:gd name="T22" fmla="*/ 2147483647 w 106"/>
                <a:gd name="T23" fmla="*/ 2147483647 h 78"/>
                <a:gd name="T24" fmla="*/ 2147483647 w 106"/>
                <a:gd name="T25" fmla="*/ 2147483647 h 78"/>
                <a:gd name="T26" fmla="*/ 2147483647 w 106"/>
                <a:gd name="T27" fmla="*/ 2147483647 h 78"/>
                <a:gd name="T28" fmla="*/ 2147483647 w 106"/>
                <a:gd name="T29" fmla="*/ 2147483647 h 78"/>
                <a:gd name="T30" fmla="*/ 2147483647 w 106"/>
                <a:gd name="T31" fmla="*/ 2147483647 h 78"/>
                <a:gd name="T32" fmla="*/ 0 w 106"/>
                <a:gd name="T33" fmla="*/ 2147483647 h 78"/>
                <a:gd name="T34" fmla="*/ 2147483647 w 106"/>
                <a:gd name="T35" fmla="*/ 2147483647 h 78"/>
                <a:gd name="T36" fmla="*/ 2147483647 w 106"/>
                <a:gd name="T37" fmla="*/ 2147483647 h 7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6"/>
                <a:gd name="T58" fmla="*/ 0 h 78"/>
                <a:gd name="T59" fmla="*/ 106 w 106"/>
                <a:gd name="T60" fmla="*/ 78 h 7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6" h="78">
                  <a:moveTo>
                    <a:pt x="4" y="6"/>
                  </a:moveTo>
                  <a:lnTo>
                    <a:pt x="9" y="0"/>
                  </a:lnTo>
                  <a:lnTo>
                    <a:pt x="46" y="6"/>
                  </a:lnTo>
                  <a:lnTo>
                    <a:pt x="59" y="0"/>
                  </a:lnTo>
                  <a:lnTo>
                    <a:pt x="68" y="11"/>
                  </a:lnTo>
                  <a:lnTo>
                    <a:pt x="80" y="13"/>
                  </a:lnTo>
                  <a:lnTo>
                    <a:pt x="84" y="23"/>
                  </a:lnTo>
                  <a:lnTo>
                    <a:pt x="106" y="28"/>
                  </a:lnTo>
                  <a:lnTo>
                    <a:pt x="101" y="42"/>
                  </a:lnTo>
                  <a:lnTo>
                    <a:pt x="93" y="49"/>
                  </a:lnTo>
                  <a:lnTo>
                    <a:pt x="87" y="40"/>
                  </a:lnTo>
                  <a:lnTo>
                    <a:pt x="68" y="40"/>
                  </a:lnTo>
                  <a:lnTo>
                    <a:pt x="44" y="53"/>
                  </a:lnTo>
                  <a:lnTo>
                    <a:pt x="40" y="44"/>
                  </a:lnTo>
                  <a:lnTo>
                    <a:pt x="30" y="51"/>
                  </a:lnTo>
                  <a:lnTo>
                    <a:pt x="19" y="78"/>
                  </a:lnTo>
                  <a:lnTo>
                    <a:pt x="0" y="46"/>
                  </a:lnTo>
                  <a:lnTo>
                    <a:pt x="6" y="27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5" name="Freeform 241"/>
            <p:cNvSpPr>
              <a:spLocks/>
            </p:cNvSpPr>
            <p:nvPr/>
          </p:nvSpPr>
          <p:spPr bwMode="auto">
            <a:xfrm>
              <a:off x="1687202" y="4287563"/>
              <a:ext cx="92613" cy="115238"/>
            </a:xfrm>
            <a:custGeom>
              <a:avLst/>
              <a:gdLst>
                <a:gd name="T0" fmla="*/ 2147483647 w 168"/>
                <a:gd name="T1" fmla="*/ 2147483647 h 184"/>
                <a:gd name="T2" fmla="*/ 2147483647 w 168"/>
                <a:gd name="T3" fmla="*/ 2147483647 h 184"/>
                <a:gd name="T4" fmla="*/ 2147483647 w 168"/>
                <a:gd name="T5" fmla="*/ 2147483647 h 184"/>
                <a:gd name="T6" fmla="*/ 2147483647 w 168"/>
                <a:gd name="T7" fmla="*/ 2147483647 h 184"/>
                <a:gd name="T8" fmla="*/ 0 w 168"/>
                <a:gd name="T9" fmla="*/ 2147483647 h 184"/>
                <a:gd name="T10" fmla="*/ 2147483647 w 168"/>
                <a:gd name="T11" fmla="*/ 2147483647 h 184"/>
                <a:gd name="T12" fmla="*/ 2147483647 w 168"/>
                <a:gd name="T13" fmla="*/ 2147483647 h 184"/>
                <a:gd name="T14" fmla="*/ 2147483647 w 168"/>
                <a:gd name="T15" fmla="*/ 2147483647 h 184"/>
                <a:gd name="T16" fmla="*/ 2147483647 w 168"/>
                <a:gd name="T17" fmla="*/ 2147483647 h 184"/>
                <a:gd name="T18" fmla="*/ 2147483647 w 168"/>
                <a:gd name="T19" fmla="*/ 2147483647 h 184"/>
                <a:gd name="T20" fmla="*/ 2147483647 w 168"/>
                <a:gd name="T21" fmla="*/ 0 h 184"/>
                <a:gd name="T22" fmla="*/ 2147483647 w 168"/>
                <a:gd name="T23" fmla="*/ 2147483647 h 184"/>
                <a:gd name="T24" fmla="*/ 2147483647 w 168"/>
                <a:gd name="T25" fmla="*/ 2147483647 h 184"/>
                <a:gd name="T26" fmla="*/ 2147483647 w 168"/>
                <a:gd name="T27" fmla="*/ 2147483647 h 184"/>
                <a:gd name="T28" fmla="*/ 2147483647 w 168"/>
                <a:gd name="T29" fmla="*/ 2147483647 h 184"/>
                <a:gd name="T30" fmla="*/ 2147483647 w 168"/>
                <a:gd name="T31" fmla="*/ 2147483647 h 184"/>
                <a:gd name="T32" fmla="*/ 2147483647 w 168"/>
                <a:gd name="T33" fmla="*/ 2147483647 h 184"/>
                <a:gd name="T34" fmla="*/ 2147483647 w 168"/>
                <a:gd name="T35" fmla="*/ 2147483647 h 184"/>
                <a:gd name="T36" fmla="*/ 2147483647 w 168"/>
                <a:gd name="T37" fmla="*/ 2147483647 h 184"/>
                <a:gd name="T38" fmla="*/ 2147483647 w 168"/>
                <a:gd name="T39" fmla="*/ 2147483647 h 184"/>
                <a:gd name="T40" fmla="*/ 2147483647 w 168"/>
                <a:gd name="T41" fmla="*/ 2147483647 h 184"/>
                <a:gd name="T42" fmla="*/ 2147483647 w 168"/>
                <a:gd name="T43" fmla="*/ 2147483647 h 184"/>
                <a:gd name="T44" fmla="*/ 2147483647 w 168"/>
                <a:gd name="T45" fmla="*/ 2147483647 h 18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8"/>
                <a:gd name="T70" fmla="*/ 0 h 184"/>
                <a:gd name="T71" fmla="*/ 168 w 168"/>
                <a:gd name="T72" fmla="*/ 184 h 18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8" h="184">
                  <a:moveTo>
                    <a:pt x="25" y="142"/>
                  </a:moveTo>
                  <a:lnTo>
                    <a:pt x="40" y="121"/>
                  </a:lnTo>
                  <a:lnTo>
                    <a:pt x="38" y="106"/>
                  </a:lnTo>
                  <a:lnTo>
                    <a:pt x="19" y="117"/>
                  </a:lnTo>
                  <a:lnTo>
                    <a:pt x="0" y="108"/>
                  </a:lnTo>
                  <a:lnTo>
                    <a:pt x="10" y="87"/>
                  </a:lnTo>
                  <a:lnTo>
                    <a:pt x="6" y="70"/>
                  </a:lnTo>
                  <a:lnTo>
                    <a:pt x="19" y="64"/>
                  </a:lnTo>
                  <a:lnTo>
                    <a:pt x="33" y="34"/>
                  </a:lnTo>
                  <a:lnTo>
                    <a:pt x="25" y="17"/>
                  </a:lnTo>
                  <a:lnTo>
                    <a:pt x="65" y="0"/>
                  </a:lnTo>
                  <a:lnTo>
                    <a:pt x="93" y="19"/>
                  </a:lnTo>
                  <a:lnTo>
                    <a:pt x="101" y="34"/>
                  </a:lnTo>
                  <a:lnTo>
                    <a:pt x="122" y="24"/>
                  </a:lnTo>
                  <a:lnTo>
                    <a:pt x="168" y="47"/>
                  </a:lnTo>
                  <a:lnTo>
                    <a:pt x="166" y="70"/>
                  </a:lnTo>
                  <a:lnTo>
                    <a:pt x="124" y="117"/>
                  </a:lnTo>
                  <a:lnTo>
                    <a:pt x="80" y="140"/>
                  </a:lnTo>
                  <a:lnTo>
                    <a:pt x="65" y="184"/>
                  </a:lnTo>
                  <a:lnTo>
                    <a:pt x="21" y="176"/>
                  </a:lnTo>
                  <a:lnTo>
                    <a:pt x="19" y="161"/>
                  </a:lnTo>
                  <a:lnTo>
                    <a:pt x="29" y="153"/>
                  </a:lnTo>
                  <a:lnTo>
                    <a:pt x="25" y="14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6" name="Freeform 242"/>
            <p:cNvSpPr>
              <a:spLocks/>
            </p:cNvSpPr>
            <p:nvPr/>
          </p:nvSpPr>
          <p:spPr bwMode="auto">
            <a:xfrm>
              <a:off x="1528437" y="4310844"/>
              <a:ext cx="11025" cy="30265"/>
            </a:xfrm>
            <a:custGeom>
              <a:avLst/>
              <a:gdLst>
                <a:gd name="T0" fmla="*/ 2147483647 w 21"/>
                <a:gd name="T1" fmla="*/ 0 h 47"/>
                <a:gd name="T2" fmla="*/ 2147483647 w 21"/>
                <a:gd name="T3" fmla="*/ 2147483647 h 47"/>
                <a:gd name="T4" fmla="*/ 2147483647 w 21"/>
                <a:gd name="T5" fmla="*/ 2147483647 h 47"/>
                <a:gd name="T6" fmla="*/ 0 w 21"/>
                <a:gd name="T7" fmla="*/ 2147483647 h 47"/>
                <a:gd name="T8" fmla="*/ 2147483647 w 21"/>
                <a:gd name="T9" fmla="*/ 2147483647 h 47"/>
                <a:gd name="T10" fmla="*/ 0 w 21"/>
                <a:gd name="T11" fmla="*/ 2147483647 h 47"/>
                <a:gd name="T12" fmla="*/ 2147483647 w 21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47"/>
                <a:gd name="T23" fmla="*/ 21 w 21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47">
                  <a:moveTo>
                    <a:pt x="5" y="0"/>
                  </a:moveTo>
                  <a:lnTo>
                    <a:pt x="21" y="32"/>
                  </a:lnTo>
                  <a:lnTo>
                    <a:pt x="5" y="47"/>
                  </a:lnTo>
                  <a:lnTo>
                    <a:pt x="0" y="36"/>
                  </a:lnTo>
                  <a:lnTo>
                    <a:pt x="9" y="30"/>
                  </a:lnTo>
                  <a:lnTo>
                    <a:pt x="0" y="7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7" name="Freeform 243"/>
            <p:cNvSpPr>
              <a:spLocks/>
            </p:cNvSpPr>
            <p:nvPr/>
          </p:nvSpPr>
          <p:spPr bwMode="auto">
            <a:xfrm>
              <a:off x="1541668" y="4324812"/>
              <a:ext cx="7718" cy="9312"/>
            </a:xfrm>
            <a:custGeom>
              <a:avLst/>
              <a:gdLst>
                <a:gd name="T0" fmla="*/ 2147483647 w 14"/>
                <a:gd name="T1" fmla="*/ 0 h 14"/>
                <a:gd name="T2" fmla="*/ 2147483647 w 14"/>
                <a:gd name="T3" fmla="*/ 2147483647 h 14"/>
                <a:gd name="T4" fmla="*/ 2147483647 w 14"/>
                <a:gd name="T5" fmla="*/ 2147483647 h 14"/>
                <a:gd name="T6" fmla="*/ 0 w 14"/>
                <a:gd name="T7" fmla="*/ 0 h 14"/>
                <a:gd name="T8" fmla="*/ 2147483647 w 1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4"/>
                <a:gd name="T17" fmla="*/ 14 w 1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4">
                  <a:moveTo>
                    <a:pt x="6" y="0"/>
                  </a:moveTo>
                  <a:lnTo>
                    <a:pt x="14" y="8"/>
                  </a:lnTo>
                  <a:lnTo>
                    <a:pt x="8" y="14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8" name="Freeform 244"/>
            <p:cNvSpPr>
              <a:spLocks/>
            </p:cNvSpPr>
            <p:nvPr/>
          </p:nvSpPr>
          <p:spPr bwMode="auto">
            <a:xfrm>
              <a:off x="1544976" y="4053594"/>
              <a:ext cx="37486" cy="26772"/>
            </a:xfrm>
            <a:custGeom>
              <a:avLst/>
              <a:gdLst>
                <a:gd name="T0" fmla="*/ 2147483647 w 70"/>
                <a:gd name="T1" fmla="*/ 2147483647 h 44"/>
                <a:gd name="T2" fmla="*/ 2147483647 w 70"/>
                <a:gd name="T3" fmla="*/ 2147483647 h 44"/>
                <a:gd name="T4" fmla="*/ 2147483647 w 70"/>
                <a:gd name="T5" fmla="*/ 2147483647 h 44"/>
                <a:gd name="T6" fmla="*/ 0 w 70"/>
                <a:gd name="T7" fmla="*/ 2147483647 h 44"/>
                <a:gd name="T8" fmla="*/ 2147483647 w 70"/>
                <a:gd name="T9" fmla="*/ 2147483647 h 44"/>
                <a:gd name="T10" fmla="*/ 2147483647 w 70"/>
                <a:gd name="T11" fmla="*/ 0 h 44"/>
                <a:gd name="T12" fmla="*/ 2147483647 w 70"/>
                <a:gd name="T13" fmla="*/ 0 h 44"/>
                <a:gd name="T14" fmla="*/ 2147483647 w 70"/>
                <a:gd name="T15" fmla="*/ 2147483647 h 44"/>
                <a:gd name="T16" fmla="*/ 2147483647 w 70"/>
                <a:gd name="T17" fmla="*/ 2147483647 h 44"/>
                <a:gd name="T18" fmla="*/ 2147483647 w 70"/>
                <a:gd name="T19" fmla="*/ 2147483647 h 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44"/>
                <a:gd name="T32" fmla="*/ 70 w 70"/>
                <a:gd name="T33" fmla="*/ 44 h 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44">
                  <a:moveTo>
                    <a:pt x="69" y="33"/>
                  </a:moveTo>
                  <a:lnTo>
                    <a:pt x="69" y="40"/>
                  </a:lnTo>
                  <a:lnTo>
                    <a:pt x="46" y="44"/>
                  </a:lnTo>
                  <a:lnTo>
                    <a:pt x="0" y="21"/>
                  </a:lnTo>
                  <a:lnTo>
                    <a:pt x="19" y="14"/>
                  </a:lnTo>
                  <a:lnTo>
                    <a:pt x="23" y="0"/>
                  </a:lnTo>
                  <a:lnTo>
                    <a:pt x="38" y="0"/>
                  </a:lnTo>
                  <a:lnTo>
                    <a:pt x="53" y="14"/>
                  </a:lnTo>
                  <a:lnTo>
                    <a:pt x="70" y="14"/>
                  </a:lnTo>
                  <a:lnTo>
                    <a:pt x="69" y="3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69" name="Freeform 245"/>
            <p:cNvSpPr>
              <a:spLocks/>
            </p:cNvSpPr>
            <p:nvPr/>
          </p:nvSpPr>
          <p:spPr bwMode="auto">
            <a:xfrm>
              <a:off x="1985990" y="4090843"/>
              <a:ext cx="6615" cy="9312"/>
            </a:xfrm>
            <a:custGeom>
              <a:avLst/>
              <a:gdLst>
                <a:gd name="T0" fmla="*/ 2147483647 w 11"/>
                <a:gd name="T1" fmla="*/ 0 h 15"/>
                <a:gd name="T2" fmla="*/ 2147483647 w 11"/>
                <a:gd name="T3" fmla="*/ 2147483647 h 15"/>
                <a:gd name="T4" fmla="*/ 2147483647 w 11"/>
                <a:gd name="T5" fmla="*/ 2147483647 h 15"/>
                <a:gd name="T6" fmla="*/ 0 w 11"/>
                <a:gd name="T7" fmla="*/ 2147483647 h 15"/>
                <a:gd name="T8" fmla="*/ 2147483647 w 11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5"/>
                <a:gd name="T17" fmla="*/ 11 w 11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5">
                  <a:moveTo>
                    <a:pt x="9" y="0"/>
                  </a:moveTo>
                  <a:lnTo>
                    <a:pt x="11" y="10"/>
                  </a:lnTo>
                  <a:lnTo>
                    <a:pt x="3" y="15"/>
                  </a:lnTo>
                  <a:lnTo>
                    <a:pt x="0" y="1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0" name="Freeform 246"/>
            <p:cNvSpPr>
              <a:spLocks/>
            </p:cNvSpPr>
            <p:nvPr/>
          </p:nvSpPr>
          <p:spPr bwMode="auto">
            <a:xfrm>
              <a:off x="1514105" y="3988408"/>
              <a:ext cx="65050" cy="77989"/>
            </a:xfrm>
            <a:custGeom>
              <a:avLst/>
              <a:gdLst>
                <a:gd name="T0" fmla="*/ 2147483647 w 120"/>
                <a:gd name="T1" fmla="*/ 2147483647 h 125"/>
                <a:gd name="T2" fmla="*/ 2147483647 w 120"/>
                <a:gd name="T3" fmla="*/ 2147483647 h 125"/>
                <a:gd name="T4" fmla="*/ 2147483647 w 120"/>
                <a:gd name="T5" fmla="*/ 2147483647 h 125"/>
                <a:gd name="T6" fmla="*/ 2147483647 w 120"/>
                <a:gd name="T7" fmla="*/ 2147483647 h 125"/>
                <a:gd name="T8" fmla="*/ 2147483647 w 120"/>
                <a:gd name="T9" fmla="*/ 2147483647 h 125"/>
                <a:gd name="T10" fmla="*/ 2147483647 w 120"/>
                <a:gd name="T11" fmla="*/ 2147483647 h 125"/>
                <a:gd name="T12" fmla="*/ 2147483647 w 120"/>
                <a:gd name="T13" fmla="*/ 2147483647 h 125"/>
                <a:gd name="T14" fmla="*/ 2147483647 w 120"/>
                <a:gd name="T15" fmla="*/ 2147483647 h 125"/>
                <a:gd name="T16" fmla="*/ 2147483647 w 120"/>
                <a:gd name="T17" fmla="*/ 2147483647 h 125"/>
                <a:gd name="T18" fmla="*/ 2147483647 w 120"/>
                <a:gd name="T19" fmla="*/ 2147483647 h 125"/>
                <a:gd name="T20" fmla="*/ 2147483647 w 120"/>
                <a:gd name="T21" fmla="*/ 2147483647 h 125"/>
                <a:gd name="T22" fmla="*/ 2147483647 w 120"/>
                <a:gd name="T23" fmla="*/ 2147483647 h 125"/>
                <a:gd name="T24" fmla="*/ 2147483647 w 120"/>
                <a:gd name="T25" fmla="*/ 2147483647 h 125"/>
                <a:gd name="T26" fmla="*/ 2147483647 w 120"/>
                <a:gd name="T27" fmla="*/ 2147483647 h 125"/>
                <a:gd name="T28" fmla="*/ 2147483647 w 120"/>
                <a:gd name="T29" fmla="*/ 2147483647 h 125"/>
                <a:gd name="T30" fmla="*/ 0 w 120"/>
                <a:gd name="T31" fmla="*/ 2147483647 h 125"/>
                <a:gd name="T32" fmla="*/ 2147483647 w 120"/>
                <a:gd name="T33" fmla="*/ 2147483647 h 125"/>
                <a:gd name="T34" fmla="*/ 2147483647 w 120"/>
                <a:gd name="T35" fmla="*/ 2147483647 h 125"/>
                <a:gd name="T36" fmla="*/ 2147483647 w 120"/>
                <a:gd name="T37" fmla="*/ 2147483647 h 125"/>
                <a:gd name="T38" fmla="*/ 2147483647 w 120"/>
                <a:gd name="T39" fmla="*/ 2147483647 h 125"/>
                <a:gd name="T40" fmla="*/ 2147483647 w 120"/>
                <a:gd name="T41" fmla="*/ 0 h 125"/>
                <a:gd name="T42" fmla="*/ 2147483647 w 120"/>
                <a:gd name="T43" fmla="*/ 0 h 125"/>
                <a:gd name="T44" fmla="*/ 2147483647 w 120"/>
                <a:gd name="T45" fmla="*/ 2147483647 h 125"/>
                <a:gd name="T46" fmla="*/ 2147483647 w 120"/>
                <a:gd name="T47" fmla="*/ 2147483647 h 12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0"/>
                <a:gd name="T73" fmla="*/ 0 h 125"/>
                <a:gd name="T74" fmla="*/ 120 w 120"/>
                <a:gd name="T75" fmla="*/ 125 h 12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0" h="125">
                  <a:moveTo>
                    <a:pt x="89" y="2"/>
                  </a:moveTo>
                  <a:lnTo>
                    <a:pt x="84" y="34"/>
                  </a:lnTo>
                  <a:lnTo>
                    <a:pt x="86" y="59"/>
                  </a:lnTo>
                  <a:lnTo>
                    <a:pt x="97" y="61"/>
                  </a:lnTo>
                  <a:lnTo>
                    <a:pt x="91" y="72"/>
                  </a:lnTo>
                  <a:lnTo>
                    <a:pt x="99" y="66"/>
                  </a:lnTo>
                  <a:lnTo>
                    <a:pt x="114" y="61"/>
                  </a:lnTo>
                  <a:lnTo>
                    <a:pt x="120" y="66"/>
                  </a:lnTo>
                  <a:lnTo>
                    <a:pt x="95" y="83"/>
                  </a:lnTo>
                  <a:lnTo>
                    <a:pt x="82" y="95"/>
                  </a:lnTo>
                  <a:lnTo>
                    <a:pt x="80" y="102"/>
                  </a:lnTo>
                  <a:lnTo>
                    <a:pt x="76" y="118"/>
                  </a:lnTo>
                  <a:lnTo>
                    <a:pt x="57" y="125"/>
                  </a:lnTo>
                  <a:lnTo>
                    <a:pt x="36" y="118"/>
                  </a:lnTo>
                  <a:lnTo>
                    <a:pt x="19" y="120"/>
                  </a:lnTo>
                  <a:lnTo>
                    <a:pt x="0" y="104"/>
                  </a:lnTo>
                  <a:lnTo>
                    <a:pt x="12" y="59"/>
                  </a:lnTo>
                  <a:lnTo>
                    <a:pt x="53" y="63"/>
                  </a:lnTo>
                  <a:lnTo>
                    <a:pt x="55" y="51"/>
                  </a:lnTo>
                  <a:lnTo>
                    <a:pt x="25" y="21"/>
                  </a:lnTo>
                  <a:lnTo>
                    <a:pt x="32" y="0"/>
                  </a:lnTo>
                  <a:lnTo>
                    <a:pt x="70" y="0"/>
                  </a:lnTo>
                  <a:lnTo>
                    <a:pt x="82" y="7"/>
                  </a:lnTo>
                  <a:lnTo>
                    <a:pt x="89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1" name="Freeform 247"/>
            <p:cNvSpPr>
              <a:spLocks/>
            </p:cNvSpPr>
            <p:nvPr/>
          </p:nvSpPr>
          <p:spPr bwMode="auto">
            <a:xfrm>
              <a:off x="1992605" y="4160684"/>
              <a:ext cx="80485" cy="132699"/>
            </a:xfrm>
            <a:custGeom>
              <a:avLst/>
              <a:gdLst>
                <a:gd name="T0" fmla="*/ 2147483647 w 144"/>
                <a:gd name="T1" fmla="*/ 2147483647 h 213"/>
                <a:gd name="T2" fmla="*/ 2147483647 w 144"/>
                <a:gd name="T3" fmla="*/ 2147483647 h 213"/>
                <a:gd name="T4" fmla="*/ 2147483647 w 144"/>
                <a:gd name="T5" fmla="*/ 2147483647 h 213"/>
                <a:gd name="T6" fmla="*/ 2147483647 w 144"/>
                <a:gd name="T7" fmla="*/ 2147483647 h 213"/>
                <a:gd name="T8" fmla="*/ 2147483647 w 144"/>
                <a:gd name="T9" fmla="*/ 2147483647 h 213"/>
                <a:gd name="T10" fmla="*/ 2147483647 w 144"/>
                <a:gd name="T11" fmla="*/ 2147483647 h 213"/>
                <a:gd name="T12" fmla="*/ 2147483647 w 144"/>
                <a:gd name="T13" fmla="*/ 2147483647 h 213"/>
                <a:gd name="T14" fmla="*/ 2147483647 w 144"/>
                <a:gd name="T15" fmla="*/ 2147483647 h 213"/>
                <a:gd name="T16" fmla="*/ 2147483647 w 144"/>
                <a:gd name="T17" fmla="*/ 2147483647 h 213"/>
                <a:gd name="T18" fmla="*/ 2147483647 w 144"/>
                <a:gd name="T19" fmla="*/ 2147483647 h 213"/>
                <a:gd name="T20" fmla="*/ 0 w 144"/>
                <a:gd name="T21" fmla="*/ 2147483647 h 213"/>
                <a:gd name="T22" fmla="*/ 2147483647 w 144"/>
                <a:gd name="T23" fmla="*/ 2147483647 h 213"/>
                <a:gd name="T24" fmla="*/ 2147483647 w 144"/>
                <a:gd name="T25" fmla="*/ 2147483647 h 213"/>
                <a:gd name="T26" fmla="*/ 2147483647 w 144"/>
                <a:gd name="T27" fmla="*/ 2147483647 h 213"/>
                <a:gd name="T28" fmla="*/ 2147483647 w 144"/>
                <a:gd name="T29" fmla="*/ 2147483647 h 213"/>
                <a:gd name="T30" fmla="*/ 2147483647 w 144"/>
                <a:gd name="T31" fmla="*/ 0 h 213"/>
                <a:gd name="T32" fmla="*/ 2147483647 w 144"/>
                <a:gd name="T33" fmla="*/ 2147483647 h 213"/>
                <a:gd name="T34" fmla="*/ 2147483647 w 144"/>
                <a:gd name="T35" fmla="*/ 2147483647 h 213"/>
                <a:gd name="T36" fmla="*/ 2147483647 w 144"/>
                <a:gd name="T37" fmla="*/ 2147483647 h 213"/>
                <a:gd name="T38" fmla="*/ 2147483647 w 144"/>
                <a:gd name="T39" fmla="*/ 2147483647 h 213"/>
                <a:gd name="T40" fmla="*/ 2147483647 w 144"/>
                <a:gd name="T41" fmla="*/ 2147483647 h 213"/>
                <a:gd name="T42" fmla="*/ 2147483647 w 144"/>
                <a:gd name="T43" fmla="*/ 2147483647 h 213"/>
                <a:gd name="T44" fmla="*/ 2147483647 w 144"/>
                <a:gd name="T45" fmla="*/ 2147483647 h 213"/>
                <a:gd name="T46" fmla="*/ 2147483647 w 144"/>
                <a:gd name="T47" fmla="*/ 2147483647 h 213"/>
                <a:gd name="T48" fmla="*/ 2147483647 w 144"/>
                <a:gd name="T49" fmla="*/ 2147483647 h 213"/>
                <a:gd name="T50" fmla="*/ 2147483647 w 144"/>
                <a:gd name="T51" fmla="*/ 2147483647 h 213"/>
                <a:gd name="T52" fmla="*/ 2147483647 w 144"/>
                <a:gd name="T53" fmla="*/ 2147483647 h 213"/>
                <a:gd name="T54" fmla="*/ 2147483647 w 144"/>
                <a:gd name="T55" fmla="*/ 2147483647 h 2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44"/>
                <a:gd name="T85" fmla="*/ 0 h 213"/>
                <a:gd name="T86" fmla="*/ 144 w 144"/>
                <a:gd name="T87" fmla="*/ 213 h 21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44" h="213">
                  <a:moveTo>
                    <a:pt x="144" y="190"/>
                  </a:moveTo>
                  <a:lnTo>
                    <a:pt x="87" y="202"/>
                  </a:lnTo>
                  <a:lnTo>
                    <a:pt x="74" y="213"/>
                  </a:lnTo>
                  <a:lnTo>
                    <a:pt x="51" y="205"/>
                  </a:lnTo>
                  <a:lnTo>
                    <a:pt x="38" y="179"/>
                  </a:lnTo>
                  <a:lnTo>
                    <a:pt x="38" y="137"/>
                  </a:lnTo>
                  <a:lnTo>
                    <a:pt x="51" y="122"/>
                  </a:lnTo>
                  <a:lnTo>
                    <a:pt x="36" y="118"/>
                  </a:lnTo>
                  <a:lnTo>
                    <a:pt x="32" y="95"/>
                  </a:lnTo>
                  <a:lnTo>
                    <a:pt x="19" y="97"/>
                  </a:lnTo>
                  <a:lnTo>
                    <a:pt x="0" y="80"/>
                  </a:lnTo>
                  <a:lnTo>
                    <a:pt x="6" y="53"/>
                  </a:lnTo>
                  <a:lnTo>
                    <a:pt x="32" y="48"/>
                  </a:lnTo>
                  <a:lnTo>
                    <a:pt x="21" y="29"/>
                  </a:lnTo>
                  <a:lnTo>
                    <a:pt x="42" y="19"/>
                  </a:lnTo>
                  <a:lnTo>
                    <a:pt x="38" y="0"/>
                  </a:lnTo>
                  <a:lnTo>
                    <a:pt x="51" y="4"/>
                  </a:lnTo>
                  <a:lnTo>
                    <a:pt x="76" y="21"/>
                  </a:lnTo>
                  <a:lnTo>
                    <a:pt x="84" y="40"/>
                  </a:lnTo>
                  <a:lnTo>
                    <a:pt x="120" y="67"/>
                  </a:lnTo>
                  <a:lnTo>
                    <a:pt x="122" y="78"/>
                  </a:lnTo>
                  <a:lnTo>
                    <a:pt x="118" y="101"/>
                  </a:lnTo>
                  <a:lnTo>
                    <a:pt x="95" y="107"/>
                  </a:lnTo>
                  <a:lnTo>
                    <a:pt x="93" y="129"/>
                  </a:lnTo>
                  <a:lnTo>
                    <a:pt x="110" y="145"/>
                  </a:lnTo>
                  <a:lnTo>
                    <a:pt x="125" y="145"/>
                  </a:lnTo>
                  <a:lnTo>
                    <a:pt x="129" y="175"/>
                  </a:lnTo>
                  <a:lnTo>
                    <a:pt x="144" y="19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2" name="Freeform 248"/>
            <p:cNvSpPr>
              <a:spLocks/>
            </p:cNvSpPr>
            <p:nvPr/>
          </p:nvSpPr>
          <p:spPr bwMode="auto">
            <a:xfrm>
              <a:off x="1790841" y="3951160"/>
              <a:ext cx="40794" cy="37249"/>
            </a:xfrm>
            <a:custGeom>
              <a:avLst/>
              <a:gdLst>
                <a:gd name="T0" fmla="*/ 2147483647 w 75"/>
                <a:gd name="T1" fmla="*/ 2147483647 h 61"/>
                <a:gd name="T2" fmla="*/ 2147483647 w 75"/>
                <a:gd name="T3" fmla="*/ 2147483647 h 61"/>
                <a:gd name="T4" fmla="*/ 2147483647 w 75"/>
                <a:gd name="T5" fmla="*/ 2147483647 h 61"/>
                <a:gd name="T6" fmla="*/ 2147483647 w 75"/>
                <a:gd name="T7" fmla="*/ 2147483647 h 61"/>
                <a:gd name="T8" fmla="*/ 2147483647 w 75"/>
                <a:gd name="T9" fmla="*/ 2147483647 h 61"/>
                <a:gd name="T10" fmla="*/ 2147483647 w 75"/>
                <a:gd name="T11" fmla="*/ 2147483647 h 61"/>
                <a:gd name="T12" fmla="*/ 0 w 75"/>
                <a:gd name="T13" fmla="*/ 2147483647 h 61"/>
                <a:gd name="T14" fmla="*/ 2147483647 w 75"/>
                <a:gd name="T15" fmla="*/ 2147483647 h 61"/>
                <a:gd name="T16" fmla="*/ 2147483647 w 75"/>
                <a:gd name="T17" fmla="*/ 2147483647 h 61"/>
                <a:gd name="T18" fmla="*/ 2147483647 w 75"/>
                <a:gd name="T19" fmla="*/ 2147483647 h 61"/>
                <a:gd name="T20" fmla="*/ 2147483647 w 75"/>
                <a:gd name="T21" fmla="*/ 2147483647 h 61"/>
                <a:gd name="T22" fmla="*/ 2147483647 w 75"/>
                <a:gd name="T23" fmla="*/ 2147483647 h 61"/>
                <a:gd name="T24" fmla="*/ 2147483647 w 75"/>
                <a:gd name="T25" fmla="*/ 2147483647 h 61"/>
                <a:gd name="T26" fmla="*/ 2147483647 w 75"/>
                <a:gd name="T27" fmla="*/ 2147483647 h 61"/>
                <a:gd name="T28" fmla="*/ 2147483647 w 75"/>
                <a:gd name="T29" fmla="*/ 0 h 61"/>
                <a:gd name="T30" fmla="*/ 2147483647 w 75"/>
                <a:gd name="T31" fmla="*/ 2147483647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5"/>
                <a:gd name="T49" fmla="*/ 0 h 61"/>
                <a:gd name="T50" fmla="*/ 75 w 75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5" h="61">
                  <a:moveTo>
                    <a:pt x="71" y="10"/>
                  </a:moveTo>
                  <a:lnTo>
                    <a:pt x="75" y="30"/>
                  </a:lnTo>
                  <a:lnTo>
                    <a:pt x="69" y="48"/>
                  </a:lnTo>
                  <a:lnTo>
                    <a:pt x="25" y="53"/>
                  </a:lnTo>
                  <a:lnTo>
                    <a:pt x="18" y="61"/>
                  </a:lnTo>
                  <a:lnTo>
                    <a:pt x="12" y="53"/>
                  </a:lnTo>
                  <a:lnTo>
                    <a:pt x="0" y="49"/>
                  </a:lnTo>
                  <a:lnTo>
                    <a:pt x="4" y="38"/>
                  </a:lnTo>
                  <a:lnTo>
                    <a:pt x="27" y="42"/>
                  </a:lnTo>
                  <a:lnTo>
                    <a:pt x="44" y="42"/>
                  </a:lnTo>
                  <a:lnTo>
                    <a:pt x="50" y="38"/>
                  </a:lnTo>
                  <a:lnTo>
                    <a:pt x="50" y="19"/>
                  </a:lnTo>
                  <a:lnTo>
                    <a:pt x="31" y="17"/>
                  </a:lnTo>
                  <a:lnTo>
                    <a:pt x="31" y="8"/>
                  </a:lnTo>
                  <a:lnTo>
                    <a:pt x="48" y="0"/>
                  </a:lnTo>
                  <a:lnTo>
                    <a:pt x="71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3" name="Freeform 249"/>
            <p:cNvSpPr>
              <a:spLocks/>
            </p:cNvSpPr>
            <p:nvPr/>
          </p:nvSpPr>
          <p:spPr bwMode="auto">
            <a:xfrm>
              <a:off x="1557103" y="4023329"/>
              <a:ext cx="98126" cy="57037"/>
            </a:xfrm>
            <a:custGeom>
              <a:avLst/>
              <a:gdLst>
                <a:gd name="T0" fmla="*/ 2147483647 w 179"/>
                <a:gd name="T1" fmla="*/ 2147483647 h 91"/>
                <a:gd name="T2" fmla="*/ 2147483647 w 179"/>
                <a:gd name="T3" fmla="*/ 2147483647 h 91"/>
                <a:gd name="T4" fmla="*/ 2147483647 w 179"/>
                <a:gd name="T5" fmla="*/ 2147483647 h 91"/>
                <a:gd name="T6" fmla="*/ 2147483647 w 179"/>
                <a:gd name="T7" fmla="*/ 2147483647 h 91"/>
                <a:gd name="T8" fmla="*/ 0 w 179"/>
                <a:gd name="T9" fmla="*/ 2147483647 h 91"/>
                <a:gd name="T10" fmla="*/ 2147483647 w 179"/>
                <a:gd name="T11" fmla="*/ 2147483647 h 91"/>
                <a:gd name="T12" fmla="*/ 2147483647 w 179"/>
                <a:gd name="T13" fmla="*/ 2147483647 h 91"/>
                <a:gd name="T14" fmla="*/ 2147483647 w 179"/>
                <a:gd name="T15" fmla="*/ 2147483647 h 91"/>
                <a:gd name="T16" fmla="*/ 2147483647 w 179"/>
                <a:gd name="T17" fmla="*/ 2147483647 h 91"/>
                <a:gd name="T18" fmla="*/ 2147483647 w 179"/>
                <a:gd name="T19" fmla="*/ 2147483647 h 91"/>
                <a:gd name="T20" fmla="*/ 2147483647 w 179"/>
                <a:gd name="T21" fmla="*/ 0 h 91"/>
                <a:gd name="T22" fmla="*/ 2147483647 w 179"/>
                <a:gd name="T23" fmla="*/ 2147483647 h 91"/>
                <a:gd name="T24" fmla="*/ 2147483647 w 179"/>
                <a:gd name="T25" fmla="*/ 2147483647 h 91"/>
                <a:gd name="T26" fmla="*/ 2147483647 w 179"/>
                <a:gd name="T27" fmla="*/ 2147483647 h 91"/>
                <a:gd name="T28" fmla="*/ 2147483647 w 179"/>
                <a:gd name="T29" fmla="*/ 2147483647 h 91"/>
                <a:gd name="T30" fmla="*/ 2147483647 w 179"/>
                <a:gd name="T31" fmla="*/ 2147483647 h 91"/>
                <a:gd name="T32" fmla="*/ 2147483647 w 179"/>
                <a:gd name="T33" fmla="*/ 2147483647 h 91"/>
                <a:gd name="T34" fmla="*/ 2147483647 w 179"/>
                <a:gd name="T35" fmla="*/ 2147483647 h 91"/>
                <a:gd name="T36" fmla="*/ 2147483647 w 179"/>
                <a:gd name="T37" fmla="*/ 2147483647 h 91"/>
                <a:gd name="T38" fmla="*/ 2147483647 w 179"/>
                <a:gd name="T39" fmla="*/ 2147483647 h 91"/>
                <a:gd name="T40" fmla="*/ 2147483647 w 179"/>
                <a:gd name="T41" fmla="*/ 2147483647 h 91"/>
                <a:gd name="T42" fmla="*/ 2147483647 w 179"/>
                <a:gd name="T43" fmla="*/ 2147483647 h 91"/>
                <a:gd name="T44" fmla="*/ 2147483647 w 179"/>
                <a:gd name="T45" fmla="*/ 2147483647 h 91"/>
                <a:gd name="T46" fmla="*/ 2147483647 w 179"/>
                <a:gd name="T47" fmla="*/ 2147483647 h 91"/>
                <a:gd name="T48" fmla="*/ 2147483647 w 179"/>
                <a:gd name="T49" fmla="*/ 2147483647 h 9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9"/>
                <a:gd name="T76" fmla="*/ 0 h 91"/>
                <a:gd name="T77" fmla="*/ 179 w 179"/>
                <a:gd name="T78" fmla="*/ 91 h 9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9" h="91">
                  <a:moveTo>
                    <a:pt x="47" y="80"/>
                  </a:moveTo>
                  <a:lnTo>
                    <a:pt x="47" y="61"/>
                  </a:lnTo>
                  <a:lnTo>
                    <a:pt x="30" y="61"/>
                  </a:lnTo>
                  <a:lnTo>
                    <a:pt x="13" y="49"/>
                  </a:lnTo>
                  <a:lnTo>
                    <a:pt x="0" y="47"/>
                  </a:lnTo>
                  <a:lnTo>
                    <a:pt x="2" y="40"/>
                  </a:lnTo>
                  <a:lnTo>
                    <a:pt x="15" y="28"/>
                  </a:lnTo>
                  <a:lnTo>
                    <a:pt x="38" y="11"/>
                  </a:lnTo>
                  <a:lnTo>
                    <a:pt x="55" y="13"/>
                  </a:lnTo>
                  <a:lnTo>
                    <a:pt x="99" y="9"/>
                  </a:lnTo>
                  <a:lnTo>
                    <a:pt x="99" y="0"/>
                  </a:lnTo>
                  <a:lnTo>
                    <a:pt x="133" y="4"/>
                  </a:lnTo>
                  <a:lnTo>
                    <a:pt x="152" y="11"/>
                  </a:lnTo>
                  <a:lnTo>
                    <a:pt x="156" y="23"/>
                  </a:lnTo>
                  <a:lnTo>
                    <a:pt x="171" y="25"/>
                  </a:lnTo>
                  <a:lnTo>
                    <a:pt x="179" y="34"/>
                  </a:lnTo>
                  <a:lnTo>
                    <a:pt x="148" y="53"/>
                  </a:lnTo>
                  <a:lnTo>
                    <a:pt x="141" y="47"/>
                  </a:lnTo>
                  <a:lnTo>
                    <a:pt x="118" y="66"/>
                  </a:lnTo>
                  <a:lnTo>
                    <a:pt x="101" y="65"/>
                  </a:lnTo>
                  <a:lnTo>
                    <a:pt x="78" y="74"/>
                  </a:lnTo>
                  <a:lnTo>
                    <a:pt x="78" y="84"/>
                  </a:lnTo>
                  <a:lnTo>
                    <a:pt x="65" y="91"/>
                  </a:lnTo>
                  <a:lnTo>
                    <a:pt x="63" y="80"/>
                  </a:lnTo>
                  <a:lnTo>
                    <a:pt x="47" y="8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4" name="Freeform 250"/>
            <p:cNvSpPr>
              <a:spLocks/>
            </p:cNvSpPr>
            <p:nvPr/>
          </p:nvSpPr>
          <p:spPr bwMode="auto">
            <a:xfrm>
              <a:off x="1730202" y="3973276"/>
              <a:ext cx="35281" cy="18624"/>
            </a:xfrm>
            <a:custGeom>
              <a:avLst/>
              <a:gdLst>
                <a:gd name="T0" fmla="*/ 0 w 65"/>
                <a:gd name="T1" fmla="*/ 2147483647 h 31"/>
                <a:gd name="T2" fmla="*/ 2147483647 w 65"/>
                <a:gd name="T3" fmla="*/ 0 h 31"/>
                <a:gd name="T4" fmla="*/ 2147483647 w 65"/>
                <a:gd name="T5" fmla="*/ 2147483647 h 31"/>
                <a:gd name="T6" fmla="*/ 2147483647 w 65"/>
                <a:gd name="T7" fmla="*/ 2147483647 h 31"/>
                <a:gd name="T8" fmla="*/ 2147483647 w 65"/>
                <a:gd name="T9" fmla="*/ 2147483647 h 31"/>
                <a:gd name="T10" fmla="*/ 2147483647 w 65"/>
                <a:gd name="T11" fmla="*/ 2147483647 h 31"/>
                <a:gd name="T12" fmla="*/ 2147483647 w 65"/>
                <a:gd name="T13" fmla="*/ 2147483647 h 31"/>
                <a:gd name="T14" fmla="*/ 2147483647 w 65"/>
                <a:gd name="T15" fmla="*/ 2147483647 h 31"/>
                <a:gd name="T16" fmla="*/ 0 w 65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5"/>
                <a:gd name="T28" fmla="*/ 0 h 31"/>
                <a:gd name="T29" fmla="*/ 65 w 65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5" h="31">
                  <a:moveTo>
                    <a:pt x="0" y="10"/>
                  </a:moveTo>
                  <a:lnTo>
                    <a:pt x="4" y="0"/>
                  </a:lnTo>
                  <a:lnTo>
                    <a:pt x="38" y="2"/>
                  </a:lnTo>
                  <a:lnTo>
                    <a:pt x="65" y="17"/>
                  </a:lnTo>
                  <a:lnTo>
                    <a:pt x="61" y="25"/>
                  </a:lnTo>
                  <a:lnTo>
                    <a:pt x="34" y="31"/>
                  </a:lnTo>
                  <a:lnTo>
                    <a:pt x="21" y="27"/>
                  </a:lnTo>
                  <a:lnTo>
                    <a:pt x="21" y="19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5" name="Freeform 251"/>
            <p:cNvSpPr>
              <a:spLocks/>
            </p:cNvSpPr>
            <p:nvPr/>
          </p:nvSpPr>
          <p:spPr bwMode="auto">
            <a:xfrm>
              <a:off x="761072" y="2425120"/>
              <a:ext cx="1319736" cy="1053444"/>
            </a:xfrm>
            <a:custGeom>
              <a:avLst/>
              <a:gdLst>
                <a:gd name="T0" fmla="*/ 2147483647 w 2421"/>
                <a:gd name="T1" fmla="*/ 2147483647 h 1688"/>
                <a:gd name="T2" fmla="*/ 2147483647 w 2421"/>
                <a:gd name="T3" fmla="*/ 2147483647 h 1688"/>
                <a:gd name="T4" fmla="*/ 2147483647 w 2421"/>
                <a:gd name="T5" fmla="*/ 2147483647 h 1688"/>
                <a:gd name="T6" fmla="*/ 2147483647 w 2421"/>
                <a:gd name="T7" fmla="*/ 2147483647 h 1688"/>
                <a:gd name="T8" fmla="*/ 2147483647 w 2421"/>
                <a:gd name="T9" fmla="*/ 2147483647 h 1688"/>
                <a:gd name="T10" fmla="*/ 2147483647 w 2421"/>
                <a:gd name="T11" fmla="*/ 2147483647 h 1688"/>
                <a:gd name="T12" fmla="*/ 2147483647 w 2421"/>
                <a:gd name="T13" fmla="*/ 2147483647 h 1688"/>
                <a:gd name="T14" fmla="*/ 2147483647 w 2421"/>
                <a:gd name="T15" fmla="*/ 2147483647 h 1688"/>
                <a:gd name="T16" fmla="*/ 2147483647 w 2421"/>
                <a:gd name="T17" fmla="*/ 2147483647 h 1688"/>
                <a:gd name="T18" fmla="*/ 2147483647 w 2421"/>
                <a:gd name="T19" fmla="*/ 2147483647 h 1688"/>
                <a:gd name="T20" fmla="*/ 2147483647 w 2421"/>
                <a:gd name="T21" fmla="*/ 2147483647 h 1688"/>
                <a:gd name="T22" fmla="*/ 2147483647 w 2421"/>
                <a:gd name="T23" fmla="*/ 2147483647 h 1688"/>
                <a:gd name="T24" fmla="*/ 2147483647 w 2421"/>
                <a:gd name="T25" fmla="*/ 2147483647 h 1688"/>
                <a:gd name="T26" fmla="*/ 2147483647 w 2421"/>
                <a:gd name="T27" fmla="*/ 2147483647 h 1688"/>
                <a:gd name="T28" fmla="*/ 2147483647 w 2421"/>
                <a:gd name="T29" fmla="*/ 2147483647 h 1688"/>
                <a:gd name="T30" fmla="*/ 2147483647 w 2421"/>
                <a:gd name="T31" fmla="*/ 2147483647 h 1688"/>
                <a:gd name="T32" fmla="*/ 2147483647 w 2421"/>
                <a:gd name="T33" fmla="*/ 2147483647 h 1688"/>
                <a:gd name="T34" fmla="*/ 2147483647 w 2421"/>
                <a:gd name="T35" fmla="*/ 2147483647 h 1688"/>
                <a:gd name="T36" fmla="*/ 2147483647 w 2421"/>
                <a:gd name="T37" fmla="*/ 2147483647 h 1688"/>
                <a:gd name="T38" fmla="*/ 2147483647 w 2421"/>
                <a:gd name="T39" fmla="*/ 2147483647 h 1688"/>
                <a:gd name="T40" fmla="*/ 2147483647 w 2421"/>
                <a:gd name="T41" fmla="*/ 2147483647 h 1688"/>
                <a:gd name="T42" fmla="*/ 2147483647 w 2421"/>
                <a:gd name="T43" fmla="*/ 2147483647 h 1688"/>
                <a:gd name="T44" fmla="*/ 2147483647 w 2421"/>
                <a:gd name="T45" fmla="*/ 2147483647 h 1688"/>
                <a:gd name="T46" fmla="*/ 2147483647 w 2421"/>
                <a:gd name="T47" fmla="*/ 2147483647 h 1688"/>
                <a:gd name="T48" fmla="*/ 2147483647 w 2421"/>
                <a:gd name="T49" fmla="*/ 2147483647 h 1688"/>
                <a:gd name="T50" fmla="*/ 2147483647 w 2421"/>
                <a:gd name="T51" fmla="*/ 2147483647 h 1688"/>
                <a:gd name="T52" fmla="*/ 2147483647 w 2421"/>
                <a:gd name="T53" fmla="*/ 2147483647 h 1688"/>
                <a:gd name="T54" fmla="*/ 2147483647 w 2421"/>
                <a:gd name="T55" fmla="*/ 2147483647 h 1688"/>
                <a:gd name="T56" fmla="*/ 2147483647 w 2421"/>
                <a:gd name="T57" fmla="*/ 2147483647 h 1688"/>
                <a:gd name="T58" fmla="*/ 2147483647 w 2421"/>
                <a:gd name="T59" fmla="*/ 2147483647 h 1688"/>
                <a:gd name="T60" fmla="*/ 2147483647 w 2421"/>
                <a:gd name="T61" fmla="*/ 2147483647 h 1688"/>
                <a:gd name="T62" fmla="*/ 2147483647 w 2421"/>
                <a:gd name="T63" fmla="*/ 2147483647 h 1688"/>
                <a:gd name="T64" fmla="*/ 2147483647 w 2421"/>
                <a:gd name="T65" fmla="*/ 2147483647 h 1688"/>
                <a:gd name="T66" fmla="*/ 2147483647 w 2421"/>
                <a:gd name="T67" fmla="*/ 2147483647 h 1688"/>
                <a:gd name="T68" fmla="*/ 2147483647 w 2421"/>
                <a:gd name="T69" fmla="*/ 2147483647 h 1688"/>
                <a:gd name="T70" fmla="*/ 2147483647 w 2421"/>
                <a:gd name="T71" fmla="*/ 2147483647 h 1688"/>
                <a:gd name="T72" fmla="*/ 2147483647 w 2421"/>
                <a:gd name="T73" fmla="*/ 2147483647 h 1688"/>
                <a:gd name="T74" fmla="*/ 2147483647 w 2421"/>
                <a:gd name="T75" fmla="*/ 2147483647 h 1688"/>
                <a:gd name="T76" fmla="*/ 2147483647 w 2421"/>
                <a:gd name="T77" fmla="*/ 2147483647 h 1688"/>
                <a:gd name="T78" fmla="*/ 2147483647 w 2421"/>
                <a:gd name="T79" fmla="*/ 2147483647 h 1688"/>
                <a:gd name="T80" fmla="*/ 2147483647 w 2421"/>
                <a:gd name="T81" fmla="*/ 2147483647 h 1688"/>
                <a:gd name="T82" fmla="*/ 2147483647 w 2421"/>
                <a:gd name="T83" fmla="*/ 2147483647 h 1688"/>
                <a:gd name="T84" fmla="*/ 2147483647 w 2421"/>
                <a:gd name="T85" fmla="*/ 2147483647 h 1688"/>
                <a:gd name="T86" fmla="*/ 2147483647 w 2421"/>
                <a:gd name="T87" fmla="*/ 2147483647 h 1688"/>
                <a:gd name="T88" fmla="*/ 2147483647 w 2421"/>
                <a:gd name="T89" fmla="*/ 2147483647 h 1688"/>
                <a:gd name="T90" fmla="*/ 2147483647 w 2421"/>
                <a:gd name="T91" fmla="*/ 2147483647 h 1688"/>
                <a:gd name="T92" fmla="*/ 2147483647 w 2421"/>
                <a:gd name="T93" fmla="*/ 2147483647 h 1688"/>
                <a:gd name="T94" fmla="*/ 2147483647 w 2421"/>
                <a:gd name="T95" fmla="*/ 2147483647 h 1688"/>
                <a:gd name="T96" fmla="*/ 2147483647 w 2421"/>
                <a:gd name="T97" fmla="*/ 2147483647 h 1688"/>
                <a:gd name="T98" fmla="*/ 2147483647 w 2421"/>
                <a:gd name="T99" fmla="*/ 2147483647 h 1688"/>
                <a:gd name="T100" fmla="*/ 2147483647 w 2421"/>
                <a:gd name="T101" fmla="*/ 2147483647 h 1688"/>
                <a:gd name="T102" fmla="*/ 2147483647 w 2421"/>
                <a:gd name="T103" fmla="*/ 2147483647 h 1688"/>
                <a:gd name="T104" fmla="*/ 2147483647 w 2421"/>
                <a:gd name="T105" fmla="*/ 2147483647 h 1688"/>
                <a:gd name="T106" fmla="*/ 2147483647 w 2421"/>
                <a:gd name="T107" fmla="*/ 2147483647 h 1688"/>
                <a:gd name="T108" fmla="*/ 2147483647 w 2421"/>
                <a:gd name="T109" fmla="*/ 2147483647 h 1688"/>
                <a:gd name="T110" fmla="*/ 2147483647 w 2421"/>
                <a:gd name="T111" fmla="*/ 2147483647 h 16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421"/>
                <a:gd name="T169" fmla="*/ 0 h 1688"/>
                <a:gd name="T170" fmla="*/ 2421 w 2421"/>
                <a:gd name="T171" fmla="*/ 1688 h 16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421" h="1688">
                  <a:moveTo>
                    <a:pt x="1448" y="1449"/>
                  </a:moveTo>
                  <a:lnTo>
                    <a:pt x="1425" y="1445"/>
                  </a:lnTo>
                  <a:lnTo>
                    <a:pt x="1400" y="1449"/>
                  </a:lnTo>
                  <a:lnTo>
                    <a:pt x="1383" y="1428"/>
                  </a:lnTo>
                  <a:lnTo>
                    <a:pt x="1360" y="1420"/>
                  </a:lnTo>
                  <a:lnTo>
                    <a:pt x="1320" y="1420"/>
                  </a:lnTo>
                  <a:lnTo>
                    <a:pt x="1313" y="1407"/>
                  </a:lnTo>
                  <a:lnTo>
                    <a:pt x="1294" y="1417"/>
                  </a:lnTo>
                  <a:lnTo>
                    <a:pt x="530" y="1415"/>
                  </a:lnTo>
                  <a:lnTo>
                    <a:pt x="524" y="1405"/>
                  </a:lnTo>
                  <a:lnTo>
                    <a:pt x="515" y="1400"/>
                  </a:lnTo>
                  <a:lnTo>
                    <a:pt x="480" y="1377"/>
                  </a:lnTo>
                  <a:lnTo>
                    <a:pt x="469" y="1365"/>
                  </a:lnTo>
                  <a:lnTo>
                    <a:pt x="467" y="1346"/>
                  </a:lnTo>
                  <a:lnTo>
                    <a:pt x="431" y="1337"/>
                  </a:lnTo>
                  <a:lnTo>
                    <a:pt x="408" y="1318"/>
                  </a:lnTo>
                  <a:lnTo>
                    <a:pt x="387" y="1305"/>
                  </a:lnTo>
                  <a:lnTo>
                    <a:pt x="387" y="1289"/>
                  </a:lnTo>
                  <a:lnTo>
                    <a:pt x="374" y="1289"/>
                  </a:lnTo>
                  <a:lnTo>
                    <a:pt x="366" y="1261"/>
                  </a:lnTo>
                  <a:lnTo>
                    <a:pt x="370" y="1230"/>
                  </a:lnTo>
                  <a:lnTo>
                    <a:pt x="363" y="1229"/>
                  </a:lnTo>
                  <a:lnTo>
                    <a:pt x="361" y="1251"/>
                  </a:lnTo>
                  <a:lnTo>
                    <a:pt x="353" y="1244"/>
                  </a:lnTo>
                  <a:lnTo>
                    <a:pt x="338" y="1225"/>
                  </a:lnTo>
                  <a:lnTo>
                    <a:pt x="349" y="1206"/>
                  </a:lnTo>
                  <a:lnTo>
                    <a:pt x="344" y="1202"/>
                  </a:lnTo>
                  <a:lnTo>
                    <a:pt x="323" y="1217"/>
                  </a:lnTo>
                  <a:lnTo>
                    <a:pt x="306" y="1200"/>
                  </a:lnTo>
                  <a:lnTo>
                    <a:pt x="321" y="1179"/>
                  </a:lnTo>
                  <a:lnTo>
                    <a:pt x="300" y="1181"/>
                  </a:lnTo>
                  <a:lnTo>
                    <a:pt x="302" y="1172"/>
                  </a:lnTo>
                  <a:lnTo>
                    <a:pt x="311" y="1166"/>
                  </a:lnTo>
                  <a:lnTo>
                    <a:pt x="309" y="1155"/>
                  </a:lnTo>
                  <a:lnTo>
                    <a:pt x="321" y="1132"/>
                  </a:lnTo>
                  <a:lnTo>
                    <a:pt x="321" y="1101"/>
                  </a:lnTo>
                  <a:lnTo>
                    <a:pt x="319" y="1082"/>
                  </a:lnTo>
                  <a:lnTo>
                    <a:pt x="317" y="1067"/>
                  </a:lnTo>
                  <a:lnTo>
                    <a:pt x="298" y="1063"/>
                  </a:lnTo>
                  <a:lnTo>
                    <a:pt x="262" y="1025"/>
                  </a:lnTo>
                  <a:lnTo>
                    <a:pt x="237" y="972"/>
                  </a:lnTo>
                  <a:lnTo>
                    <a:pt x="199" y="906"/>
                  </a:lnTo>
                  <a:lnTo>
                    <a:pt x="167" y="877"/>
                  </a:lnTo>
                  <a:lnTo>
                    <a:pt x="142" y="883"/>
                  </a:lnTo>
                  <a:lnTo>
                    <a:pt x="119" y="904"/>
                  </a:lnTo>
                  <a:lnTo>
                    <a:pt x="95" y="917"/>
                  </a:lnTo>
                  <a:lnTo>
                    <a:pt x="91" y="900"/>
                  </a:lnTo>
                  <a:lnTo>
                    <a:pt x="59" y="862"/>
                  </a:lnTo>
                  <a:lnTo>
                    <a:pt x="53" y="851"/>
                  </a:lnTo>
                  <a:lnTo>
                    <a:pt x="41" y="847"/>
                  </a:lnTo>
                  <a:lnTo>
                    <a:pt x="30" y="860"/>
                  </a:lnTo>
                  <a:lnTo>
                    <a:pt x="11" y="860"/>
                  </a:lnTo>
                  <a:lnTo>
                    <a:pt x="3" y="854"/>
                  </a:lnTo>
                  <a:lnTo>
                    <a:pt x="3" y="775"/>
                  </a:lnTo>
                  <a:lnTo>
                    <a:pt x="638" y="775"/>
                  </a:lnTo>
                  <a:lnTo>
                    <a:pt x="686" y="799"/>
                  </a:lnTo>
                  <a:lnTo>
                    <a:pt x="733" y="811"/>
                  </a:lnTo>
                  <a:lnTo>
                    <a:pt x="792" y="786"/>
                  </a:lnTo>
                  <a:lnTo>
                    <a:pt x="796" y="769"/>
                  </a:lnTo>
                  <a:lnTo>
                    <a:pt x="807" y="769"/>
                  </a:lnTo>
                  <a:lnTo>
                    <a:pt x="857" y="718"/>
                  </a:lnTo>
                  <a:lnTo>
                    <a:pt x="889" y="701"/>
                  </a:lnTo>
                  <a:lnTo>
                    <a:pt x="887" y="687"/>
                  </a:lnTo>
                  <a:lnTo>
                    <a:pt x="849" y="699"/>
                  </a:lnTo>
                  <a:lnTo>
                    <a:pt x="817" y="727"/>
                  </a:lnTo>
                  <a:lnTo>
                    <a:pt x="792" y="729"/>
                  </a:lnTo>
                  <a:lnTo>
                    <a:pt x="707" y="666"/>
                  </a:lnTo>
                  <a:lnTo>
                    <a:pt x="724" y="708"/>
                  </a:lnTo>
                  <a:lnTo>
                    <a:pt x="737" y="702"/>
                  </a:lnTo>
                  <a:lnTo>
                    <a:pt x="760" y="737"/>
                  </a:lnTo>
                  <a:lnTo>
                    <a:pt x="731" y="748"/>
                  </a:lnTo>
                  <a:lnTo>
                    <a:pt x="716" y="777"/>
                  </a:lnTo>
                  <a:lnTo>
                    <a:pt x="684" y="782"/>
                  </a:lnTo>
                  <a:lnTo>
                    <a:pt x="642" y="761"/>
                  </a:lnTo>
                  <a:lnTo>
                    <a:pt x="638" y="775"/>
                  </a:lnTo>
                  <a:lnTo>
                    <a:pt x="3" y="775"/>
                  </a:lnTo>
                  <a:lnTo>
                    <a:pt x="2" y="482"/>
                  </a:lnTo>
                  <a:lnTo>
                    <a:pt x="461" y="482"/>
                  </a:lnTo>
                  <a:lnTo>
                    <a:pt x="477" y="473"/>
                  </a:lnTo>
                  <a:lnTo>
                    <a:pt x="549" y="465"/>
                  </a:lnTo>
                  <a:lnTo>
                    <a:pt x="564" y="482"/>
                  </a:lnTo>
                  <a:lnTo>
                    <a:pt x="532" y="486"/>
                  </a:lnTo>
                  <a:lnTo>
                    <a:pt x="537" y="495"/>
                  </a:lnTo>
                  <a:lnTo>
                    <a:pt x="524" y="524"/>
                  </a:lnTo>
                  <a:lnTo>
                    <a:pt x="505" y="532"/>
                  </a:lnTo>
                  <a:lnTo>
                    <a:pt x="553" y="551"/>
                  </a:lnTo>
                  <a:lnTo>
                    <a:pt x="579" y="503"/>
                  </a:lnTo>
                  <a:lnTo>
                    <a:pt x="591" y="511"/>
                  </a:lnTo>
                  <a:lnTo>
                    <a:pt x="575" y="552"/>
                  </a:lnTo>
                  <a:lnTo>
                    <a:pt x="583" y="558"/>
                  </a:lnTo>
                  <a:lnTo>
                    <a:pt x="604" y="530"/>
                  </a:lnTo>
                  <a:lnTo>
                    <a:pt x="617" y="520"/>
                  </a:lnTo>
                  <a:lnTo>
                    <a:pt x="604" y="503"/>
                  </a:lnTo>
                  <a:lnTo>
                    <a:pt x="615" y="486"/>
                  </a:lnTo>
                  <a:lnTo>
                    <a:pt x="632" y="482"/>
                  </a:lnTo>
                  <a:lnTo>
                    <a:pt x="636" y="499"/>
                  </a:lnTo>
                  <a:lnTo>
                    <a:pt x="676" y="492"/>
                  </a:lnTo>
                  <a:lnTo>
                    <a:pt x="684" y="452"/>
                  </a:lnTo>
                  <a:lnTo>
                    <a:pt x="674" y="442"/>
                  </a:lnTo>
                  <a:lnTo>
                    <a:pt x="631" y="469"/>
                  </a:lnTo>
                  <a:lnTo>
                    <a:pt x="587" y="448"/>
                  </a:lnTo>
                  <a:lnTo>
                    <a:pt x="632" y="406"/>
                  </a:lnTo>
                  <a:lnTo>
                    <a:pt x="606" y="397"/>
                  </a:lnTo>
                  <a:lnTo>
                    <a:pt x="528" y="448"/>
                  </a:lnTo>
                  <a:lnTo>
                    <a:pt x="478" y="461"/>
                  </a:lnTo>
                  <a:lnTo>
                    <a:pt x="463" y="456"/>
                  </a:lnTo>
                  <a:lnTo>
                    <a:pt x="461" y="482"/>
                  </a:lnTo>
                  <a:lnTo>
                    <a:pt x="2" y="482"/>
                  </a:lnTo>
                  <a:lnTo>
                    <a:pt x="0" y="188"/>
                  </a:lnTo>
                  <a:lnTo>
                    <a:pt x="64" y="197"/>
                  </a:lnTo>
                  <a:lnTo>
                    <a:pt x="138" y="228"/>
                  </a:lnTo>
                  <a:lnTo>
                    <a:pt x="192" y="176"/>
                  </a:lnTo>
                  <a:lnTo>
                    <a:pt x="205" y="207"/>
                  </a:lnTo>
                  <a:lnTo>
                    <a:pt x="262" y="169"/>
                  </a:lnTo>
                  <a:lnTo>
                    <a:pt x="271" y="184"/>
                  </a:lnTo>
                  <a:lnTo>
                    <a:pt x="292" y="161"/>
                  </a:lnTo>
                  <a:lnTo>
                    <a:pt x="334" y="148"/>
                  </a:lnTo>
                  <a:lnTo>
                    <a:pt x="328" y="173"/>
                  </a:lnTo>
                  <a:lnTo>
                    <a:pt x="252" y="211"/>
                  </a:lnTo>
                  <a:lnTo>
                    <a:pt x="256" y="224"/>
                  </a:lnTo>
                  <a:lnTo>
                    <a:pt x="382" y="161"/>
                  </a:lnTo>
                  <a:lnTo>
                    <a:pt x="370" y="116"/>
                  </a:lnTo>
                  <a:lnTo>
                    <a:pt x="383" y="100"/>
                  </a:lnTo>
                  <a:lnTo>
                    <a:pt x="444" y="195"/>
                  </a:lnTo>
                  <a:lnTo>
                    <a:pt x="461" y="201"/>
                  </a:lnTo>
                  <a:lnTo>
                    <a:pt x="465" y="155"/>
                  </a:lnTo>
                  <a:lnTo>
                    <a:pt x="478" y="154"/>
                  </a:lnTo>
                  <a:lnTo>
                    <a:pt x="475" y="209"/>
                  </a:lnTo>
                  <a:lnTo>
                    <a:pt x="499" y="203"/>
                  </a:lnTo>
                  <a:lnTo>
                    <a:pt x="511" y="174"/>
                  </a:lnTo>
                  <a:lnTo>
                    <a:pt x="602" y="211"/>
                  </a:lnTo>
                  <a:lnTo>
                    <a:pt x="665" y="226"/>
                  </a:lnTo>
                  <a:lnTo>
                    <a:pt x="701" y="250"/>
                  </a:lnTo>
                  <a:lnTo>
                    <a:pt x="693" y="226"/>
                  </a:lnTo>
                  <a:lnTo>
                    <a:pt x="748" y="249"/>
                  </a:lnTo>
                  <a:lnTo>
                    <a:pt x="769" y="300"/>
                  </a:lnTo>
                  <a:lnTo>
                    <a:pt x="762" y="317"/>
                  </a:lnTo>
                  <a:lnTo>
                    <a:pt x="737" y="319"/>
                  </a:lnTo>
                  <a:lnTo>
                    <a:pt x="733" y="361"/>
                  </a:lnTo>
                  <a:lnTo>
                    <a:pt x="800" y="364"/>
                  </a:lnTo>
                  <a:lnTo>
                    <a:pt x="883" y="332"/>
                  </a:lnTo>
                  <a:lnTo>
                    <a:pt x="917" y="349"/>
                  </a:lnTo>
                  <a:lnTo>
                    <a:pt x="917" y="366"/>
                  </a:lnTo>
                  <a:lnTo>
                    <a:pt x="938" y="385"/>
                  </a:lnTo>
                  <a:lnTo>
                    <a:pt x="929" y="419"/>
                  </a:lnTo>
                  <a:lnTo>
                    <a:pt x="946" y="412"/>
                  </a:lnTo>
                  <a:lnTo>
                    <a:pt x="950" y="347"/>
                  </a:lnTo>
                  <a:lnTo>
                    <a:pt x="1009" y="298"/>
                  </a:lnTo>
                  <a:lnTo>
                    <a:pt x="1003" y="281"/>
                  </a:lnTo>
                  <a:lnTo>
                    <a:pt x="938" y="309"/>
                  </a:lnTo>
                  <a:lnTo>
                    <a:pt x="925" y="304"/>
                  </a:lnTo>
                  <a:lnTo>
                    <a:pt x="936" y="275"/>
                  </a:lnTo>
                  <a:lnTo>
                    <a:pt x="969" y="267"/>
                  </a:lnTo>
                  <a:lnTo>
                    <a:pt x="1005" y="249"/>
                  </a:lnTo>
                  <a:lnTo>
                    <a:pt x="1016" y="260"/>
                  </a:lnTo>
                  <a:lnTo>
                    <a:pt x="1020" y="296"/>
                  </a:lnTo>
                  <a:lnTo>
                    <a:pt x="1058" y="324"/>
                  </a:lnTo>
                  <a:lnTo>
                    <a:pt x="1079" y="313"/>
                  </a:lnTo>
                  <a:lnTo>
                    <a:pt x="1121" y="336"/>
                  </a:lnTo>
                  <a:lnTo>
                    <a:pt x="1189" y="330"/>
                  </a:lnTo>
                  <a:lnTo>
                    <a:pt x="1218" y="321"/>
                  </a:lnTo>
                  <a:lnTo>
                    <a:pt x="1210" y="305"/>
                  </a:lnTo>
                  <a:lnTo>
                    <a:pt x="1235" y="279"/>
                  </a:lnTo>
                  <a:lnTo>
                    <a:pt x="1256" y="285"/>
                  </a:lnTo>
                  <a:lnTo>
                    <a:pt x="1269" y="321"/>
                  </a:lnTo>
                  <a:lnTo>
                    <a:pt x="1288" y="300"/>
                  </a:lnTo>
                  <a:lnTo>
                    <a:pt x="1279" y="359"/>
                  </a:lnTo>
                  <a:lnTo>
                    <a:pt x="1296" y="376"/>
                  </a:lnTo>
                  <a:lnTo>
                    <a:pt x="1309" y="359"/>
                  </a:lnTo>
                  <a:lnTo>
                    <a:pt x="1294" y="338"/>
                  </a:lnTo>
                  <a:lnTo>
                    <a:pt x="1299" y="313"/>
                  </a:lnTo>
                  <a:lnTo>
                    <a:pt x="1318" y="311"/>
                  </a:lnTo>
                  <a:lnTo>
                    <a:pt x="1343" y="279"/>
                  </a:lnTo>
                  <a:lnTo>
                    <a:pt x="1343" y="247"/>
                  </a:lnTo>
                  <a:lnTo>
                    <a:pt x="1318" y="260"/>
                  </a:lnTo>
                  <a:lnTo>
                    <a:pt x="1332" y="224"/>
                  </a:lnTo>
                  <a:lnTo>
                    <a:pt x="1353" y="211"/>
                  </a:lnTo>
                  <a:lnTo>
                    <a:pt x="1282" y="192"/>
                  </a:lnTo>
                  <a:lnTo>
                    <a:pt x="1267" y="159"/>
                  </a:lnTo>
                  <a:lnTo>
                    <a:pt x="1269" y="119"/>
                  </a:lnTo>
                  <a:lnTo>
                    <a:pt x="1288" y="97"/>
                  </a:lnTo>
                  <a:lnTo>
                    <a:pt x="1269" y="87"/>
                  </a:lnTo>
                  <a:lnTo>
                    <a:pt x="1280" y="30"/>
                  </a:lnTo>
                  <a:lnTo>
                    <a:pt x="1298" y="26"/>
                  </a:lnTo>
                  <a:lnTo>
                    <a:pt x="1288" y="9"/>
                  </a:lnTo>
                  <a:lnTo>
                    <a:pt x="1305" y="0"/>
                  </a:lnTo>
                  <a:lnTo>
                    <a:pt x="1337" y="3"/>
                  </a:lnTo>
                  <a:lnTo>
                    <a:pt x="1366" y="38"/>
                  </a:lnTo>
                  <a:lnTo>
                    <a:pt x="1360" y="83"/>
                  </a:lnTo>
                  <a:lnTo>
                    <a:pt x="1387" y="98"/>
                  </a:lnTo>
                  <a:lnTo>
                    <a:pt x="1406" y="148"/>
                  </a:lnTo>
                  <a:lnTo>
                    <a:pt x="1379" y="152"/>
                  </a:lnTo>
                  <a:lnTo>
                    <a:pt x="1391" y="169"/>
                  </a:lnTo>
                  <a:lnTo>
                    <a:pt x="1377" y="192"/>
                  </a:lnTo>
                  <a:lnTo>
                    <a:pt x="1400" y="209"/>
                  </a:lnTo>
                  <a:lnTo>
                    <a:pt x="1413" y="190"/>
                  </a:lnTo>
                  <a:lnTo>
                    <a:pt x="1442" y="207"/>
                  </a:lnTo>
                  <a:lnTo>
                    <a:pt x="1436" y="220"/>
                  </a:lnTo>
                  <a:lnTo>
                    <a:pt x="1417" y="218"/>
                  </a:lnTo>
                  <a:lnTo>
                    <a:pt x="1434" y="243"/>
                  </a:lnTo>
                  <a:lnTo>
                    <a:pt x="1432" y="294"/>
                  </a:lnTo>
                  <a:lnTo>
                    <a:pt x="1451" y="302"/>
                  </a:lnTo>
                  <a:lnTo>
                    <a:pt x="1470" y="205"/>
                  </a:lnTo>
                  <a:lnTo>
                    <a:pt x="1478" y="203"/>
                  </a:lnTo>
                  <a:lnTo>
                    <a:pt x="1501" y="231"/>
                  </a:lnTo>
                  <a:lnTo>
                    <a:pt x="1501" y="260"/>
                  </a:lnTo>
                  <a:lnTo>
                    <a:pt x="1493" y="298"/>
                  </a:lnTo>
                  <a:lnTo>
                    <a:pt x="1518" y="380"/>
                  </a:lnTo>
                  <a:lnTo>
                    <a:pt x="1546" y="342"/>
                  </a:lnTo>
                  <a:lnTo>
                    <a:pt x="1565" y="313"/>
                  </a:lnTo>
                  <a:lnTo>
                    <a:pt x="1569" y="266"/>
                  </a:lnTo>
                  <a:lnTo>
                    <a:pt x="1586" y="256"/>
                  </a:lnTo>
                  <a:lnTo>
                    <a:pt x="1596" y="231"/>
                  </a:lnTo>
                  <a:lnTo>
                    <a:pt x="1586" y="224"/>
                  </a:lnTo>
                  <a:lnTo>
                    <a:pt x="1584" y="184"/>
                  </a:lnTo>
                  <a:lnTo>
                    <a:pt x="1607" y="180"/>
                  </a:lnTo>
                  <a:lnTo>
                    <a:pt x="1626" y="192"/>
                  </a:lnTo>
                  <a:lnTo>
                    <a:pt x="1670" y="193"/>
                  </a:lnTo>
                  <a:lnTo>
                    <a:pt x="1702" y="226"/>
                  </a:lnTo>
                  <a:lnTo>
                    <a:pt x="1708" y="243"/>
                  </a:lnTo>
                  <a:lnTo>
                    <a:pt x="1693" y="254"/>
                  </a:lnTo>
                  <a:lnTo>
                    <a:pt x="1708" y="266"/>
                  </a:lnTo>
                  <a:lnTo>
                    <a:pt x="1693" y="290"/>
                  </a:lnTo>
                  <a:lnTo>
                    <a:pt x="1668" y="286"/>
                  </a:lnTo>
                  <a:lnTo>
                    <a:pt x="1685" y="336"/>
                  </a:lnTo>
                  <a:lnTo>
                    <a:pt x="1710" y="362"/>
                  </a:lnTo>
                  <a:lnTo>
                    <a:pt x="1710" y="397"/>
                  </a:lnTo>
                  <a:lnTo>
                    <a:pt x="1681" y="408"/>
                  </a:lnTo>
                  <a:lnTo>
                    <a:pt x="1676" y="429"/>
                  </a:lnTo>
                  <a:lnTo>
                    <a:pt x="1636" y="461"/>
                  </a:lnTo>
                  <a:lnTo>
                    <a:pt x="1621" y="429"/>
                  </a:lnTo>
                  <a:lnTo>
                    <a:pt x="1617" y="440"/>
                  </a:lnTo>
                  <a:lnTo>
                    <a:pt x="1621" y="465"/>
                  </a:lnTo>
                  <a:lnTo>
                    <a:pt x="1609" y="463"/>
                  </a:lnTo>
                  <a:lnTo>
                    <a:pt x="1628" y="482"/>
                  </a:lnTo>
                  <a:lnTo>
                    <a:pt x="1640" y="505"/>
                  </a:lnTo>
                  <a:lnTo>
                    <a:pt x="1628" y="507"/>
                  </a:lnTo>
                  <a:lnTo>
                    <a:pt x="1607" y="476"/>
                  </a:lnTo>
                  <a:lnTo>
                    <a:pt x="1598" y="478"/>
                  </a:lnTo>
                  <a:lnTo>
                    <a:pt x="1605" y="507"/>
                  </a:lnTo>
                  <a:lnTo>
                    <a:pt x="1600" y="507"/>
                  </a:lnTo>
                  <a:lnTo>
                    <a:pt x="1590" y="480"/>
                  </a:lnTo>
                  <a:lnTo>
                    <a:pt x="1603" y="471"/>
                  </a:lnTo>
                  <a:lnTo>
                    <a:pt x="1586" y="465"/>
                  </a:lnTo>
                  <a:lnTo>
                    <a:pt x="1581" y="438"/>
                  </a:lnTo>
                  <a:lnTo>
                    <a:pt x="1543" y="442"/>
                  </a:lnTo>
                  <a:lnTo>
                    <a:pt x="1541" y="463"/>
                  </a:lnTo>
                  <a:lnTo>
                    <a:pt x="1565" y="473"/>
                  </a:lnTo>
                  <a:lnTo>
                    <a:pt x="1537" y="514"/>
                  </a:lnTo>
                  <a:lnTo>
                    <a:pt x="1514" y="514"/>
                  </a:lnTo>
                  <a:lnTo>
                    <a:pt x="1457" y="482"/>
                  </a:lnTo>
                  <a:lnTo>
                    <a:pt x="1484" y="528"/>
                  </a:lnTo>
                  <a:lnTo>
                    <a:pt x="1533" y="532"/>
                  </a:lnTo>
                  <a:lnTo>
                    <a:pt x="1510" y="598"/>
                  </a:lnTo>
                  <a:lnTo>
                    <a:pt x="1489" y="619"/>
                  </a:lnTo>
                  <a:lnTo>
                    <a:pt x="1455" y="602"/>
                  </a:lnTo>
                  <a:lnTo>
                    <a:pt x="1444" y="634"/>
                  </a:lnTo>
                  <a:lnTo>
                    <a:pt x="1425" y="642"/>
                  </a:lnTo>
                  <a:lnTo>
                    <a:pt x="1351" y="613"/>
                  </a:lnTo>
                  <a:lnTo>
                    <a:pt x="1284" y="592"/>
                  </a:lnTo>
                  <a:lnTo>
                    <a:pt x="1282" y="611"/>
                  </a:lnTo>
                  <a:lnTo>
                    <a:pt x="1425" y="653"/>
                  </a:lnTo>
                  <a:lnTo>
                    <a:pt x="1423" y="683"/>
                  </a:lnTo>
                  <a:lnTo>
                    <a:pt x="1387" y="695"/>
                  </a:lnTo>
                  <a:lnTo>
                    <a:pt x="1389" y="710"/>
                  </a:lnTo>
                  <a:lnTo>
                    <a:pt x="1356" y="744"/>
                  </a:lnTo>
                  <a:lnTo>
                    <a:pt x="1315" y="841"/>
                  </a:lnTo>
                  <a:lnTo>
                    <a:pt x="1313" y="913"/>
                  </a:lnTo>
                  <a:lnTo>
                    <a:pt x="1328" y="927"/>
                  </a:lnTo>
                  <a:lnTo>
                    <a:pt x="1360" y="925"/>
                  </a:lnTo>
                  <a:lnTo>
                    <a:pt x="1385" y="1025"/>
                  </a:lnTo>
                  <a:lnTo>
                    <a:pt x="1431" y="1001"/>
                  </a:lnTo>
                  <a:lnTo>
                    <a:pt x="1489" y="1025"/>
                  </a:lnTo>
                  <a:lnTo>
                    <a:pt x="1524" y="1065"/>
                  </a:lnTo>
                  <a:lnTo>
                    <a:pt x="1588" y="1105"/>
                  </a:lnTo>
                  <a:lnTo>
                    <a:pt x="1674" y="1117"/>
                  </a:lnTo>
                  <a:lnTo>
                    <a:pt x="1662" y="1162"/>
                  </a:lnTo>
                  <a:lnTo>
                    <a:pt x="1670" y="1183"/>
                  </a:lnTo>
                  <a:lnTo>
                    <a:pt x="1664" y="1215"/>
                  </a:lnTo>
                  <a:lnTo>
                    <a:pt x="1685" y="1251"/>
                  </a:lnTo>
                  <a:lnTo>
                    <a:pt x="1681" y="1255"/>
                  </a:lnTo>
                  <a:lnTo>
                    <a:pt x="1700" y="1265"/>
                  </a:lnTo>
                  <a:lnTo>
                    <a:pt x="1736" y="1308"/>
                  </a:lnTo>
                  <a:lnTo>
                    <a:pt x="1752" y="1282"/>
                  </a:lnTo>
                  <a:lnTo>
                    <a:pt x="1769" y="1305"/>
                  </a:lnTo>
                  <a:lnTo>
                    <a:pt x="1780" y="1289"/>
                  </a:lnTo>
                  <a:lnTo>
                    <a:pt x="1765" y="1270"/>
                  </a:lnTo>
                  <a:lnTo>
                    <a:pt x="1774" y="1251"/>
                  </a:lnTo>
                  <a:lnTo>
                    <a:pt x="1761" y="1210"/>
                  </a:lnTo>
                  <a:lnTo>
                    <a:pt x="1765" y="1168"/>
                  </a:lnTo>
                  <a:lnTo>
                    <a:pt x="1736" y="1134"/>
                  </a:lnTo>
                  <a:lnTo>
                    <a:pt x="1773" y="1118"/>
                  </a:lnTo>
                  <a:lnTo>
                    <a:pt x="1828" y="1052"/>
                  </a:lnTo>
                  <a:lnTo>
                    <a:pt x="1824" y="993"/>
                  </a:lnTo>
                  <a:lnTo>
                    <a:pt x="1776" y="938"/>
                  </a:lnTo>
                  <a:lnTo>
                    <a:pt x="1765" y="932"/>
                  </a:lnTo>
                  <a:lnTo>
                    <a:pt x="1765" y="911"/>
                  </a:lnTo>
                  <a:lnTo>
                    <a:pt x="1811" y="860"/>
                  </a:lnTo>
                  <a:lnTo>
                    <a:pt x="1792" y="860"/>
                  </a:lnTo>
                  <a:lnTo>
                    <a:pt x="1790" y="816"/>
                  </a:lnTo>
                  <a:lnTo>
                    <a:pt x="1776" y="815"/>
                  </a:lnTo>
                  <a:lnTo>
                    <a:pt x="1790" y="769"/>
                  </a:lnTo>
                  <a:lnTo>
                    <a:pt x="1776" y="737"/>
                  </a:lnTo>
                  <a:lnTo>
                    <a:pt x="1778" y="710"/>
                  </a:lnTo>
                  <a:lnTo>
                    <a:pt x="1799" y="695"/>
                  </a:lnTo>
                  <a:lnTo>
                    <a:pt x="1879" y="716"/>
                  </a:lnTo>
                  <a:lnTo>
                    <a:pt x="1911" y="701"/>
                  </a:lnTo>
                  <a:lnTo>
                    <a:pt x="1942" y="731"/>
                  </a:lnTo>
                  <a:lnTo>
                    <a:pt x="1970" y="792"/>
                  </a:lnTo>
                  <a:lnTo>
                    <a:pt x="2010" y="807"/>
                  </a:lnTo>
                  <a:lnTo>
                    <a:pt x="2025" y="797"/>
                  </a:lnTo>
                  <a:lnTo>
                    <a:pt x="2031" y="813"/>
                  </a:lnTo>
                  <a:lnTo>
                    <a:pt x="2018" y="824"/>
                  </a:lnTo>
                  <a:lnTo>
                    <a:pt x="2023" y="856"/>
                  </a:lnTo>
                  <a:lnTo>
                    <a:pt x="2023" y="894"/>
                  </a:lnTo>
                  <a:lnTo>
                    <a:pt x="2035" y="904"/>
                  </a:lnTo>
                  <a:lnTo>
                    <a:pt x="2025" y="921"/>
                  </a:lnTo>
                  <a:lnTo>
                    <a:pt x="2056" y="917"/>
                  </a:lnTo>
                  <a:lnTo>
                    <a:pt x="2086" y="959"/>
                  </a:lnTo>
                  <a:lnTo>
                    <a:pt x="2118" y="917"/>
                  </a:lnTo>
                  <a:lnTo>
                    <a:pt x="2130" y="917"/>
                  </a:lnTo>
                  <a:lnTo>
                    <a:pt x="2143" y="873"/>
                  </a:lnTo>
                  <a:lnTo>
                    <a:pt x="2160" y="837"/>
                  </a:lnTo>
                  <a:lnTo>
                    <a:pt x="2210" y="932"/>
                  </a:lnTo>
                  <a:lnTo>
                    <a:pt x="2196" y="944"/>
                  </a:lnTo>
                  <a:lnTo>
                    <a:pt x="2229" y="947"/>
                  </a:lnTo>
                  <a:lnTo>
                    <a:pt x="2217" y="966"/>
                  </a:lnTo>
                  <a:lnTo>
                    <a:pt x="2236" y="974"/>
                  </a:lnTo>
                  <a:lnTo>
                    <a:pt x="2257" y="1035"/>
                  </a:lnTo>
                  <a:lnTo>
                    <a:pt x="2231" y="1042"/>
                  </a:lnTo>
                  <a:lnTo>
                    <a:pt x="2242" y="1061"/>
                  </a:lnTo>
                  <a:lnTo>
                    <a:pt x="2284" y="1082"/>
                  </a:lnTo>
                  <a:lnTo>
                    <a:pt x="2286" y="1113"/>
                  </a:lnTo>
                  <a:lnTo>
                    <a:pt x="2327" y="1118"/>
                  </a:lnTo>
                  <a:lnTo>
                    <a:pt x="2331" y="1139"/>
                  </a:lnTo>
                  <a:lnTo>
                    <a:pt x="2358" y="1128"/>
                  </a:lnTo>
                  <a:lnTo>
                    <a:pt x="2360" y="1145"/>
                  </a:lnTo>
                  <a:lnTo>
                    <a:pt x="2345" y="1153"/>
                  </a:lnTo>
                  <a:lnTo>
                    <a:pt x="2327" y="1172"/>
                  </a:lnTo>
                  <a:lnTo>
                    <a:pt x="2301" y="1179"/>
                  </a:lnTo>
                  <a:lnTo>
                    <a:pt x="2305" y="1202"/>
                  </a:lnTo>
                  <a:lnTo>
                    <a:pt x="2360" y="1158"/>
                  </a:lnTo>
                  <a:lnTo>
                    <a:pt x="2373" y="1156"/>
                  </a:lnTo>
                  <a:lnTo>
                    <a:pt x="2379" y="1172"/>
                  </a:lnTo>
                  <a:lnTo>
                    <a:pt x="2365" y="1191"/>
                  </a:lnTo>
                  <a:lnTo>
                    <a:pt x="2384" y="1183"/>
                  </a:lnTo>
                  <a:lnTo>
                    <a:pt x="2402" y="1181"/>
                  </a:lnTo>
                  <a:lnTo>
                    <a:pt x="2419" y="1206"/>
                  </a:lnTo>
                  <a:lnTo>
                    <a:pt x="2419" y="1223"/>
                  </a:lnTo>
                  <a:lnTo>
                    <a:pt x="2409" y="1240"/>
                  </a:lnTo>
                  <a:lnTo>
                    <a:pt x="2421" y="1240"/>
                  </a:lnTo>
                  <a:lnTo>
                    <a:pt x="2421" y="1261"/>
                  </a:lnTo>
                  <a:lnTo>
                    <a:pt x="2396" y="1287"/>
                  </a:lnTo>
                  <a:lnTo>
                    <a:pt x="2346" y="1297"/>
                  </a:lnTo>
                  <a:lnTo>
                    <a:pt x="2301" y="1356"/>
                  </a:lnTo>
                  <a:lnTo>
                    <a:pt x="2109" y="1356"/>
                  </a:lnTo>
                  <a:lnTo>
                    <a:pt x="2090" y="1394"/>
                  </a:lnTo>
                  <a:lnTo>
                    <a:pt x="2052" y="1405"/>
                  </a:lnTo>
                  <a:lnTo>
                    <a:pt x="2029" y="1428"/>
                  </a:lnTo>
                  <a:lnTo>
                    <a:pt x="1999" y="1485"/>
                  </a:lnTo>
                  <a:lnTo>
                    <a:pt x="1953" y="1506"/>
                  </a:lnTo>
                  <a:lnTo>
                    <a:pt x="1839" y="1599"/>
                  </a:lnTo>
                  <a:lnTo>
                    <a:pt x="1828" y="1601"/>
                  </a:lnTo>
                  <a:lnTo>
                    <a:pt x="1818" y="1616"/>
                  </a:lnTo>
                  <a:lnTo>
                    <a:pt x="1793" y="1610"/>
                  </a:lnTo>
                  <a:lnTo>
                    <a:pt x="1746" y="1626"/>
                  </a:lnTo>
                  <a:lnTo>
                    <a:pt x="1736" y="1639"/>
                  </a:lnTo>
                  <a:lnTo>
                    <a:pt x="1759" y="1645"/>
                  </a:lnTo>
                  <a:lnTo>
                    <a:pt x="1759" y="1656"/>
                  </a:lnTo>
                  <a:lnTo>
                    <a:pt x="1727" y="1658"/>
                  </a:lnTo>
                  <a:lnTo>
                    <a:pt x="1723" y="1671"/>
                  </a:lnTo>
                  <a:lnTo>
                    <a:pt x="1697" y="1664"/>
                  </a:lnTo>
                  <a:lnTo>
                    <a:pt x="1660" y="1688"/>
                  </a:lnTo>
                  <a:lnTo>
                    <a:pt x="1653" y="1683"/>
                  </a:lnTo>
                  <a:lnTo>
                    <a:pt x="1662" y="1669"/>
                  </a:lnTo>
                  <a:lnTo>
                    <a:pt x="1660" y="1658"/>
                  </a:lnTo>
                  <a:lnTo>
                    <a:pt x="1685" y="1629"/>
                  </a:lnTo>
                  <a:lnTo>
                    <a:pt x="1689" y="1605"/>
                  </a:lnTo>
                  <a:lnTo>
                    <a:pt x="1698" y="1586"/>
                  </a:lnTo>
                  <a:lnTo>
                    <a:pt x="1679" y="1557"/>
                  </a:lnTo>
                  <a:lnTo>
                    <a:pt x="1693" y="1557"/>
                  </a:lnTo>
                  <a:lnTo>
                    <a:pt x="1710" y="1586"/>
                  </a:lnTo>
                  <a:lnTo>
                    <a:pt x="1731" y="1591"/>
                  </a:lnTo>
                  <a:lnTo>
                    <a:pt x="1727" y="1576"/>
                  </a:lnTo>
                  <a:lnTo>
                    <a:pt x="1746" y="1578"/>
                  </a:lnTo>
                  <a:lnTo>
                    <a:pt x="1708" y="1527"/>
                  </a:lnTo>
                  <a:lnTo>
                    <a:pt x="1624" y="1519"/>
                  </a:lnTo>
                  <a:lnTo>
                    <a:pt x="1611" y="1510"/>
                  </a:lnTo>
                  <a:lnTo>
                    <a:pt x="1596" y="1483"/>
                  </a:lnTo>
                  <a:lnTo>
                    <a:pt x="1596" y="1451"/>
                  </a:lnTo>
                  <a:lnTo>
                    <a:pt x="1564" y="1451"/>
                  </a:lnTo>
                  <a:lnTo>
                    <a:pt x="1552" y="1415"/>
                  </a:lnTo>
                  <a:lnTo>
                    <a:pt x="1501" y="1407"/>
                  </a:lnTo>
                  <a:lnTo>
                    <a:pt x="1497" y="1426"/>
                  </a:lnTo>
                  <a:lnTo>
                    <a:pt x="1478" y="1432"/>
                  </a:lnTo>
                  <a:lnTo>
                    <a:pt x="1448" y="144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6" name="Freeform 252"/>
            <p:cNvSpPr>
              <a:spLocks/>
            </p:cNvSpPr>
            <p:nvPr/>
          </p:nvSpPr>
          <p:spPr bwMode="auto">
            <a:xfrm>
              <a:off x="1655229" y="3378458"/>
              <a:ext cx="24256" cy="13968"/>
            </a:xfrm>
            <a:custGeom>
              <a:avLst/>
              <a:gdLst>
                <a:gd name="T0" fmla="*/ 0 w 43"/>
                <a:gd name="T1" fmla="*/ 0 h 21"/>
                <a:gd name="T2" fmla="*/ 2147483647 w 43"/>
                <a:gd name="T3" fmla="*/ 2147483647 h 21"/>
                <a:gd name="T4" fmla="*/ 2147483647 w 43"/>
                <a:gd name="T5" fmla="*/ 2147483647 h 21"/>
                <a:gd name="T6" fmla="*/ 0 w 43"/>
                <a:gd name="T7" fmla="*/ 0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3"/>
                <a:gd name="T13" fmla="*/ 0 h 21"/>
                <a:gd name="T14" fmla="*/ 43 w 43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3" h="21">
                  <a:moveTo>
                    <a:pt x="0" y="0"/>
                  </a:moveTo>
                  <a:lnTo>
                    <a:pt x="43" y="3"/>
                  </a:lnTo>
                  <a:lnTo>
                    <a:pt x="36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7" name="Freeform 253"/>
            <p:cNvSpPr>
              <a:spLocks/>
            </p:cNvSpPr>
            <p:nvPr/>
          </p:nvSpPr>
          <p:spPr bwMode="auto">
            <a:xfrm>
              <a:off x="1787533" y="3292320"/>
              <a:ext cx="232635" cy="154815"/>
            </a:xfrm>
            <a:custGeom>
              <a:avLst/>
              <a:gdLst>
                <a:gd name="T0" fmla="*/ 0 w 425"/>
                <a:gd name="T1" fmla="*/ 2147483647 h 249"/>
                <a:gd name="T2" fmla="*/ 2147483647 w 425"/>
                <a:gd name="T3" fmla="*/ 2147483647 h 249"/>
                <a:gd name="T4" fmla="*/ 2147483647 w 425"/>
                <a:gd name="T5" fmla="*/ 2147483647 h 249"/>
                <a:gd name="T6" fmla="*/ 2147483647 w 425"/>
                <a:gd name="T7" fmla="*/ 2147483647 h 249"/>
                <a:gd name="T8" fmla="*/ 2147483647 w 425"/>
                <a:gd name="T9" fmla="*/ 2147483647 h 249"/>
                <a:gd name="T10" fmla="*/ 2147483647 w 425"/>
                <a:gd name="T11" fmla="*/ 2147483647 h 249"/>
                <a:gd name="T12" fmla="*/ 2147483647 w 425"/>
                <a:gd name="T13" fmla="*/ 0 h 249"/>
                <a:gd name="T14" fmla="*/ 2147483647 w 425"/>
                <a:gd name="T15" fmla="*/ 2147483647 h 249"/>
                <a:gd name="T16" fmla="*/ 2147483647 w 425"/>
                <a:gd name="T17" fmla="*/ 2147483647 h 249"/>
                <a:gd name="T18" fmla="*/ 2147483647 w 425"/>
                <a:gd name="T19" fmla="*/ 2147483647 h 249"/>
                <a:gd name="T20" fmla="*/ 2147483647 w 425"/>
                <a:gd name="T21" fmla="*/ 2147483647 h 249"/>
                <a:gd name="T22" fmla="*/ 2147483647 w 425"/>
                <a:gd name="T23" fmla="*/ 2147483647 h 249"/>
                <a:gd name="T24" fmla="*/ 2147483647 w 425"/>
                <a:gd name="T25" fmla="*/ 2147483647 h 249"/>
                <a:gd name="T26" fmla="*/ 2147483647 w 425"/>
                <a:gd name="T27" fmla="*/ 2147483647 h 249"/>
                <a:gd name="T28" fmla="*/ 2147483647 w 425"/>
                <a:gd name="T29" fmla="*/ 2147483647 h 249"/>
                <a:gd name="T30" fmla="*/ 2147483647 w 425"/>
                <a:gd name="T31" fmla="*/ 2147483647 h 249"/>
                <a:gd name="T32" fmla="*/ 2147483647 w 425"/>
                <a:gd name="T33" fmla="*/ 2147483647 h 249"/>
                <a:gd name="T34" fmla="*/ 2147483647 w 425"/>
                <a:gd name="T35" fmla="*/ 2147483647 h 249"/>
                <a:gd name="T36" fmla="*/ 2147483647 w 425"/>
                <a:gd name="T37" fmla="*/ 2147483647 h 249"/>
                <a:gd name="T38" fmla="*/ 2147483647 w 425"/>
                <a:gd name="T39" fmla="*/ 2147483647 h 249"/>
                <a:gd name="T40" fmla="*/ 2147483647 w 425"/>
                <a:gd name="T41" fmla="*/ 2147483647 h 249"/>
                <a:gd name="T42" fmla="*/ 2147483647 w 425"/>
                <a:gd name="T43" fmla="*/ 2147483647 h 249"/>
                <a:gd name="T44" fmla="*/ 2147483647 w 425"/>
                <a:gd name="T45" fmla="*/ 2147483647 h 249"/>
                <a:gd name="T46" fmla="*/ 2147483647 w 425"/>
                <a:gd name="T47" fmla="*/ 2147483647 h 249"/>
                <a:gd name="T48" fmla="*/ 2147483647 w 425"/>
                <a:gd name="T49" fmla="*/ 2147483647 h 249"/>
                <a:gd name="T50" fmla="*/ 2147483647 w 425"/>
                <a:gd name="T51" fmla="*/ 2147483647 h 249"/>
                <a:gd name="T52" fmla="*/ 2147483647 w 425"/>
                <a:gd name="T53" fmla="*/ 2147483647 h 249"/>
                <a:gd name="T54" fmla="*/ 2147483647 w 425"/>
                <a:gd name="T55" fmla="*/ 2147483647 h 249"/>
                <a:gd name="T56" fmla="*/ 2147483647 w 425"/>
                <a:gd name="T57" fmla="*/ 2147483647 h 249"/>
                <a:gd name="T58" fmla="*/ 2147483647 w 425"/>
                <a:gd name="T59" fmla="*/ 2147483647 h 249"/>
                <a:gd name="T60" fmla="*/ 2147483647 w 425"/>
                <a:gd name="T61" fmla="*/ 2147483647 h 249"/>
                <a:gd name="T62" fmla="*/ 2147483647 w 425"/>
                <a:gd name="T63" fmla="*/ 2147483647 h 249"/>
                <a:gd name="T64" fmla="*/ 2147483647 w 425"/>
                <a:gd name="T65" fmla="*/ 2147483647 h 249"/>
                <a:gd name="T66" fmla="*/ 2147483647 w 425"/>
                <a:gd name="T67" fmla="*/ 2147483647 h 249"/>
                <a:gd name="T68" fmla="*/ 2147483647 w 425"/>
                <a:gd name="T69" fmla="*/ 2147483647 h 249"/>
                <a:gd name="T70" fmla="*/ 2147483647 w 425"/>
                <a:gd name="T71" fmla="*/ 2147483647 h 249"/>
                <a:gd name="T72" fmla="*/ 2147483647 w 425"/>
                <a:gd name="T73" fmla="*/ 2147483647 h 249"/>
                <a:gd name="T74" fmla="*/ 2147483647 w 425"/>
                <a:gd name="T75" fmla="*/ 2147483647 h 249"/>
                <a:gd name="T76" fmla="*/ 2147483647 w 425"/>
                <a:gd name="T77" fmla="*/ 2147483647 h 249"/>
                <a:gd name="T78" fmla="*/ 2147483647 w 425"/>
                <a:gd name="T79" fmla="*/ 2147483647 h 249"/>
                <a:gd name="T80" fmla="*/ 2147483647 w 425"/>
                <a:gd name="T81" fmla="*/ 2147483647 h 249"/>
                <a:gd name="T82" fmla="*/ 2147483647 w 425"/>
                <a:gd name="T83" fmla="*/ 2147483647 h 249"/>
                <a:gd name="T84" fmla="*/ 2147483647 w 425"/>
                <a:gd name="T85" fmla="*/ 2147483647 h 249"/>
                <a:gd name="T86" fmla="*/ 2147483647 w 425"/>
                <a:gd name="T87" fmla="*/ 2147483647 h 249"/>
                <a:gd name="T88" fmla="*/ 2147483647 w 425"/>
                <a:gd name="T89" fmla="*/ 2147483647 h 249"/>
                <a:gd name="T90" fmla="*/ 2147483647 w 425"/>
                <a:gd name="T91" fmla="*/ 2147483647 h 249"/>
                <a:gd name="T92" fmla="*/ 2147483647 w 425"/>
                <a:gd name="T93" fmla="*/ 2147483647 h 249"/>
                <a:gd name="T94" fmla="*/ 2147483647 w 425"/>
                <a:gd name="T95" fmla="*/ 2147483647 h 249"/>
                <a:gd name="T96" fmla="*/ 0 w 425"/>
                <a:gd name="T97" fmla="*/ 2147483647 h 2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25"/>
                <a:gd name="T148" fmla="*/ 0 h 249"/>
                <a:gd name="T149" fmla="*/ 425 w 425"/>
                <a:gd name="T150" fmla="*/ 249 h 2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25" h="249">
                  <a:moveTo>
                    <a:pt x="0" y="188"/>
                  </a:moveTo>
                  <a:lnTo>
                    <a:pt x="74" y="125"/>
                  </a:lnTo>
                  <a:lnTo>
                    <a:pt x="112" y="110"/>
                  </a:lnTo>
                  <a:lnTo>
                    <a:pt x="131" y="86"/>
                  </a:lnTo>
                  <a:lnTo>
                    <a:pt x="178" y="32"/>
                  </a:lnTo>
                  <a:lnTo>
                    <a:pt x="233" y="6"/>
                  </a:lnTo>
                  <a:lnTo>
                    <a:pt x="258" y="0"/>
                  </a:lnTo>
                  <a:lnTo>
                    <a:pt x="275" y="4"/>
                  </a:lnTo>
                  <a:lnTo>
                    <a:pt x="290" y="17"/>
                  </a:lnTo>
                  <a:lnTo>
                    <a:pt x="294" y="40"/>
                  </a:lnTo>
                  <a:lnTo>
                    <a:pt x="262" y="57"/>
                  </a:lnTo>
                  <a:lnTo>
                    <a:pt x="241" y="53"/>
                  </a:lnTo>
                  <a:lnTo>
                    <a:pt x="233" y="63"/>
                  </a:lnTo>
                  <a:lnTo>
                    <a:pt x="258" y="84"/>
                  </a:lnTo>
                  <a:lnTo>
                    <a:pt x="268" y="72"/>
                  </a:lnTo>
                  <a:lnTo>
                    <a:pt x="281" y="76"/>
                  </a:lnTo>
                  <a:lnTo>
                    <a:pt x="271" y="103"/>
                  </a:lnTo>
                  <a:lnTo>
                    <a:pt x="294" y="141"/>
                  </a:lnTo>
                  <a:lnTo>
                    <a:pt x="334" y="158"/>
                  </a:lnTo>
                  <a:lnTo>
                    <a:pt x="361" y="150"/>
                  </a:lnTo>
                  <a:lnTo>
                    <a:pt x="382" y="156"/>
                  </a:lnTo>
                  <a:lnTo>
                    <a:pt x="380" y="142"/>
                  </a:lnTo>
                  <a:lnTo>
                    <a:pt x="399" y="95"/>
                  </a:lnTo>
                  <a:lnTo>
                    <a:pt x="412" y="99"/>
                  </a:lnTo>
                  <a:lnTo>
                    <a:pt x="403" y="142"/>
                  </a:lnTo>
                  <a:lnTo>
                    <a:pt x="414" y="129"/>
                  </a:lnTo>
                  <a:lnTo>
                    <a:pt x="423" y="129"/>
                  </a:lnTo>
                  <a:lnTo>
                    <a:pt x="425" y="144"/>
                  </a:lnTo>
                  <a:lnTo>
                    <a:pt x="412" y="160"/>
                  </a:lnTo>
                  <a:lnTo>
                    <a:pt x="399" y="163"/>
                  </a:lnTo>
                  <a:lnTo>
                    <a:pt x="384" y="160"/>
                  </a:lnTo>
                  <a:lnTo>
                    <a:pt x="387" y="171"/>
                  </a:lnTo>
                  <a:lnTo>
                    <a:pt x="313" y="207"/>
                  </a:lnTo>
                  <a:lnTo>
                    <a:pt x="290" y="203"/>
                  </a:lnTo>
                  <a:lnTo>
                    <a:pt x="262" y="249"/>
                  </a:lnTo>
                  <a:lnTo>
                    <a:pt x="239" y="230"/>
                  </a:lnTo>
                  <a:lnTo>
                    <a:pt x="241" y="203"/>
                  </a:lnTo>
                  <a:lnTo>
                    <a:pt x="281" y="179"/>
                  </a:lnTo>
                  <a:lnTo>
                    <a:pt x="296" y="177"/>
                  </a:lnTo>
                  <a:lnTo>
                    <a:pt x="270" y="163"/>
                  </a:lnTo>
                  <a:lnTo>
                    <a:pt x="239" y="179"/>
                  </a:lnTo>
                  <a:lnTo>
                    <a:pt x="207" y="179"/>
                  </a:lnTo>
                  <a:lnTo>
                    <a:pt x="190" y="163"/>
                  </a:lnTo>
                  <a:lnTo>
                    <a:pt x="176" y="87"/>
                  </a:lnTo>
                  <a:lnTo>
                    <a:pt x="154" y="93"/>
                  </a:lnTo>
                  <a:lnTo>
                    <a:pt x="146" y="86"/>
                  </a:lnTo>
                  <a:lnTo>
                    <a:pt x="116" y="142"/>
                  </a:lnTo>
                  <a:lnTo>
                    <a:pt x="85" y="184"/>
                  </a:lnTo>
                  <a:lnTo>
                    <a:pt x="0" y="18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8" name="Freeform 254"/>
            <p:cNvSpPr>
              <a:spLocks/>
            </p:cNvSpPr>
            <p:nvPr/>
          </p:nvSpPr>
          <p:spPr bwMode="auto">
            <a:xfrm>
              <a:off x="1944094" y="3278352"/>
              <a:ext cx="44101" cy="24444"/>
            </a:xfrm>
            <a:custGeom>
              <a:avLst/>
              <a:gdLst>
                <a:gd name="T0" fmla="*/ 0 w 81"/>
                <a:gd name="T1" fmla="*/ 2147483647 h 38"/>
                <a:gd name="T2" fmla="*/ 2147483647 w 81"/>
                <a:gd name="T3" fmla="*/ 0 h 38"/>
                <a:gd name="T4" fmla="*/ 2147483647 w 81"/>
                <a:gd name="T5" fmla="*/ 2147483647 h 38"/>
                <a:gd name="T6" fmla="*/ 2147483647 w 81"/>
                <a:gd name="T7" fmla="*/ 2147483647 h 38"/>
                <a:gd name="T8" fmla="*/ 2147483647 w 81"/>
                <a:gd name="T9" fmla="*/ 2147483647 h 38"/>
                <a:gd name="T10" fmla="*/ 2147483647 w 81"/>
                <a:gd name="T11" fmla="*/ 2147483647 h 38"/>
                <a:gd name="T12" fmla="*/ 2147483647 w 81"/>
                <a:gd name="T13" fmla="*/ 2147483647 h 38"/>
                <a:gd name="T14" fmla="*/ 0 w 81"/>
                <a:gd name="T15" fmla="*/ 2147483647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1"/>
                <a:gd name="T25" fmla="*/ 0 h 38"/>
                <a:gd name="T26" fmla="*/ 81 w 81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1" h="38">
                  <a:moveTo>
                    <a:pt x="0" y="6"/>
                  </a:moveTo>
                  <a:lnTo>
                    <a:pt x="15" y="0"/>
                  </a:lnTo>
                  <a:lnTo>
                    <a:pt x="57" y="10"/>
                  </a:lnTo>
                  <a:lnTo>
                    <a:pt x="78" y="23"/>
                  </a:lnTo>
                  <a:lnTo>
                    <a:pt x="81" y="38"/>
                  </a:lnTo>
                  <a:lnTo>
                    <a:pt x="26" y="29"/>
                  </a:lnTo>
                  <a:lnTo>
                    <a:pt x="28" y="19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79" name="Freeform 255"/>
            <p:cNvSpPr>
              <a:spLocks/>
            </p:cNvSpPr>
            <p:nvPr/>
          </p:nvSpPr>
          <p:spPr bwMode="auto">
            <a:xfrm>
              <a:off x="2024578" y="3224807"/>
              <a:ext cx="105843" cy="138519"/>
            </a:xfrm>
            <a:custGeom>
              <a:avLst/>
              <a:gdLst>
                <a:gd name="T0" fmla="*/ 2147483647 w 194"/>
                <a:gd name="T1" fmla="*/ 2147483647 h 222"/>
                <a:gd name="T2" fmla="*/ 2147483647 w 194"/>
                <a:gd name="T3" fmla="*/ 2147483647 h 222"/>
                <a:gd name="T4" fmla="*/ 2147483647 w 194"/>
                <a:gd name="T5" fmla="*/ 2147483647 h 222"/>
                <a:gd name="T6" fmla="*/ 2147483647 w 194"/>
                <a:gd name="T7" fmla="*/ 2147483647 h 222"/>
                <a:gd name="T8" fmla="*/ 2147483647 w 194"/>
                <a:gd name="T9" fmla="*/ 2147483647 h 222"/>
                <a:gd name="T10" fmla="*/ 2147483647 w 194"/>
                <a:gd name="T11" fmla="*/ 2147483647 h 222"/>
                <a:gd name="T12" fmla="*/ 2147483647 w 194"/>
                <a:gd name="T13" fmla="*/ 2147483647 h 222"/>
                <a:gd name="T14" fmla="*/ 2147483647 w 194"/>
                <a:gd name="T15" fmla="*/ 2147483647 h 222"/>
                <a:gd name="T16" fmla="*/ 2147483647 w 194"/>
                <a:gd name="T17" fmla="*/ 2147483647 h 222"/>
                <a:gd name="T18" fmla="*/ 2147483647 w 194"/>
                <a:gd name="T19" fmla="*/ 2147483647 h 222"/>
                <a:gd name="T20" fmla="*/ 2147483647 w 194"/>
                <a:gd name="T21" fmla="*/ 2147483647 h 222"/>
                <a:gd name="T22" fmla="*/ 2147483647 w 194"/>
                <a:gd name="T23" fmla="*/ 2147483647 h 222"/>
                <a:gd name="T24" fmla="*/ 2147483647 w 194"/>
                <a:gd name="T25" fmla="*/ 2147483647 h 222"/>
                <a:gd name="T26" fmla="*/ 2147483647 w 194"/>
                <a:gd name="T27" fmla="*/ 2147483647 h 222"/>
                <a:gd name="T28" fmla="*/ 2147483647 w 194"/>
                <a:gd name="T29" fmla="*/ 2147483647 h 222"/>
                <a:gd name="T30" fmla="*/ 2147483647 w 194"/>
                <a:gd name="T31" fmla="*/ 2147483647 h 222"/>
                <a:gd name="T32" fmla="*/ 2147483647 w 194"/>
                <a:gd name="T33" fmla="*/ 2147483647 h 222"/>
                <a:gd name="T34" fmla="*/ 2147483647 w 194"/>
                <a:gd name="T35" fmla="*/ 2147483647 h 222"/>
                <a:gd name="T36" fmla="*/ 2147483647 w 194"/>
                <a:gd name="T37" fmla="*/ 2147483647 h 222"/>
                <a:gd name="T38" fmla="*/ 2147483647 w 194"/>
                <a:gd name="T39" fmla="*/ 2147483647 h 222"/>
                <a:gd name="T40" fmla="*/ 2147483647 w 194"/>
                <a:gd name="T41" fmla="*/ 2147483647 h 222"/>
                <a:gd name="T42" fmla="*/ 2147483647 w 194"/>
                <a:gd name="T43" fmla="*/ 2147483647 h 222"/>
                <a:gd name="T44" fmla="*/ 2147483647 w 194"/>
                <a:gd name="T45" fmla="*/ 2147483647 h 222"/>
                <a:gd name="T46" fmla="*/ 2147483647 w 194"/>
                <a:gd name="T47" fmla="*/ 2147483647 h 222"/>
                <a:gd name="T48" fmla="*/ 2147483647 w 194"/>
                <a:gd name="T49" fmla="*/ 2147483647 h 222"/>
                <a:gd name="T50" fmla="*/ 2147483647 w 194"/>
                <a:gd name="T51" fmla="*/ 2147483647 h 222"/>
                <a:gd name="T52" fmla="*/ 2147483647 w 194"/>
                <a:gd name="T53" fmla="*/ 2147483647 h 222"/>
                <a:gd name="T54" fmla="*/ 2147483647 w 194"/>
                <a:gd name="T55" fmla="*/ 2147483647 h 222"/>
                <a:gd name="T56" fmla="*/ 2147483647 w 194"/>
                <a:gd name="T57" fmla="*/ 2147483647 h 222"/>
                <a:gd name="T58" fmla="*/ 2147483647 w 194"/>
                <a:gd name="T59" fmla="*/ 2147483647 h 222"/>
                <a:gd name="T60" fmla="*/ 2147483647 w 194"/>
                <a:gd name="T61" fmla="*/ 2147483647 h 222"/>
                <a:gd name="T62" fmla="*/ 2147483647 w 194"/>
                <a:gd name="T63" fmla="*/ 2147483647 h 222"/>
                <a:gd name="T64" fmla="*/ 2147483647 w 194"/>
                <a:gd name="T65" fmla="*/ 2147483647 h 222"/>
                <a:gd name="T66" fmla="*/ 2147483647 w 194"/>
                <a:gd name="T67" fmla="*/ 2147483647 h 222"/>
                <a:gd name="T68" fmla="*/ 2147483647 w 194"/>
                <a:gd name="T69" fmla="*/ 2147483647 h 222"/>
                <a:gd name="T70" fmla="*/ 0 w 194"/>
                <a:gd name="T71" fmla="*/ 2147483647 h 222"/>
                <a:gd name="T72" fmla="*/ 2147483647 w 194"/>
                <a:gd name="T73" fmla="*/ 2147483647 h 222"/>
                <a:gd name="T74" fmla="*/ 2147483647 w 194"/>
                <a:gd name="T75" fmla="*/ 2147483647 h 222"/>
                <a:gd name="T76" fmla="*/ 2147483647 w 194"/>
                <a:gd name="T77" fmla="*/ 2147483647 h 222"/>
                <a:gd name="T78" fmla="*/ 2147483647 w 194"/>
                <a:gd name="T79" fmla="*/ 2147483647 h 222"/>
                <a:gd name="T80" fmla="*/ 2147483647 w 194"/>
                <a:gd name="T81" fmla="*/ 0 h 222"/>
                <a:gd name="T82" fmla="*/ 2147483647 w 194"/>
                <a:gd name="T83" fmla="*/ 2147483647 h 22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4"/>
                <a:gd name="T127" fmla="*/ 0 h 222"/>
                <a:gd name="T128" fmla="*/ 194 w 194"/>
                <a:gd name="T129" fmla="*/ 222 h 22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4" h="222">
                  <a:moveTo>
                    <a:pt x="122" y="2"/>
                  </a:moveTo>
                  <a:lnTo>
                    <a:pt x="104" y="43"/>
                  </a:lnTo>
                  <a:lnTo>
                    <a:pt x="68" y="99"/>
                  </a:lnTo>
                  <a:lnTo>
                    <a:pt x="74" y="106"/>
                  </a:lnTo>
                  <a:lnTo>
                    <a:pt x="97" y="74"/>
                  </a:lnTo>
                  <a:lnTo>
                    <a:pt x="114" y="81"/>
                  </a:lnTo>
                  <a:lnTo>
                    <a:pt x="99" y="112"/>
                  </a:lnTo>
                  <a:lnTo>
                    <a:pt x="116" y="119"/>
                  </a:lnTo>
                  <a:lnTo>
                    <a:pt x="144" y="99"/>
                  </a:lnTo>
                  <a:lnTo>
                    <a:pt x="165" y="114"/>
                  </a:lnTo>
                  <a:lnTo>
                    <a:pt x="154" y="131"/>
                  </a:lnTo>
                  <a:lnTo>
                    <a:pt x="158" y="150"/>
                  </a:lnTo>
                  <a:lnTo>
                    <a:pt x="184" y="133"/>
                  </a:lnTo>
                  <a:lnTo>
                    <a:pt x="180" y="152"/>
                  </a:lnTo>
                  <a:lnTo>
                    <a:pt x="160" y="159"/>
                  </a:lnTo>
                  <a:lnTo>
                    <a:pt x="152" y="180"/>
                  </a:lnTo>
                  <a:lnTo>
                    <a:pt x="182" y="163"/>
                  </a:lnTo>
                  <a:lnTo>
                    <a:pt x="173" y="192"/>
                  </a:lnTo>
                  <a:lnTo>
                    <a:pt x="190" y="180"/>
                  </a:lnTo>
                  <a:lnTo>
                    <a:pt x="194" y="194"/>
                  </a:lnTo>
                  <a:lnTo>
                    <a:pt x="180" y="216"/>
                  </a:lnTo>
                  <a:lnTo>
                    <a:pt x="161" y="222"/>
                  </a:lnTo>
                  <a:lnTo>
                    <a:pt x="156" y="197"/>
                  </a:lnTo>
                  <a:lnTo>
                    <a:pt x="141" y="220"/>
                  </a:lnTo>
                  <a:lnTo>
                    <a:pt x="133" y="209"/>
                  </a:lnTo>
                  <a:lnTo>
                    <a:pt x="150" y="171"/>
                  </a:lnTo>
                  <a:lnTo>
                    <a:pt x="123" y="192"/>
                  </a:lnTo>
                  <a:lnTo>
                    <a:pt x="114" y="214"/>
                  </a:lnTo>
                  <a:lnTo>
                    <a:pt x="89" y="214"/>
                  </a:lnTo>
                  <a:lnTo>
                    <a:pt x="123" y="180"/>
                  </a:lnTo>
                  <a:lnTo>
                    <a:pt x="114" y="176"/>
                  </a:lnTo>
                  <a:lnTo>
                    <a:pt x="103" y="188"/>
                  </a:lnTo>
                  <a:lnTo>
                    <a:pt x="91" y="178"/>
                  </a:lnTo>
                  <a:lnTo>
                    <a:pt x="74" y="188"/>
                  </a:lnTo>
                  <a:lnTo>
                    <a:pt x="8" y="192"/>
                  </a:lnTo>
                  <a:lnTo>
                    <a:pt x="0" y="171"/>
                  </a:lnTo>
                  <a:lnTo>
                    <a:pt x="21" y="148"/>
                  </a:lnTo>
                  <a:lnTo>
                    <a:pt x="9" y="144"/>
                  </a:lnTo>
                  <a:lnTo>
                    <a:pt x="66" y="30"/>
                  </a:lnTo>
                  <a:lnTo>
                    <a:pt x="80" y="19"/>
                  </a:lnTo>
                  <a:lnTo>
                    <a:pt x="104" y="0"/>
                  </a:lnTo>
                  <a:lnTo>
                    <a:pt x="122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0" name="Freeform 256"/>
            <p:cNvSpPr>
              <a:spLocks/>
            </p:cNvSpPr>
            <p:nvPr/>
          </p:nvSpPr>
          <p:spPr bwMode="auto">
            <a:xfrm>
              <a:off x="1948504" y="3351685"/>
              <a:ext cx="36384" cy="30265"/>
            </a:xfrm>
            <a:custGeom>
              <a:avLst/>
              <a:gdLst>
                <a:gd name="T0" fmla="*/ 2147483647 w 67"/>
                <a:gd name="T1" fmla="*/ 0 h 49"/>
                <a:gd name="T2" fmla="*/ 2147483647 w 67"/>
                <a:gd name="T3" fmla="*/ 2147483647 h 49"/>
                <a:gd name="T4" fmla="*/ 2147483647 w 67"/>
                <a:gd name="T5" fmla="*/ 2147483647 h 49"/>
                <a:gd name="T6" fmla="*/ 2147483647 w 67"/>
                <a:gd name="T7" fmla="*/ 2147483647 h 49"/>
                <a:gd name="T8" fmla="*/ 2147483647 w 67"/>
                <a:gd name="T9" fmla="*/ 2147483647 h 49"/>
                <a:gd name="T10" fmla="*/ 0 w 67"/>
                <a:gd name="T11" fmla="*/ 2147483647 h 49"/>
                <a:gd name="T12" fmla="*/ 2147483647 w 67"/>
                <a:gd name="T13" fmla="*/ 0 h 4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49"/>
                <a:gd name="T23" fmla="*/ 67 w 67"/>
                <a:gd name="T24" fmla="*/ 49 h 4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49">
                  <a:moveTo>
                    <a:pt x="16" y="0"/>
                  </a:moveTo>
                  <a:lnTo>
                    <a:pt x="21" y="27"/>
                  </a:lnTo>
                  <a:lnTo>
                    <a:pt x="67" y="25"/>
                  </a:lnTo>
                  <a:lnTo>
                    <a:pt x="54" y="49"/>
                  </a:lnTo>
                  <a:lnTo>
                    <a:pt x="21" y="44"/>
                  </a:lnTo>
                  <a:lnTo>
                    <a:pt x="0" y="19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1" name="Freeform 257"/>
            <p:cNvSpPr>
              <a:spLocks/>
            </p:cNvSpPr>
            <p:nvPr/>
          </p:nvSpPr>
          <p:spPr bwMode="auto">
            <a:xfrm>
              <a:off x="887864" y="3154965"/>
              <a:ext cx="25359" cy="59365"/>
            </a:xfrm>
            <a:custGeom>
              <a:avLst/>
              <a:gdLst>
                <a:gd name="T0" fmla="*/ 0 w 48"/>
                <a:gd name="T1" fmla="*/ 0 h 95"/>
                <a:gd name="T2" fmla="*/ 2147483647 w 48"/>
                <a:gd name="T3" fmla="*/ 2147483647 h 95"/>
                <a:gd name="T4" fmla="*/ 2147483647 w 48"/>
                <a:gd name="T5" fmla="*/ 2147483647 h 95"/>
                <a:gd name="T6" fmla="*/ 2147483647 w 48"/>
                <a:gd name="T7" fmla="*/ 2147483647 h 95"/>
                <a:gd name="T8" fmla="*/ 2147483647 w 48"/>
                <a:gd name="T9" fmla="*/ 2147483647 h 95"/>
                <a:gd name="T10" fmla="*/ 2147483647 w 48"/>
                <a:gd name="T11" fmla="*/ 2147483647 h 95"/>
                <a:gd name="T12" fmla="*/ 2147483647 w 48"/>
                <a:gd name="T13" fmla="*/ 2147483647 h 95"/>
                <a:gd name="T14" fmla="*/ 2147483647 w 48"/>
                <a:gd name="T15" fmla="*/ 2147483647 h 95"/>
                <a:gd name="T16" fmla="*/ 0 w 48"/>
                <a:gd name="T17" fmla="*/ 0 h 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8"/>
                <a:gd name="T28" fmla="*/ 0 h 95"/>
                <a:gd name="T29" fmla="*/ 48 w 48"/>
                <a:gd name="T30" fmla="*/ 95 h 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8" h="95">
                  <a:moveTo>
                    <a:pt x="0" y="0"/>
                  </a:moveTo>
                  <a:lnTo>
                    <a:pt x="38" y="4"/>
                  </a:lnTo>
                  <a:lnTo>
                    <a:pt x="29" y="23"/>
                  </a:lnTo>
                  <a:lnTo>
                    <a:pt x="38" y="51"/>
                  </a:lnTo>
                  <a:lnTo>
                    <a:pt x="33" y="57"/>
                  </a:lnTo>
                  <a:lnTo>
                    <a:pt x="48" y="95"/>
                  </a:lnTo>
                  <a:lnTo>
                    <a:pt x="19" y="70"/>
                  </a:lnTo>
                  <a:lnTo>
                    <a:pt x="2" y="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2" name="Freeform 258"/>
            <p:cNvSpPr>
              <a:spLocks/>
            </p:cNvSpPr>
            <p:nvPr/>
          </p:nvSpPr>
          <p:spPr bwMode="auto">
            <a:xfrm>
              <a:off x="959529" y="3251579"/>
              <a:ext cx="79383" cy="68677"/>
            </a:xfrm>
            <a:custGeom>
              <a:avLst/>
              <a:gdLst>
                <a:gd name="T0" fmla="*/ 0 w 147"/>
                <a:gd name="T1" fmla="*/ 2147483647 h 110"/>
                <a:gd name="T2" fmla="*/ 2147483647 w 147"/>
                <a:gd name="T3" fmla="*/ 0 h 110"/>
                <a:gd name="T4" fmla="*/ 2147483647 w 147"/>
                <a:gd name="T5" fmla="*/ 2147483647 h 110"/>
                <a:gd name="T6" fmla="*/ 2147483647 w 147"/>
                <a:gd name="T7" fmla="*/ 2147483647 h 110"/>
                <a:gd name="T8" fmla="*/ 2147483647 w 147"/>
                <a:gd name="T9" fmla="*/ 2147483647 h 110"/>
                <a:gd name="T10" fmla="*/ 2147483647 w 147"/>
                <a:gd name="T11" fmla="*/ 2147483647 h 110"/>
                <a:gd name="T12" fmla="*/ 2147483647 w 147"/>
                <a:gd name="T13" fmla="*/ 2147483647 h 110"/>
                <a:gd name="T14" fmla="*/ 2147483647 w 147"/>
                <a:gd name="T15" fmla="*/ 2147483647 h 110"/>
                <a:gd name="T16" fmla="*/ 2147483647 w 147"/>
                <a:gd name="T17" fmla="*/ 2147483647 h 110"/>
                <a:gd name="T18" fmla="*/ 2147483647 w 147"/>
                <a:gd name="T19" fmla="*/ 2147483647 h 110"/>
                <a:gd name="T20" fmla="*/ 2147483647 w 147"/>
                <a:gd name="T21" fmla="*/ 2147483647 h 110"/>
                <a:gd name="T22" fmla="*/ 2147483647 w 147"/>
                <a:gd name="T23" fmla="*/ 2147483647 h 110"/>
                <a:gd name="T24" fmla="*/ 0 w 147"/>
                <a:gd name="T25" fmla="*/ 2147483647 h 1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7"/>
                <a:gd name="T40" fmla="*/ 0 h 110"/>
                <a:gd name="T41" fmla="*/ 147 w 147"/>
                <a:gd name="T42" fmla="*/ 110 h 11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7" h="110">
                  <a:moveTo>
                    <a:pt x="0" y="5"/>
                  </a:moveTo>
                  <a:lnTo>
                    <a:pt x="27" y="0"/>
                  </a:lnTo>
                  <a:lnTo>
                    <a:pt x="82" y="28"/>
                  </a:lnTo>
                  <a:lnTo>
                    <a:pt x="90" y="45"/>
                  </a:lnTo>
                  <a:lnTo>
                    <a:pt x="122" y="70"/>
                  </a:lnTo>
                  <a:lnTo>
                    <a:pt x="147" y="100"/>
                  </a:lnTo>
                  <a:lnTo>
                    <a:pt x="145" y="110"/>
                  </a:lnTo>
                  <a:lnTo>
                    <a:pt x="95" y="91"/>
                  </a:lnTo>
                  <a:lnTo>
                    <a:pt x="48" y="58"/>
                  </a:lnTo>
                  <a:lnTo>
                    <a:pt x="35" y="36"/>
                  </a:lnTo>
                  <a:lnTo>
                    <a:pt x="25" y="43"/>
                  </a:lnTo>
                  <a:lnTo>
                    <a:pt x="14" y="19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3" name="Freeform 259"/>
            <p:cNvSpPr>
              <a:spLocks/>
            </p:cNvSpPr>
            <p:nvPr/>
          </p:nvSpPr>
          <p:spPr bwMode="auto">
            <a:xfrm>
              <a:off x="1593487" y="2731259"/>
              <a:ext cx="109151" cy="118731"/>
            </a:xfrm>
            <a:custGeom>
              <a:avLst/>
              <a:gdLst>
                <a:gd name="T0" fmla="*/ 0 w 202"/>
                <a:gd name="T1" fmla="*/ 2147483647 h 190"/>
                <a:gd name="T2" fmla="*/ 2147483647 w 202"/>
                <a:gd name="T3" fmla="*/ 2147483647 h 190"/>
                <a:gd name="T4" fmla="*/ 2147483647 w 202"/>
                <a:gd name="T5" fmla="*/ 2147483647 h 190"/>
                <a:gd name="T6" fmla="*/ 2147483647 w 202"/>
                <a:gd name="T7" fmla="*/ 2147483647 h 190"/>
                <a:gd name="T8" fmla="*/ 2147483647 w 202"/>
                <a:gd name="T9" fmla="*/ 2147483647 h 190"/>
                <a:gd name="T10" fmla="*/ 2147483647 w 202"/>
                <a:gd name="T11" fmla="*/ 0 h 190"/>
                <a:gd name="T12" fmla="*/ 2147483647 w 202"/>
                <a:gd name="T13" fmla="*/ 2147483647 h 190"/>
                <a:gd name="T14" fmla="*/ 2147483647 w 202"/>
                <a:gd name="T15" fmla="*/ 2147483647 h 190"/>
                <a:gd name="T16" fmla="*/ 2147483647 w 202"/>
                <a:gd name="T17" fmla="*/ 2147483647 h 190"/>
                <a:gd name="T18" fmla="*/ 2147483647 w 202"/>
                <a:gd name="T19" fmla="*/ 2147483647 h 190"/>
                <a:gd name="T20" fmla="*/ 2147483647 w 202"/>
                <a:gd name="T21" fmla="*/ 2147483647 h 190"/>
                <a:gd name="T22" fmla="*/ 2147483647 w 202"/>
                <a:gd name="T23" fmla="*/ 2147483647 h 190"/>
                <a:gd name="T24" fmla="*/ 2147483647 w 202"/>
                <a:gd name="T25" fmla="*/ 2147483647 h 190"/>
                <a:gd name="T26" fmla="*/ 2147483647 w 202"/>
                <a:gd name="T27" fmla="*/ 2147483647 h 190"/>
                <a:gd name="T28" fmla="*/ 2147483647 w 202"/>
                <a:gd name="T29" fmla="*/ 2147483647 h 190"/>
                <a:gd name="T30" fmla="*/ 2147483647 w 202"/>
                <a:gd name="T31" fmla="*/ 2147483647 h 190"/>
                <a:gd name="T32" fmla="*/ 2147483647 w 202"/>
                <a:gd name="T33" fmla="*/ 2147483647 h 190"/>
                <a:gd name="T34" fmla="*/ 2147483647 w 202"/>
                <a:gd name="T35" fmla="*/ 2147483647 h 190"/>
                <a:gd name="T36" fmla="*/ 2147483647 w 202"/>
                <a:gd name="T37" fmla="*/ 2147483647 h 190"/>
                <a:gd name="T38" fmla="*/ 2147483647 w 202"/>
                <a:gd name="T39" fmla="*/ 2147483647 h 190"/>
                <a:gd name="T40" fmla="*/ 2147483647 w 202"/>
                <a:gd name="T41" fmla="*/ 2147483647 h 190"/>
                <a:gd name="T42" fmla="*/ 2147483647 w 202"/>
                <a:gd name="T43" fmla="*/ 2147483647 h 190"/>
                <a:gd name="T44" fmla="*/ 0 w 202"/>
                <a:gd name="T45" fmla="*/ 2147483647 h 19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2"/>
                <a:gd name="T70" fmla="*/ 0 h 190"/>
                <a:gd name="T71" fmla="*/ 202 w 202"/>
                <a:gd name="T72" fmla="*/ 190 h 19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2" h="190">
                  <a:moveTo>
                    <a:pt x="0" y="148"/>
                  </a:moveTo>
                  <a:lnTo>
                    <a:pt x="4" y="129"/>
                  </a:lnTo>
                  <a:lnTo>
                    <a:pt x="25" y="121"/>
                  </a:lnTo>
                  <a:lnTo>
                    <a:pt x="23" y="80"/>
                  </a:lnTo>
                  <a:lnTo>
                    <a:pt x="27" y="32"/>
                  </a:lnTo>
                  <a:lnTo>
                    <a:pt x="50" y="0"/>
                  </a:lnTo>
                  <a:lnTo>
                    <a:pt x="59" y="7"/>
                  </a:lnTo>
                  <a:lnTo>
                    <a:pt x="73" y="49"/>
                  </a:lnTo>
                  <a:lnTo>
                    <a:pt x="80" y="30"/>
                  </a:lnTo>
                  <a:lnTo>
                    <a:pt x="95" y="40"/>
                  </a:lnTo>
                  <a:lnTo>
                    <a:pt x="154" y="91"/>
                  </a:lnTo>
                  <a:lnTo>
                    <a:pt x="154" y="117"/>
                  </a:lnTo>
                  <a:lnTo>
                    <a:pt x="179" y="116"/>
                  </a:lnTo>
                  <a:lnTo>
                    <a:pt x="202" y="131"/>
                  </a:lnTo>
                  <a:lnTo>
                    <a:pt x="179" y="154"/>
                  </a:lnTo>
                  <a:lnTo>
                    <a:pt x="139" y="142"/>
                  </a:lnTo>
                  <a:lnTo>
                    <a:pt x="141" y="127"/>
                  </a:lnTo>
                  <a:lnTo>
                    <a:pt x="109" y="119"/>
                  </a:lnTo>
                  <a:lnTo>
                    <a:pt x="88" y="144"/>
                  </a:lnTo>
                  <a:lnTo>
                    <a:pt x="82" y="159"/>
                  </a:lnTo>
                  <a:lnTo>
                    <a:pt x="56" y="190"/>
                  </a:lnTo>
                  <a:lnTo>
                    <a:pt x="50" y="14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4" name="Freeform 260"/>
            <p:cNvSpPr>
              <a:spLocks/>
            </p:cNvSpPr>
            <p:nvPr/>
          </p:nvSpPr>
          <p:spPr bwMode="auto">
            <a:xfrm>
              <a:off x="1644204" y="2847662"/>
              <a:ext cx="30871" cy="32593"/>
            </a:xfrm>
            <a:custGeom>
              <a:avLst/>
              <a:gdLst>
                <a:gd name="T0" fmla="*/ 2147483647 w 55"/>
                <a:gd name="T1" fmla="*/ 2147483647 h 55"/>
                <a:gd name="T2" fmla="*/ 2147483647 w 55"/>
                <a:gd name="T3" fmla="*/ 2147483647 h 55"/>
                <a:gd name="T4" fmla="*/ 2147483647 w 55"/>
                <a:gd name="T5" fmla="*/ 0 h 55"/>
                <a:gd name="T6" fmla="*/ 2147483647 w 55"/>
                <a:gd name="T7" fmla="*/ 0 h 55"/>
                <a:gd name="T8" fmla="*/ 2147483647 w 55"/>
                <a:gd name="T9" fmla="*/ 2147483647 h 55"/>
                <a:gd name="T10" fmla="*/ 2147483647 w 55"/>
                <a:gd name="T11" fmla="*/ 2147483647 h 55"/>
                <a:gd name="T12" fmla="*/ 2147483647 w 55"/>
                <a:gd name="T13" fmla="*/ 2147483647 h 55"/>
                <a:gd name="T14" fmla="*/ 0 w 55"/>
                <a:gd name="T15" fmla="*/ 2147483647 h 55"/>
                <a:gd name="T16" fmla="*/ 2147483647 w 55"/>
                <a:gd name="T17" fmla="*/ 2147483647 h 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"/>
                <a:gd name="T28" fmla="*/ 0 h 55"/>
                <a:gd name="T29" fmla="*/ 55 w 55"/>
                <a:gd name="T30" fmla="*/ 55 h 5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" h="55">
                  <a:moveTo>
                    <a:pt x="11" y="6"/>
                  </a:moveTo>
                  <a:lnTo>
                    <a:pt x="36" y="9"/>
                  </a:lnTo>
                  <a:lnTo>
                    <a:pt x="45" y="0"/>
                  </a:lnTo>
                  <a:lnTo>
                    <a:pt x="55" y="0"/>
                  </a:lnTo>
                  <a:lnTo>
                    <a:pt x="51" y="21"/>
                  </a:lnTo>
                  <a:lnTo>
                    <a:pt x="22" y="51"/>
                  </a:lnTo>
                  <a:lnTo>
                    <a:pt x="5" y="55"/>
                  </a:lnTo>
                  <a:lnTo>
                    <a:pt x="0" y="34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5" name="Freeform 261"/>
            <p:cNvSpPr>
              <a:spLocks/>
            </p:cNvSpPr>
            <p:nvPr/>
          </p:nvSpPr>
          <p:spPr bwMode="auto">
            <a:xfrm>
              <a:off x="1694920" y="2861630"/>
              <a:ext cx="22051" cy="43069"/>
            </a:xfrm>
            <a:custGeom>
              <a:avLst/>
              <a:gdLst>
                <a:gd name="T0" fmla="*/ 2147483647 w 40"/>
                <a:gd name="T1" fmla="*/ 2147483647 h 66"/>
                <a:gd name="T2" fmla="*/ 2147483647 w 40"/>
                <a:gd name="T3" fmla="*/ 0 h 66"/>
                <a:gd name="T4" fmla="*/ 2147483647 w 40"/>
                <a:gd name="T5" fmla="*/ 2147483647 h 66"/>
                <a:gd name="T6" fmla="*/ 2147483647 w 40"/>
                <a:gd name="T7" fmla="*/ 2147483647 h 66"/>
                <a:gd name="T8" fmla="*/ 2147483647 w 40"/>
                <a:gd name="T9" fmla="*/ 2147483647 h 66"/>
                <a:gd name="T10" fmla="*/ 0 w 40"/>
                <a:gd name="T11" fmla="*/ 2147483647 h 66"/>
                <a:gd name="T12" fmla="*/ 2147483647 w 40"/>
                <a:gd name="T13" fmla="*/ 2147483647 h 66"/>
                <a:gd name="T14" fmla="*/ 2147483647 w 40"/>
                <a:gd name="T15" fmla="*/ 2147483647 h 6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66"/>
                <a:gd name="T26" fmla="*/ 40 w 40"/>
                <a:gd name="T27" fmla="*/ 66 h 6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66">
                  <a:moveTo>
                    <a:pt x="17" y="3"/>
                  </a:moveTo>
                  <a:lnTo>
                    <a:pt x="28" y="0"/>
                  </a:lnTo>
                  <a:lnTo>
                    <a:pt x="40" y="9"/>
                  </a:lnTo>
                  <a:lnTo>
                    <a:pt x="28" y="66"/>
                  </a:lnTo>
                  <a:lnTo>
                    <a:pt x="15" y="51"/>
                  </a:lnTo>
                  <a:lnTo>
                    <a:pt x="0" y="49"/>
                  </a:lnTo>
                  <a:lnTo>
                    <a:pt x="3" y="28"/>
                  </a:lnTo>
                  <a:lnTo>
                    <a:pt x="17" y="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6" name="Freeform 262"/>
            <p:cNvSpPr>
              <a:spLocks/>
            </p:cNvSpPr>
            <p:nvPr/>
          </p:nvSpPr>
          <p:spPr bwMode="auto">
            <a:xfrm>
              <a:off x="1750047" y="2610200"/>
              <a:ext cx="31974" cy="52381"/>
            </a:xfrm>
            <a:custGeom>
              <a:avLst/>
              <a:gdLst>
                <a:gd name="T0" fmla="*/ 2147483647 w 57"/>
                <a:gd name="T1" fmla="*/ 0 h 84"/>
                <a:gd name="T2" fmla="*/ 2147483647 w 57"/>
                <a:gd name="T3" fmla="*/ 2147483647 h 84"/>
                <a:gd name="T4" fmla="*/ 2147483647 w 57"/>
                <a:gd name="T5" fmla="*/ 2147483647 h 84"/>
                <a:gd name="T6" fmla="*/ 2147483647 w 57"/>
                <a:gd name="T7" fmla="*/ 2147483647 h 84"/>
                <a:gd name="T8" fmla="*/ 2147483647 w 57"/>
                <a:gd name="T9" fmla="*/ 2147483647 h 84"/>
                <a:gd name="T10" fmla="*/ 2147483647 w 57"/>
                <a:gd name="T11" fmla="*/ 2147483647 h 84"/>
                <a:gd name="T12" fmla="*/ 2147483647 w 57"/>
                <a:gd name="T13" fmla="*/ 2147483647 h 84"/>
                <a:gd name="T14" fmla="*/ 0 w 57"/>
                <a:gd name="T15" fmla="*/ 2147483647 h 84"/>
                <a:gd name="T16" fmla="*/ 2147483647 w 57"/>
                <a:gd name="T17" fmla="*/ 0 h 8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7"/>
                <a:gd name="T28" fmla="*/ 0 h 84"/>
                <a:gd name="T29" fmla="*/ 57 w 57"/>
                <a:gd name="T30" fmla="*/ 84 h 8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7" h="84">
                  <a:moveTo>
                    <a:pt x="27" y="0"/>
                  </a:moveTo>
                  <a:lnTo>
                    <a:pt x="57" y="4"/>
                  </a:lnTo>
                  <a:lnTo>
                    <a:pt x="52" y="23"/>
                  </a:lnTo>
                  <a:lnTo>
                    <a:pt x="57" y="57"/>
                  </a:lnTo>
                  <a:lnTo>
                    <a:pt x="46" y="78"/>
                  </a:lnTo>
                  <a:lnTo>
                    <a:pt x="17" y="84"/>
                  </a:lnTo>
                  <a:lnTo>
                    <a:pt x="2" y="76"/>
                  </a:lnTo>
                  <a:lnTo>
                    <a:pt x="0" y="34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7" name="Freeform 263"/>
            <p:cNvSpPr>
              <a:spLocks/>
            </p:cNvSpPr>
            <p:nvPr/>
          </p:nvSpPr>
          <p:spPr bwMode="auto">
            <a:xfrm>
              <a:off x="1929760" y="2900043"/>
              <a:ext cx="16538" cy="22116"/>
            </a:xfrm>
            <a:custGeom>
              <a:avLst/>
              <a:gdLst>
                <a:gd name="T0" fmla="*/ 0 w 31"/>
                <a:gd name="T1" fmla="*/ 2147483647 h 37"/>
                <a:gd name="T2" fmla="*/ 2147483647 w 31"/>
                <a:gd name="T3" fmla="*/ 0 h 37"/>
                <a:gd name="T4" fmla="*/ 2147483647 w 31"/>
                <a:gd name="T5" fmla="*/ 2147483647 h 37"/>
                <a:gd name="T6" fmla="*/ 2147483647 w 31"/>
                <a:gd name="T7" fmla="*/ 2147483647 h 37"/>
                <a:gd name="T8" fmla="*/ 0 w 31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37"/>
                <a:gd name="T17" fmla="*/ 31 w 31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37">
                  <a:moveTo>
                    <a:pt x="0" y="8"/>
                  </a:moveTo>
                  <a:lnTo>
                    <a:pt x="21" y="0"/>
                  </a:lnTo>
                  <a:lnTo>
                    <a:pt x="31" y="10"/>
                  </a:lnTo>
                  <a:lnTo>
                    <a:pt x="17" y="37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8" name="Freeform 264"/>
            <p:cNvSpPr>
              <a:spLocks/>
            </p:cNvSpPr>
            <p:nvPr/>
          </p:nvSpPr>
          <p:spPr bwMode="auto">
            <a:xfrm>
              <a:off x="1551591" y="2293585"/>
              <a:ext cx="445424" cy="595982"/>
            </a:xfrm>
            <a:custGeom>
              <a:avLst/>
              <a:gdLst>
                <a:gd name="T0" fmla="*/ 2147483647 w 819"/>
                <a:gd name="T1" fmla="*/ 2147483647 h 955"/>
                <a:gd name="T2" fmla="*/ 2147483647 w 819"/>
                <a:gd name="T3" fmla="*/ 2147483647 h 955"/>
                <a:gd name="T4" fmla="*/ 2147483647 w 819"/>
                <a:gd name="T5" fmla="*/ 2147483647 h 955"/>
                <a:gd name="T6" fmla="*/ 2147483647 w 819"/>
                <a:gd name="T7" fmla="*/ 2147483647 h 955"/>
                <a:gd name="T8" fmla="*/ 2147483647 w 819"/>
                <a:gd name="T9" fmla="*/ 2147483647 h 955"/>
                <a:gd name="T10" fmla="*/ 2147483647 w 819"/>
                <a:gd name="T11" fmla="*/ 2147483647 h 955"/>
                <a:gd name="T12" fmla="*/ 2147483647 w 819"/>
                <a:gd name="T13" fmla="*/ 2147483647 h 955"/>
                <a:gd name="T14" fmla="*/ 2147483647 w 819"/>
                <a:gd name="T15" fmla="*/ 2147483647 h 955"/>
                <a:gd name="T16" fmla="*/ 2147483647 w 819"/>
                <a:gd name="T17" fmla="*/ 2147483647 h 955"/>
                <a:gd name="T18" fmla="*/ 2147483647 w 819"/>
                <a:gd name="T19" fmla="*/ 2147483647 h 955"/>
                <a:gd name="T20" fmla="*/ 2147483647 w 819"/>
                <a:gd name="T21" fmla="*/ 2147483647 h 955"/>
                <a:gd name="T22" fmla="*/ 2147483647 w 819"/>
                <a:gd name="T23" fmla="*/ 2147483647 h 955"/>
                <a:gd name="T24" fmla="*/ 2147483647 w 819"/>
                <a:gd name="T25" fmla="*/ 2147483647 h 955"/>
                <a:gd name="T26" fmla="*/ 2147483647 w 819"/>
                <a:gd name="T27" fmla="*/ 2147483647 h 955"/>
                <a:gd name="T28" fmla="*/ 2147483647 w 819"/>
                <a:gd name="T29" fmla="*/ 2147483647 h 955"/>
                <a:gd name="T30" fmla="*/ 2147483647 w 819"/>
                <a:gd name="T31" fmla="*/ 2147483647 h 955"/>
                <a:gd name="T32" fmla="*/ 2147483647 w 819"/>
                <a:gd name="T33" fmla="*/ 2147483647 h 955"/>
                <a:gd name="T34" fmla="*/ 2147483647 w 819"/>
                <a:gd name="T35" fmla="*/ 2147483647 h 955"/>
                <a:gd name="T36" fmla="*/ 2147483647 w 819"/>
                <a:gd name="T37" fmla="*/ 2147483647 h 955"/>
                <a:gd name="T38" fmla="*/ 2147483647 w 819"/>
                <a:gd name="T39" fmla="*/ 2147483647 h 955"/>
                <a:gd name="T40" fmla="*/ 2147483647 w 819"/>
                <a:gd name="T41" fmla="*/ 2147483647 h 955"/>
                <a:gd name="T42" fmla="*/ 2147483647 w 819"/>
                <a:gd name="T43" fmla="*/ 2147483647 h 955"/>
                <a:gd name="T44" fmla="*/ 2147483647 w 819"/>
                <a:gd name="T45" fmla="*/ 2147483647 h 955"/>
                <a:gd name="T46" fmla="*/ 2147483647 w 819"/>
                <a:gd name="T47" fmla="*/ 2147483647 h 955"/>
                <a:gd name="T48" fmla="*/ 2147483647 w 819"/>
                <a:gd name="T49" fmla="*/ 2147483647 h 955"/>
                <a:gd name="T50" fmla="*/ 2147483647 w 819"/>
                <a:gd name="T51" fmla="*/ 2147483647 h 955"/>
                <a:gd name="T52" fmla="*/ 2147483647 w 819"/>
                <a:gd name="T53" fmla="*/ 2147483647 h 955"/>
                <a:gd name="T54" fmla="*/ 2147483647 w 819"/>
                <a:gd name="T55" fmla="*/ 2147483647 h 955"/>
                <a:gd name="T56" fmla="*/ 2147483647 w 819"/>
                <a:gd name="T57" fmla="*/ 2147483647 h 955"/>
                <a:gd name="T58" fmla="*/ 2147483647 w 819"/>
                <a:gd name="T59" fmla="*/ 2147483647 h 955"/>
                <a:gd name="T60" fmla="*/ 2147483647 w 819"/>
                <a:gd name="T61" fmla="*/ 2147483647 h 955"/>
                <a:gd name="T62" fmla="*/ 2147483647 w 819"/>
                <a:gd name="T63" fmla="*/ 2147483647 h 955"/>
                <a:gd name="T64" fmla="*/ 2147483647 w 819"/>
                <a:gd name="T65" fmla="*/ 2147483647 h 955"/>
                <a:gd name="T66" fmla="*/ 2147483647 w 819"/>
                <a:gd name="T67" fmla="*/ 2147483647 h 955"/>
                <a:gd name="T68" fmla="*/ 2147483647 w 819"/>
                <a:gd name="T69" fmla="*/ 2147483647 h 955"/>
                <a:gd name="T70" fmla="*/ 2147483647 w 819"/>
                <a:gd name="T71" fmla="*/ 2147483647 h 955"/>
                <a:gd name="T72" fmla="*/ 0 w 819"/>
                <a:gd name="T73" fmla="*/ 2147483647 h 955"/>
                <a:gd name="T74" fmla="*/ 2147483647 w 819"/>
                <a:gd name="T75" fmla="*/ 0 h 955"/>
                <a:gd name="T76" fmla="*/ 2147483647 w 819"/>
                <a:gd name="T77" fmla="*/ 2147483647 h 955"/>
                <a:gd name="T78" fmla="*/ 2147483647 w 819"/>
                <a:gd name="T79" fmla="*/ 2147483647 h 955"/>
                <a:gd name="T80" fmla="*/ 2147483647 w 819"/>
                <a:gd name="T81" fmla="*/ 2147483647 h 955"/>
                <a:gd name="T82" fmla="*/ 2147483647 w 819"/>
                <a:gd name="T83" fmla="*/ 2147483647 h 955"/>
                <a:gd name="T84" fmla="*/ 2147483647 w 819"/>
                <a:gd name="T85" fmla="*/ 2147483647 h 955"/>
                <a:gd name="T86" fmla="*/ 2147483647 w 819"/>
                <a:gd name="T87" fmla="*/ 2147483647 h 955"/>
                <a:gd name="T88" fmla="*/ 2147483647 w 819"/>
                <a:gd name="T89" fmla="*/ 2147483647 h 955"/>
                <a:gd name="T90" fmla="*/ 2147483647 w 819"/>
                <a:gd name="T91" fmla="*/ 2147483647 h 955"/>
                <a:gd name="T92" fmla="*/ 2147483647 w 819"/>
                <a:gd name="T93" fmla="*/ 2147483647 h 955"/>
                <a:gd name="T94" fmla="*/ 2147483647 w 819"/>
                <a:gd name="T95" fmla="*/ 2147483647 h 955"/>
                <a:gd name="T96" fmla="*/ 2147483647 w 819"/>
                <a:gd name="T97" fmla="*/ 2147483647 h 955"/>
                <a:gd name="T98" fmla="*/ 2147483647 w 819"/>
                <a:gd name="T99" fmla="*/ 2147483647 h 95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19"/>
                <a:gd name="T151" fmla="*/ 0 h 955"/>
                <a:gd name="T152" fmla="*/ 819 w 819"/>
                <a:gd name="T153" fmla="*/ 955 h 95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19" h="955">
                  <a:moveTo>
                    <a:pt x="444" y="159"/>
                  </a:moveTo>
                  <a:lnTo>
                    <a:pt x="450" y="176"/>
                  </a:lnTo>
                  <a:lnTo>
                    <a:pt x="429" y="195"/>
                  </a:lnTo>
                  <a:lnTo>
                    <a:pt x="437" y="209"/>
                  </a:lnTo>
                  <a:lnTo>
                    <a:pt x="458" y="194"/>
                  </a:lnTo>
                  <a:lnTo>
                    <a:pt x="475" y="235"/>
                  </a:lnTo>
                  <a:lnTo>
                    <a:pt x="488" y="211"/>
                  </a:lnTo>
                  <a:lnTo>
                    <a:pt x="528" y="226"/>
                  </a:lnTo>
                  <a:lnTo>
                    <a:pt x="539" y="247"/>
                  </a:lnTo>
                  <a:lnTo>
                    <a:pt x="526" y="268"/>
                  </a:lnTo>
                  <a:lnTo>
                    <a:pt x="549" y="270"/>
                  </a:lnTo>
                  <a:lnTo>
                    <a:pt x="547" y="300"/>
                  </a:lnTo>
                  <a:lnTo>
                    <a:pt x="530" y="330"/>
                  </a:lnTo>
                  <a:lnTo>
                    <a:pt x="564" y="315"/>
                  </a:lnTo>
                  <a:lnTo>
                    <a:pt x="617" y="334"/>
                  </a:lnTo>
                  <a:lnTo>
                    <a:pt x="602" y="365"/>
                  </a:lnTo>
                  <a:lnTo>
                    <a:pt x="629" y="342"/>
                  </a:lnTo>
                  <a:lnTo>
                    <a:pt x="651" y="389"/>
                  </a:lnTo>
                  <a:lnTo>
                    <a:pt x="623" y="397"/>
                  </a:lnTo>
                  <a:lnTo>
                    <a:pt x="674" y="425"/>
                  </a:lnTo>
                  <a:lnTo>
                    <a:pt x="657" y="437"/>
                  </a:lnTo>
                  <a:lnTo>
                    <a:pt x="627" y="429"/>
                  </a:lnTo>
                  <a:lnTo>
                    <a:pt x="625" y="492"/>
                  </a:lnTo>
                  <a:lnTo>
                    <a:pt x="653" y="492"/>
                  </a:lnTo>
                  <a:lnTo>
                    <a:pt x="657" y="516"/>
                  </a:lnTo>
                  <a:lnTo>
                    <a:pt x="706" y="532"/>
                  </a:lnTo>
                  <a:lnTo>
                    <a:pt x="760" y="583"/>
                  </a:lnTo>
                  <a:lnTo>
                    <a:pt x="762" y="598"/>
                  </a:lnTo>
                  <a:lnTo>
                    <a:pt x="798" y="608"/>
                  </a:lnTo>
                  <a:lnTo>
                    <a:pt x="819" y="649"/>
                  </a:lnTo>
                  <a:lnTo>
                    <a:pt x="794" y="687"/>
                  </a:lnTo>
                  <a:lnTo>
                    <a:pt x="786" y="718"/>
                  </a:lnTo>
                  <a:lnTo>
                    <a:pt x="752" y="714"/>
                  </a:lnTo>
                  <a:lnTo>
                    <a:pt x="750" y="767"/>
                  </a:lnTo>
                  <a:lnTo>
                    <a:pt x="722" y="754"/>
                  </a:lnTo>
                  <a:lnTo>
                    <a:pt x="659" y="663"/>
                  </a:lnTo>
                  <a:lnTo>
                    <a:pt x="640" y="674"/>
                  </a:lnTo>
                  <a:lnTo>
                    <a:pt x="648" y="687"/>
                  </a:lnTo>
                  <a:lnTo>
                    <a:pt x="648" y="697"/>
                  </a:lnTo>
                  <a:lnTo>
                    <a:pt x="619" y="697"/>
                  </a:lnTo>
                  <a:lnTo>
                    <a:pt x="665" y="763"/>
                  </a:lnTo>
                  <a:lnTo>
                    <a:pt x="705" y="781"/>
                  </a:lnTo>
                  <a:lnTo>
                    <a:pt x="722" y="836"/>
                  </a:lnTo>
                  <a:lnTo>
                    <a:pt x="708" y="893"/>
                  </a:lnTo>
                  <a:lnTo>
                    <a:pt x="604" y="828"/>
                  </a:lnTo>
                  <a:lnTo>
                    <a:pt x="598" y="839"/>
                  </a:lnTo>
                  <a:lnTo>
                    <a:pt x="684" y="934"/>
                  </a:lnTo>
                  <a:lnTo>
                    <a:pt x="680" y="955"/>
                  </a:lnTo>
                  <a:lnTo>
                    <a:pt x="564" y="908"/>
                  </a:lnTo>
                  <a:lnTo>
                    <a:pt x="553" y="921"/>
                  </a:lnTo>
                  <a:lnTo>
                    <a:pt x="539" y="927"/>
                  </a:lnTo>
                  <a:lnTo>
                    <a:pt x="530" y="900"/>
                  </a:lnTo>
                  <a:lnTo>
                    <a:pt x="551" y="902"/>
                  </a:lnTo>
                  <a:lnTo>
                    <a:pt x="537" y="885"/>
                  </a:lnTo>
                  <a:lnTo>
                    <a:pt x="513" y="885"/>
                  </a:lnTo>
                  <a:lnTo>
                    <a:pt x="503" y="860"/>
                  </a:lnTo>
                  <a:lnTo>
                    <a:pt x="522" y="845"/>
                  </a:lnTo>
                  <a:lnTo>
                    <a:pt x="450" y="799"/>
                  </a:lnTo>
                  <a:lnTo>
                    <a:pt x="381" y="799"/>
                  </a:lnTo>
                  <a:lnTo>
                    <a:pt x="372" y="813"/>
                  </a:lnTo>
                  <a:lnTo>
                    <a:pt x="345" y="807"/>
                  </a:lnTo>
                  <a:lnTo>
                    <a:pt x="328" y="790"/>
                  </a:lnTo>
                  <a:lnTo>
                    <a:pt x="330" y="760"/>
                  </a:lnTo>
                  <a:lnTo>
                    <a:pt x="355" y="722"/>
                  </a:lnTo>
                  <a:lnTo>
                    <a:pt x="395" y="737"/>
                  </a:lnTo>
                  <a:lnTo>
                    <a:pt x="450" y="725"/>
                  </a:lnTo>
                  <a:lnTo>
                    <a:pt x="471" y="733"/>
                  </a:lnTo>
                  <a:lnTo>
                    <a:pt x="467" y="706"/>
                  </a:lnTo>
                  <a:lnTo>
                    <a:pt x="438" y="682"/>
                  </a:lnTo>
                  <a:lnTo>
                    <a:pt x="480" y="640"/>
                  </a:lnTo>
                  <a:lnTo>
                    <a:pt x="526" y="648"/>
                  </a:lnTo>
                  <a:lnTo>
                    <a:pt x="535" y="684"/>
                  </a:lnTo>
                  <a:lnTo>
                    <a:pt x="591" y="659"/>
                  </a:lnTo>
                  <a:lnTo>
                    <a:pt x="541" y="600"/>
                  </a:lnTo>
                  <a:lnTo>
                    <a:pt x="530" y="632"/>
                  </a:lnTo>
                  <a:lnTo>
                    <a:pt x="488" y="632"/>
                  </a:lnTo>
                  <a:lnTo>
                    <a:pt x="501" y="583"/>
                  </a:lnTo>
                  <a:lnTo>
                    <a:pt x="530" y="572"/>
                  </a:lnTo>
                  <a:lnTo>
                    <a:pt x="503" y="570"/>
                  </a:lnTo>
                  <a:lnTo>
                    <a:pt x="482" y="522"/>
                  </a:lnTo>
                  <a:lnTo>
                    <a:pt x="459" y="520"/>
                  </a:lnTo>
                  <a:lnTo>
                    <a:pt x="450" y="490"/>
                  </a:lnTo>
                  <a:lnTo>
                    <a:pt x="418" y="448"/>
                  </a:lnTo>
                  <a:lnTo>
                    <a:pt x="378" y="482"/>
                  </a:lnTo>
                  <a:lnTo>
                    <a:pt x="378" y="454"/>
                  </a:lnTo>
                  <a:lnTo>
                    <a:pt x="404" y="441"/>
                  </a:lnTo>
                  <a:lnTo>
                    <a:pt x="366" y="414"/>
                  </a:lnTo>
                  <a:lnTo>
                    <a:pt x="380" y="391"/>
                  </a:lnTo>
                  <a:lnTo>
                    <a:pt x="357" y="391"/>
                  </a:lnTo>
                  <a:lnTo>
                    <a:pt x="351" y="347"/>
                  </a:lnTo>
                  <a:lnTo>
                    <a:pt x="338" y="349"/>
                  </a:lnTo>
                  <a:lnTo>
                    <a:pt x="309" y="315"/>
                  </a:lnTo>
                  <a:lnTo>
                    <a:pt x="298" y="328"/>
                  </a:lnTo>
                  <a:lnTo>
                    <a:pt x="323" y="342"/>
                  </a:lnTo>
                  <a:lnTo>
                    <a:pt x="328" y="382"/>
                  </a:lnTo>
                  <a:lnTo>
                    <a:pt x="302" y="387"/>
                  </a:lnTo>
                  <a:lnTo>
                    <a:pt x="305" y="401"/>
                  </a:lnTo>
                  <a:lnTo>
                    <a:pt x="281" y="422"/>
                  </a:lnTo>
                  <a:lnTo>
                    <a:pt x="269" y="399"/>
                  </a:lnTo>
                  <a:lnTo>
                    <a:pt x="239" y="376"/>
                  </a:lnTo>
                  <a:lnTo>
                    <a:pt x="229" y="391"/>
                  </a:lnTo>
                  <a:lnTo>
                    <a:pt x="191" y="382"/>
                  </a:lnTo>
                  <a:lnTo>
                    <a:pt x="127" y="380"/>
                  </a:lnTo>
                  <a:lnTo>
                    <a:pt x="100" y="342"/>
                  </a:lnTo>
                  <a:lnTo>
                    <a:pt x="70" y="363"/>
                  </a:lnTo>
                  <a:lnTo>
                    <a:pt x="49" y="353"/>
                  </a:lnTo>
                  <a:lnTo>
                    <a:pt x="13" y="279"/>
                  </a:lnTo>
                  <a:lnTo>
                    <a:pt x="45" y="281"/>
                  </a:lnTo>
                  <a:lnTo>
                    <a:pt x="83" y="289"/>
                  </a:lnTo>
                  <a:lnTo>
                    <a:pt x="60" y="260"/>
                  </a:lnTo>
                  <a:lnTo>
                    <a:pt x="0" y="252"/>
                  </a:lnTo>
                  <a:lnTo>
                    <a:pt x="0" y="163"/>
                  </a:lnTo>
                  <a:lnTo>
                    <a:pt x="39" y="49"/>
                  </a:lnTo>
                  <a:lnTo>
                    <a:pt x="104" y="0"/>
                  </a:lnTo>
                  <a:lnTo>
                    <a:pt x="146" y="7"/>
                  </a:lnTo>
                  <a:lnTo>
                    <a:pt x="104" y="102"/>
                  </a:lnTo>
                  <a:lnTo>
                    <a:pt x="115" y="133"/>
                  </a:lnTo>
                  <a:lnTo>
                    <a:pt x="112" y="171"/>
                  </a:lnTo>
                  <a:lnTo>
                    <a:pt x="131" y="233"/>
                  </a:lnTo>
                  <a:lnTo>
                    <a:pt x="142" y="243"/>
                  </a:lnTo>
                  <a:lnTo>
                    <a:pt x="114" y="266"/>
                  </a:lnTo>
                  <a:lnTo>
                    <a:pt x="121" y="270"/>
                  </a:lnTo>
                  <a:lnTo>
                    <a:pt x="148" y="262"/>
                  </a:lnTo>
                  <a:lnTo>
                    <a:pt x="159" y="211"/>
                  </a:lnTo>
                  <a:lnTo>
                    <a:pt x="138" y="213"/>
                  </a:lnTo>
                  <a:lnTo>
                    <a:pt x="129" y="180"/>
                  </a:lnTo>
                  <a:lnTo>
                    <a:pt x="146" y="140"/>
                  </a:lnTo>
                  <a:lnTo>
                    <a:pt x="134" y="131"/>
                  </a:lnTo>
                  <a:lnTo>
                    <a:pt x="136" y="74"/>
                  </a:lnTo>
                  <a:lnTo>
                    <a:pt x="148" y="63"/>
                  </a:lnTo>
                  <a:lnTo>
                    <a:pt x="144" y="44"/>
                  </a:lnTo>
                  <a:lnTo>
                    <a:pt x="203" y="4"/>
                  </a:lnTo>
                  <a:lnTo>
                    <a:pt x="235" y="6"/>
                  </a:lnTo>
                  <a:lnTo>
                    <a:pt x="245" y="49"/>
                  </a:lnTo>
                  <a:lnTo>
                    <a:pt x="258" y="57"/>
                  </a:lnTo>
                  <a:lnTo>
                    <a:pt x="271" y="102"/>
                  </a:lnTo>
                  <a:lnTo>
                    <a:pt x="269" y="171"/>
                  </a:lnTo>
                  <a:lnTo>
                    <a:pt x="286" y="123"/>
                  </a:lnTo>
                  <a:lnTo>
                    <a:pt x="290" y="140"/>
                  </a:lnTo>
                  <a:lnTo>
                    <a:pt x="304" y="127"/>
                  </a:lnTo>
                  <a:lnTo>
                    <a:pt x="324" y="146"/>
                  </a:lnTo>
                  <a:lnTo>
                    <a:pt x="324" y="131"/>
                  </a:lnTo>
                  <a:lnTo>
                    <a:pt x="347" y="135"/>
                  </a:lnTo>
                  <a:lnTo>
                    <a:pt x="334" y="116"/>
                  </a:lnTo>
                  <a:lnTo>
                    <a:pt x="368" y="87"/>
                  </a:lnTo>
                  <a:lnTo>
                    <a:pt x="425" y="114"/>
                  </a:lnTo>
                  <a:lnTo>
                    <a:pt x="427" y="137"/>
                  </a:lnTo>
                  <a:lnTo>
                    <a:pt x="416" y="144"/>
                  </a:lnTo>
                  <a:lnTo>
                    <a:pt x="421" y="159"/>
                  </a:lnTo>
                  <a:lnTo>
                    <a:pt x="444" y="15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89" name="Freeform 265"/>
            <p:cNvSpPr>
              <a:spLocks/>
            </p:cNvSpPr>
            <p:nvPr/>
          </p:nvSpPr>
          <p:spPr bwMode="auto">
            <a:xfrm>
              <a:off x="1460080" y="2284273"/>
              <a:ext cx="90408" cy="138519"/>
            </a:xfrm>
            <a:custGeom>
              <a:avLst/>
              <a:gdLst>
                <a:gd name="T0" fmla="*/ 2147483647 w 166"/>
                <a:gd name="T1" fmla="*/ 2147483647 h 222"/>
                <a:gd name="T2" fmla="*/ 2147483647 w 166"/>
                <a:gd name="T3" fmla="*/ 0 h 222"/>
                <a:gd name="T4" fmla="*/ 2147483647 w 166"/>
                <a:gd name="T5" fmla="*/ 2147483647 h 222"/>
                <a:gd name="T6" fmla="*/ 2147483647 w 166"/>
                <a:gd name="T7" fmla="*/ 2147483647 h 222"/>
                <a:gd name="T8" fmla="*/ 2147483647 w 166"/>
                <a:gd name="T9" fmla="*/ 2147483647 h 222"/>
                <a:gd name="T10" fmla="*/ 2147483647 w 166"/>
                <a:gd name="T11" fmla="*/ 2147483647 h 222"/>
                <a:gd name="T12" fmla="*/ 2147483647 w 166"/>
                <a:gd name="T13" fmla="*/ 2147483647 h 222"/>
                <a:gd name="T14" fmla="*/ 2147483647 w 166"/>
                <a:gd name="T15" fmla="*/ 2147483647 h 222"/>
                <a:gd name="T16" fmla="*/ 2147483647 w 166"/>
                <a:gd name="T17" fmla="*/ 2147483647 h 222"/>
                <a:gd name="T18" fmla="*/ 2147483647 w 166"/>
                <a:gd name="T19" fmla="*/ 2147483647 h 222"/>
                <a:gd name="T20" fmla="*/ 2147483647 w 166"/>
                <a:gd name="T21" fmla="*/ 2147483647 h 222"/>
                <a:gd name="T22" fmla="*/ 2147483647 w 166"/>
                <a:gd name="T23" fmla="*/ 2147483647 h 222"/>
                <a:gd name="T24" fmla="*/ 2147483647 w 166"/>
                <a:gd name="T25" fmla="*/ 2147483647 h 222"/>
                <a:gd name="T26" fmla="*/ 2147483647 w 166"/>
                <a:gd name="T27" fmla="*/ 2147483647 h 222"/>
                <a:gd name="T28" fmla="*/ 2147483647 w 166"/>
                <a:gd name="T29" fmla="*/ 2147483647 h 222"/>
                <a:gd name="T30" fmla="*/ 0 w 166"/>
                <a:gd name="T31" fmla="*/ 2147483647 h 222"/>
                <a:gd name="T32" fmla="*/ 2147483647 w 166"/>
                <a:gd name="T33" fmla="*/ 2147483647 h 222"/>
                <a:gd name="T34" fmla="*/ 2147483647 w 166"/>
                <a:gd name="T35" fmla="*/ 2147483647 h 222"/>
                <a:gd name="T36" fmla="*/ 2147483647 w 166"/>
                <a:gd name="T37" fmla="*/ 2147483647 h 2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6"/>
                <a:gd name="T58" fmla="*/ 0 h 222"/>
                <a:gd name="T59" fmla="*/ 166 w 166"/>
                <a:gd name="T60" fmla="*/ 222 h 2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6" h="222">
                  <a:moveTo>
                    <a:pt x="14" y="17"/>
                  </a:moveTo>
                  <a:lnTo>
                    <a:pt x="59" y="0"/>
                  </a:lnTo>
                  <a:lnTo>
                    <a:pt x="131" y="19"/>
                  </a:lnTo>
                  <a:lnTo>
                    <a:pt x="166" y="41"/>
                  </a:lnTo>
                  <a:lnTo>
                    <a:pt x="124" y="144"/>
                  </a:lnTo>
                  <a:lnTo>
                    <a:pt x="76" y="129"/>
                  </a:lnTo>
                  <a:lnTo>
                    <a:pt x="31" y="131"/>
                  </a:lnTo>
                  <a:lnTo>
                    <a:pt x="29" y="148"/>
                  </a:lnTo>
                  <a:lnTo>
                    <a:pt x="65" y="148"/>
                  </a:lnTo>
                  <a:lnTo>
                    <a:pt x="74" y="176"/>
                  </a:lnTo>
                  <a:lnTo>
                    <a:pt x="48" y="205"/>
                  </a:lnTo>
                  <a:lnTo>
                    <a:pt x="46" y="222"/>
                  </a:lnTo>
                  <a:lnTo>
                    <a:pt x="23" y="220"/>
                  </a:lnTo>
                  <a:lnTo>
                    <a:pt x="19" y="159"/>
                  </a:lnTo>
                  <a:lnTo>
                    <a:pt x="4" y="157"/>
                  </a:lnTo>
                  <a:lnTo>
                    <a:pt x="0" y="81"/>
                  </a:lnTo>
                  <a:lnTo>
                    <a:pt x="4" y="34"/>
                  </a:lnTo>
                  <a:lnTo>
                    <a:pt x="31" y="43"/>
                  </a:lnTo>
                  <a:lnTo>
                    <a:pt x="14" y="1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0" name="Freeform 266"/>
            <p:cNvSpPr>
              <a:spLocks/>
            </p:cNvSpPr>
            <p:nvPr/>
          </p:nvSpPr>
          <p:spPr bwMode="auto">
            <a:xfrm>
              <a:off x="1356442" y="2293585"/>
              <a:ext cx="91511" cy="162964"/>
            </a:xfrm>
            <a:custGeom>
              <a:avLst/>
              <a:gdLst>
                <a:gd name="T0" fmla="*/ 2147483647 w 168"/>
                <a:gd name="T1" fmla="*/ 2147483647 h 262"/>
                <a:gd name="T2" fmla="*/ 2147483647 w 168"/>
                <a:gd name="T3" fmla="*/ 0 h 262"/>
                <a:gd name="T4" fmla="*/ 2147483647 w 168"/>
                <a:gd name="T5" fmla="*/ 2147483647 h 262"/>
                <a:gd name="T6" fmla="*/ 2147483647 w 168"/>
                <a:gd name="T7" fmla="*/ 2147483647 h 262"/>
                <a:gd name="T8" fmla="*/ 2147483647 w 168"/>
                <a:gd name="T9" fmla="*/ 2147483647 h 262"/>
                <a:gd name="T10" fmla="*/ 2147483647 w 168"/>
                <a:gd name="T11" fmla="*/ 2147483647 h 262"/>
                <a:gd name="T12" fmla="*/ 2147483647 w 168"/>
                <a:gd name="T13" fmla="*/ 2147483647 h 262"/>
                <a:gd name="T14" fmla="*/ 2147483647 w 168"/>
                <a:gd name="T15" fmla="*/ 2147483647 h 262"/>
                <a:gd name="T16" fmla="*/ 2147483647 w 168"/>
                <a:gd name="T17" fmla="*/ 2147483647 h 262"/>
                <a:gd name="T18" fmla="*/ 2147483647 w 168"/>
                <a:gd name="T19" fmla="*/ 2147483647 h 262"/>
                <a:gd name="T20" fmla="*/ 2147483647 w 168"/>
                <a:gd name="T21" fmla="*/ 2147483647 h 262"/>
                <a:gd name="T22" fmla="*/ 2147483647 w 168"/>
                <a:gd name="T23" fmla="*/ 2147483647 h 262"/>
                <a:gd name="T24" fmla="*/ 2147483647 w 168"/>
                <a:gd name="T25" fmla="*/ 2147483647 h 262"/>
                <a:gd name="T26" fmla="*/ 2147483647 w 168"/>
                <a:gd name="T27" fmla="*/ 2147483647 h 262"/>
                <a:gd name="T28" fmla="*/ 2147483647 w 168"/>
                <a:gd name="T29" fmla="*/ 2147483647 h 262"/>
                <a:gd name="T30" fmla="*/ 2147483647 w 168"/>
                <a:gd name="T31" fmla="*/ 2147483647 h 262"/>
                <a:gd name="T32" fmla="*/ 2147483647 w 168"/>
                <a:gd name="T33" fmla="*/ 2147483647 h 262"/>
                <a:gd name="T34" fmla="*/ 0 w 168"/>
                <a:gd name="T35" fmla="*/ 2147483647 h 262"/>
                <a:gd name="T36" fmla="*/ 2147483647 w 168"/>
                <a:gd name="T37" fmla="*/ 2147483647 h 262"/>
                <a:gd name="T38" fmla="*/ 2147483647 w 168"/>
                <a:gd name="T39" fmla="*/ 2147483647 h 262"/>
                <a:gd name="T40" fmla="*/ 2147483647 w 168"/>
                <a:gd name="T41" fmla="*/ 2147483647 h 262"/>
                <a:gd name="T42" fmla="*/ 2147483647 w 168"/>
                <a:gd name="T43" fmla="*/ 2147483647 h 262"/>
                <a:gd name="T44" fmla="*/ 2147483647 w 168"/>
                <a:gd name="T45" fmla="*/ 2147483647 h 262"/>
                <a:gd name="T46" fmla="*/ 2147483647 w 168"/>
                <a:gd name="T47" fmla="*/ 2147483647 h 262"/>
                <a:gd name="T48" fmla="*/ 2147483647 w 168"/>
                <a:gd name="T49" fmla="*/ 2147483647 h 262"/>
                <a:gd name="T50" fmla="*/ 2147483647 w 168"/>
                <a:gd name="T51" fmla="*/ 2147483647 h 262"/>
                <a:gd name="T52" fmla="*/ 2147483647 w 168"/>
                <a:gd name="T53" fmla="*/ 2147483647 h 2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8"/>
                <a:gd name="T82" fmla="*/ 0 h 262"/>
                <a:gd name="T83" fmla="*/ 168 w 168"/>
                <a:gd name="T84" fmla="*/ 262 h 26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8" h="262">
                  <a:moveTo>
                    <a:pt x="91" y="21"/>
                  </a:moveTo>
                  <a:lnTo>
                    <a:pt x="162" y="0"/>
                  </a:lnTo>
                  <a:lnTo>
                    <a:pt x="168" y="15"/>
                  </a:lnTo>
                  <a:lnTo>
                    <a:pt x="156" y="32"/>
                  </a:lnTo>
                  <a:lnTo>
                    <a:pt x="156" y="51"/>
                  </a:lnTo>
                  <a:lnTo>
                    <a:pt x="129" y="76"/>
                  </a:lnTo>
                  <a:lnTo>
                    <a:pt x="150" y="114"/>
                  </a:lnTo>
                  <a:lnTo>
                    <a:pt x="166" y="99"/>
                  </a:lnTo>
                  <a:lnTo>
                    <a:pt x="168" y="201"/>
                  </a:lnTo>
                  <a:lnTo>
                    <a:pt x="133" y="209"/>
                  </a:lnTo>
                  <a:lnTo>
                    <a:pt x="139" y="233"/>
                  </a:lnTo>
                  <a:lnTo>
                    <a:pt x="128" y="262"/>
                  </a:lnTo>
                  <a:lnTo>
                    <a:pt x="91" y="260"/>
                  </a:lnTo>
                  <a:lnTo>
                    <a:pt x="97" y="218"/>
                  </a:lnTo>
                  <a:lnTo>
                    <a:pt x="59" y="157"/>
                  </a:lnTo>
                  <a:lnTo>
                    <a:pt x="17" y="154"/>
                  </a:lnTo>
                  <a:lnTo>
                    <a:pt x="23" y="140"/>
                  </a:lnTo>
                  <a:lnTo>
                    <a:pt x="0" y="108"/>
                  </a:lnTo>
                  <a:lnTo>
                    <a:pt x="8" y="78"/>
                  </a:lnTo>
                  <a:lnTo>
                    <a:pt x="23" y="74"/>
                  </a:lnTo>
                  <a:lnTo>
                    <a:pt x="65" y="116"/>
                  </a:lnTo>
                  <a:lnTo>
                    <a:pt x="76" y="108"/>
                  </a:lnTo>
                  <a:lnTo>
                    <a:pt x="36" y="40"/>
                  </a:lnTo>
                  <a:lnTo>
                    <a:pt x="48" y="32"/>
                  </a:lnTo>
                  <a:lnTo>
                    <a:pt x="50" y="17"/>
                  </a:lnTo>
                  <a:lnTo>
                    <a:pt x="76" y="2"/>
                  </a:lnTo>
                  <a:lnTo>
                    <a:pt x="91" y="2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1" name="Freeform 267"/>
            <p:cNvSpPr>
              <a:spLocks/>
            </p:cNvSpPr>
            <p:nvPr/>
          </p:nvSpPr>
          <p:spPr bwMode="auto">
            <a:xfrm>
              <a:off x="1290289" y="2299405"/>
              <a:ext cx="42999" cy="52381"/>
            </a:xfrm>
            <a:custGeom>
              <a:avLst/>
              <a:gdLst>
                <a:gd name="T0" fmla="*/ 2147483647 w 77"/>
                <a:gd name="T1" fmla="*/ 2147483647 h 84"/>
                <a:gd name="T2" fmla="*/ 2147483647 w 77"/>
                <a:gd name="T3" fmla="*/ 0 h 84"/>
                <a:gd name="T4" fmla="*/ 2147483647 w 77"/>
                <a:gd name="T5" fmla="*/ 2147483647 h 84"/>
                <a:gd name="T6" fmla="*/ 2147483647 w 77"/>
                <a:gd name="T7" fmla="*/ 2147483647 h 84"/>
                <a:gd name="T8" fmla="*/ 2147483647 w 77"/>
                <a:gd name="T9" fmla="*/ 2147483647 h 84"/>
                <a:gd name="T10" fmla="*/ 2147483647 w 77"/>
                <a:gd name="T11" fmla="*/ 2147483647 h 84"/>
                <a:gd name="T12" fmla="*/ 0 w 77"/>
                <a:gd name="T13" fmla="*/ 2147483647 h 84"/>
                <a:gd name="T14" fmla="*/ 2147483647 w 77"/>
                <a:gd name="T15" fmla="*/ 2147483647 h 8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7"/>
                <a:gd name="T25" fmla="*/ 0 h 84"/>
                <a:gd name="T26" fmla="*/ 77 w 77"/>
                <a:gd name="T27" fmla="*/ 84 h 8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7" h="84">
                  <a:moveTo>
                    <a:pt x="15" y="8"/>
                  </a:moveTo>
                  <a:lnTo>
                    <a:pt x="58" y="0"/>
                  </a:lnTo>
                  <a:lnTo>
                    <a:pt x="77" y="29"/>
                  </a:lnTo>
                  <a:lnTo>
                    <a:pt x="66" y="63"/>
                  </a:lnTo>
                  <a:lnTo>
                    <a:pt x="47" y="84"/>
                  </a:lnTo>
                  <a:lnTo>
                    <a:pt x="24" y="40"/>
                  </a:lnTo>
                  <a:lnTo>
                    <a:pt x="0" y="27"/>
                  </a:lnTo>
                  <a:lnTo>
                    <a:pt x="15" y="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2" name="Freeform 268"/>
            <p:cNvSpPr>
              <a:spLocks/>
            </p:cNvSpPr>
            <p:nvPr/>
          </p:nvSpPr>
          <p:spPr bwMode="auto">
            <a:xfrm>
              <a:off x="1092936" y="2318029"/>
              <a:ext cx="289967" cy="294499"/>
            </a:xfrm>
            <a:custGeom>
              <a:avLst/>
              <a:gdLst>
                <a:gd name="T0" fmla="*/ 2147483647 w 532"/>
                <a:gd name="T1" fmla="*/ 2147483647 h 471"/>
                <a:gd name="T2" fmla="*/ 2147483647 w 532"/>
                <a:gd name="T3" fmla="*/ 2147483647 h 471"/>
                <a:gd name="T4" fmla="*/ 2147483647 w 532"/>
                <a:gd name="T5" fmla="*/ 2147483647 h 471"/>
                <a:gd name="T6" fmla="*/ 2147483647 w 532"/>
                <a:gd name="T7" fmla="*/ 2147483647 h 471"/>
                <a:gd name="T8" fmla="*/ 2147483647 w 532"/>
                <a:gd name="T9" fmla="*/ 2147483647 h 471"/>
                <a:gd name="T10" fmla="*/ 2147483647 w 532"/>
                <a:gd name="T11" fmla="*/ 2147483647 h 471"/>
                <a:gd name="T12" fmla="*/ 2147483647 w 532"/>
                <a:gd name="T13" fmla="*/ 2147483647 h 471"/>
                <a:gd name="T14" fmla="*/ 2147483647 w 532"/>
                <a:gd name="T15" fmla="*/ 2147483647 h 471"/>
                <a:gd name="T16" fmla="*/ 2147483647 w 532"/>
                <a:gd name="T17" fmla="*/ 2147483647 h 471"/>
                <a:gd name="T18" fmla="*/ 2147483647 w 532"/>
                <a:gd name="T19" fmla="*/ 2147483647 h 471"/>
                <a:gd name="T20" fmla="*/ 2147483647 w 532"/>
                <a:gd name="T21" fmla="*/ 2147483647 h 471"/>
                <a:gd name="T22" fmla="*/ 2147483647 w 532"/>
                <a:gd name="T23" fmla="*/ 2147483647 h 471"/>
                <a:gd name="T24" fmla="*/ 2147483647 w 532"/>
                <a:gd name="T25" fmla="*/ 2147483647 h 471"/>
                <a:gd name="T26" fmla="*/ 2147483647 w 532"/>
                <a:gd name="T27" fmla="*/ 2147483647 h 471"/>
                <a:gd name="T28" fmla="*/ 2147483647 w 532"/>
                <a:gd name="T29" fmla="*/ 2147483647 h 471"/>
                <a:gd name="T30" fmla="*/ 2147483647 w 532"/>
                <a:gd name="T31" fmla="*/ 2147483647 h 471"/>
                <a:gd name="T32" fmla="*/ 2147483647 w 532"/>
                <a:gd name="T33" fmla="*/ 2147483647 h 471"/>
                <a:gd name="T34" fmla="*/ 2147483647 w 532"/>
                <a:gd name="T35" fmla="*/ 2147483647 h 471"/>
                <a:gd name="T36" fmla="*/ 2147483647 w 532"/>
                <a:gd name="T37" fmla="*/ 2147483647 h 471"/>
                <a:gd name="T38" fmla="*/ 2147483647 w 532"/>
                <a:gd name="T39" fmla="*/ 2147483647 h 471"/>
                <a:gd name="T40" fmla="*/ 2147483647 w 532"/>
                <a:gd name="T41" fmla="*/ 2147483647 h 471"/>
                <a:gd name="T42" fmla="*/ 2147483647 w 532"/>
                <a:gd name="T43" fmla="*/ 2147483647 h 471"/>
                <a:gd name="T44" fmla="*/ 2147483647 w 532"/>
                <a:gd name="T45" fmla="*/ 2147483647 h 471"/>
                <a:gd name="T46" fmla="*/ 2147483647 w 532"/>
                <a:gd name="T47" fmla="*/ 2147483647 h 471"/>
                <a:gd name="T48" fmla="*/ 2147483647 w 532"/>
                <a:gd name="T49" fmla="*/ 2147483647 h 471"/>
                <a:gd name="T50" fmla="*/ 2147483647 w 532"/>
                <a:gd name="T51" fmla="*/ 2147483647 h 471"/>
                <a:gd name="T52" fmla="*/ 0 w 532"/>
                <a:gd name="T53" fmla="*/ 2147483647 h 471"/>
                <a:gd name="T54" fmla="*/ 2147483647 w 532"/>
                <a:gd name="T55" fmla="*/ 2147483647 h 471"/>
                <a:gd name="T56" fmla="*/ 2147483647 w 532"/>
                <a:gd name="T57" fmla="*/ 2147483647 h 471"/>
                <a:gd name="T58" fmla="*/ 2147483647 w 532"/>
                <a:gd name="T59" fmla="*/ 2147483647 h 471"/>
                <a:gd name="T60" fmla="*/ 2147483647 w 532"/>
                <a:gd name="T61" fmla="*/ 0 h 471"/>
                <a:gd name="T62" fmla="*/ 2147483647 w 532"/>
                <a:gd name="T63" fmla="*/ 2147483647 h 471"/>
                <a:gd name="T64" fmla="*/ 2147483647 w 532"/>
                <a:gd name="T65" fmla="*/ 2147483647 h 471"/>
                <a:gd name="T66" fmla="*/ 2147483647 w 532"/>
                <a:gd name="T67" fmla="*/ 2147483647 h 471"/>
                <a:gd name="T68" fmla="*/ 2147483647 w 532"/>
                <a:gd name="T69" fmla="*/ 2147483647 h 471"/>
                <a:gd name="T70" fmla="*/ 2147483647 w 532"/>
                <a:gd name="T71" fmla="*/ 2147483647 h 471"/>
                <a:gd name="T72" fmla="*/ 2147483647 w 532"/>
                <a:gd name="T73" fmla="*/ 2147483647 h 471"/>
                <a:gd name="T74" fmla="*/ 2147483647 w 532"/>
                <a:gd name="T75" fmla="*/ 2147483647 h 471"/>
                <a:gd name="T76" fmla="*/ 2147483647 w 532"/>
                <a:gd name="T77" fmla="*/ 2147483647 h 47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2"/>
                <a:gd name="T118" fmla="*/ 0 h 471"/>
                <a:gd name="T119" fmla="*/ 532 w 532"/>
                <a:gd name="T120" fmla="*/ 471 h 47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2" h="471">
                  <a:moveTo>
                    <a:pt x="332" y="190"/>
                  </a:moveTo>
                  <a:lnTo>
                    <a:pt x="349" y="173"/>
                  </a:lnTo>
                  <a:lnTo>
                    <a:pt x="332" y="49"/>
                  </a:lnTo>
                  <a:lnTo>
                    <a:pt x="328" y="17"/>
                  </a:lnTo>
                  <a:lnTo>
                    <a:pt x="357" y="30"/>
                  </a:lnTo>
                  <a:lnTo>
                    <a:pt x="357" y="13"/>
                  </a:lnTo>
                  <a:lnTo>
                    <a:pt x="395" y="45"/>
                  </a:lnTo>
                  <a:lnTo>
                    <a:pt x="431" y="180"/>
                  </a:lnTo>
                  <a:lnTo>
                    <a:pt x="429" y="237"/>
                  </a:lnTo>
                  <a:lnTo>
                    <a:pt x="465" y="296"/>
                  </a:lnTo>
                  <a:lnTo>
                    <a:pt x="482" y="275"/>
                  </a:lnTo>
                  <a:lnTo>
                    <a:pt x="488" y="298"/>
                  </a:lnTo>
                  <a:lnTo>
                    <a:pt x="532" y="317"/>
                  </a:lnTo>
                  <a:lnTo>
                    <a:pt x="530" y="363"/>
                  </a:lnTo>
                  <a:lnTo>
                    <a:pt x="509" y="355"/>
                  </a:lnTo>
                  <a:lnTo>
                    <a:pt x="471" y="363"/>
                  </a:lnTo>
                  <a:lnTo>
                    <a:pt x="477" y="385"/>
                  </a:lnTo>
                  <a:lnTo>
                    <a:pt x="497" y="374"/>
                  </a:lnTo>
                  <a:lnTo>
                    <a:pt x="511" y="410"/>
                  </a:lnTo>
                  <a:lnTo>
                    <a:pt x="478" y="431"/>
                  </a:lnTo>
                  <a:lnTo>
                    <a:pt x="410" y="421"/>
                  </a:lnTo>
                  <a:lnTo>
                    <a:pt x="423" y="402"/>
                  </a:lnTo>
                  <a:lnTo>
                    <a:pt x="378" y="404"/>
                  </a:lnTo>
                  <a:lnTo>
                    <a:pt x="370" y="374"/>
                  </a:lnTo>
                  <a:lnTo>
                    <a:pt x="359" y="404"/>
                  </a:lnTo>
                  <a:lnTo>
                    <a:pt x="342" y="423"/>
                  </a:lnTo>
                  <a:lnTo>
                    <a:pt x="317" y="421"/>
                  </a:lnTo>
                  <a:lnTo>
                    <a:pt x="277" y="461"/>
                  </a:lnTo>
                  <a:lnTo>
                    <a:pt x="188" y="471"/>
                  </a:lnTo>
                  <a:lnTo>
                    <a:pt x="167" y="438"/>
                  </a:lnTo>
                  <a:lnTo>
                    <a:pt x="167" y="416"/>
                  </a:lnTo>
                  <a:lnTo>
                    <a:pt x="180" y="399"/>
                  </a:lnTo>
                  <a:lnTo>
                    <a:pt x="178" y="383"/>
                  </a:lnTo>
                  <a:lnTo>
                    <a:pt x="95" y="382"/>
                  </a:lnTo>
                  <a:lnTo>
                    <a:pt x="68" y="338"/>
                  </a:lnTo>
                  <a:lnTo>
                    <a:pt x="87" y="315"/>
                  </a:lnTo>
                  <a:lnTo>
                    <a:pt x="174" y="298"/>
                  </a:lnTo>
                  <a:lnTo>
                    <a:pt x="216" y="300"/>
                  </a:lnTo>
                  <a:lnTo>
                    <a:pt x="254" y="285"/>
                  </a:lnTo>
                  <a:lnTo>
                    <a:pt x="241" y="271"/>
                  </a:lnTo>
                  <a:lnTo>
                    <a:pt x="169" y="256"/>
                  </a:lnTo>
                  <a:lnTo>
                    <a:pt x="125" y="275"/>
                  </a:lnTo>
                  <a:lnTo>
                    <a:pt x="59" y="268"/>
                  </a:lnTo>
                  <a:lnTo>
                    <a:pt x="30" y="252"/>
                  </a:lnTo>
                  <a:lnTo>
                    <a:pt x="32" y="228"/>
                  </a:lnTo>
                  <a:lnTo>
                    <a:pt x="72" y="201"/>
                  </a:lnTo>
                  <a:lnTo>
                    <a:pt x="127" y="192"/>
                  </a:lnTo>
                  <a:lnTo>
                    <a:pt x="104" y="182"/>
                  </a:lnTo>
                  <a:lnTo>
                    <a:pt x="47" y="188"/>
                  </a:lnTo>
                  <a:lnTo>
                    <a:pt x="21" y="207"/>
                  </a:lnTo>
                  <a:lnTo>
                    <a:pt x="21" y="190"/>
                  </a:lnTo>
                  <a:lnTo>
                    <a:pt x="34" y="169"/>
                  </a:lnTo>
                  <a:lnTo>
                    <a:pt x="19" y="165"/>
                  </a:lnTo>
                  <a:lnTo>
                    <a:pt x="0" y="176"/>
                  </a:lnTo>
                  <a:lnTo>
                    <a:pt x="0" y="159"/>
                  </a:lnTo>
                  <a:lnTo>
                    <a:pt x="17" y="123"/>
                  </a:lnTo>
                  <a:lnTo>
                    <a:pt x="41" y="117"/>
                  </a:lnTo>
                  <a:lnTo>
                    <a:pt x="45" y="102"/>
                  </a:lnTo>
                  <a:lnTo>
                    <a:pt x="22" y="110"/>
                  </a:lnTo>
                  <a:lnTo>
                    <a:pt x="19" y="91"/>
                  </a:lnTo>
                  <a:lnTo>
                    <a:pt x="24" y="76"/>
                  </a:lnTo>
                  <a:lnTo>
                    <a:pt x="138" y="0"/>
                  </a:lnTo>
                  <a:lnTo>
                    <a:pt x="152" y="2"/>
                  </a:lnTo>
                  <a:lnTo>
                    <a:pt x="154" y="72"/>
                  </a:lnTo>
                  <a:lnTo>
                    <a:pt x="150" y="106"/>
                  </a:lnTo>
                  <a:lnTo>
                    <a:pt x="169" y="93"/>
                  </a:lnTo>
                  <a:lnTo>
                    <a:pt x="184" y="43"/>
                  </a:lnTo>
                  <a:lnTo>
                    <a:pt x="228" y="59"/>
                  </a:lnTo>
                  <a:lnTo>
                    <a:pt x="254" y="83"/>
                  </a:lnTo>
                  <a:lnTo>
                    <a:pt x="224" y="135"/>
                  </a:lnTo>
                  <a:lnTo>
                    <a:pt x="243" y="127"/>
                  </a:lnTo>
                  <a:lnTo>
                    <a:pt x="273" y="125"/>
                  </a:lnTo>
                  <a:lnTo>
                    <a:pt x="273" y="80"/>
                  </a:lnTo>
                  <a:lnTo>
                    <a:pt x="266" y="80"/>
                  </a:lnTo>
                  <a:lnTo>
                    <a:pt x="260" y="53"/>
                  </a:lnTo>
                  <a:lnTo>
                    <a:pt x="288" y="57"/>
                  </a:lnTo>
                  <a:lnTo>
                    <a:pt x="311" y="89"/>
                  </a:lnTo>
                  <a:lnTo>
                    <a:pt x="323" y="173"/>
                  </a:lnTo>
                  <a:lnTo>
                    <a:pt x="332" y="19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3" name="Freeform 269"/>
            <p:cNvSpPr>
              <a:spLocks/>
            </p:cNvSpPr>
            <p:nvPr/>
          </p:nvSpPr>
          <p:spPr bwMode="auto">
            <a:xfrm>
              <a:off x="1002528" y="2257500"/>
              <a:ext cx="154355" cy="208361"/>
            </a:xfrm>
            <a:custGeom>
              <a:avLst/>
              <a:gdLst>
                <a:gd name="T0" fmla="*/ 2147483647 w 282"/>
                <a:gd name="T1" fmla="*/ 2147483647 h 334"/>
                <a:gd name="T2" fmla="*/ 2147483647 w 282"/>
                <a:gd name="T3" fmla="*/ 0 h 334"/>
                <a:gd name="T4" fmla="*/ 2147483647 w 282"/>
                <a:gd name="T5" fmla="*/ 2147483647 h 334"/>
                <a:gd name="T6" fmla="*/ 2147483647 w 282"/>
                <a:gd name="T7" fmla="*/ 2147483647 h 334"/>
                <a:gd name="T8" fmla="*/ 2147483647 w 282"/>
                <a:gd name="T9" fmla="*/ 2147483647 h 334"/>
                <a:gd name="T10" fmla="*/ 2147483647 w 282"/>
                <a:gd name="T11" fmla="*/ 2147483647 h 334"/>
                <a:gd name="T12" fmla="*/ 2147483647 w 282"/>
                <a:gd name="T13" fmla="*/ 2147483647 h 334"/>
                <a:gd name="T14" fmla="*/ 2147483647 w 282"/>
                <a:gd name="T15" fmla="*/ 2147483647 h 334"/>
                <a:gd name="T16" fmla="*/ 2147483647 w 282"/>
                <a:gd name="T17" fmla="*/ 2147483647 h 334"/>
                <a:gd name="T18" fmla="*/ 2147483647 w 282"/>
                <a:gd name="T19" fmla="*/ 2147483647 h 334"/>
                <a:gd name="T20" fmla="*/ 2147483647 w 282"/>
                <a:gd name="T21" fmla="*/ 2147483647 h 334"/>
                <a:gd name="T22" fmla="*/ 2147483647 w 282"/>
                <a:gd name="T23" fmla="*/ 2147483647 h 334"/>
                <a:gd name="T24" fmla="*/ 2147483647 w 282"/>
                <a:gd name="T25" fmla="*/ 2147483647 h 334"/>
                <a:gd name="T26" fmla="*/ 2147483647 w 282"/>
                <a:gd name="T27" fmla="*/ 2147483647 h 334"/>
                <a:gd name="T28" fmla="*/ 2147483647 w 282"/>
                <a:gd name="T29" fmla="*/ 2147483647 h 334"/>
                <a:gd name="T30" fmla="*/ 2147483647 w 282"/>
                <a:gd name="T31" fmla="*/ 2147483647 h 334"/>
                <a:gd name="T32" fmla="*/ 2147483647 w 282"/>
                <a:gd name="T33" fmla="*/ 2147483647 h 334"/>
                <a:gd name="T34" fmla="*/ 2147483647 w 282"/>
                <a:gd name="T35" fmla="*/ 2147483647 h 334"/>
                <a:gd name="T36" fmla="*/ 2147483647 w 282"/>
                <a:gd name="T37" fmla="*/ 2147483647 h 334"/>
                <a:gd name="T38" fmla="*/ 2147483647 w 282"/>
                <a:gd name="T39" fmla="*/ 2147483647 h 334"/>
                <a:gd name="T40" fmla="*/ 2147483647 w 282"/>
                <a:gd name="T41" fmla="*/ 2147483647 h 334"/>
                <a:gd name="T42" fmla="*/ 0 w 282"/>
                <a:gd name="T43" fmla="*/ 2147483647 h 334"/>
                <a:gd name="T44" fmla="*/ 2147483647 w 282"/>
                <a:gd name="T45" fmla="*/ 2147483647 h 334"/>
                <a:gd name="T46" fmla="*/ 2147483647 w 282"/>
                <a:gd name="T47" fmla="*/ 2147483647 h 334"/>
                <a:gd name="T48" fmla="*/ 2147483647 w 282"/>
                <a:gd name="T49" fmla="*/ 2147483647 h 334"/>
                <a:gd name="T50" fmla="*/ 2147483647 w 282"/>
                <a:gd name="T51" fmla="*/ 2147483647 h 334"/>
                <a:gd name="T52" fmla="*/ 2147483647 w 282"/>
                <a:gd name="T53" fmla="*/ 2147483647 h 334"/>
                <a:gd name="T54" fmla="*/ 2147483647 w 282"/>
                <a:gd name="T55" fmla="*/ 2147483647 h 3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82"/>
                <a:gd name="T85" fmla="*/ 0 h 334"/>
                <a:gd name="T86" fmla="*/ 282 w 282"/>
                <a:gd name="T87" fmla="*/ 334 h 3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82" h="334">
                  <a:moveTo>
                    <a:pt x="29" y="30"/>
                  </a:moveTo>
                  <a:lnTo>
                    <a:pt x="124" y="0"/>
                  </a:lnTo>
                  <a:lnTo>
                    <a:pt x="183" y="23"/>
                  </a:lnTo>
                  <a:lnTo>
                    <a:pt x="190" y="11"/>
                  </a:lnTo>
                  <a:lnTo>
                    <a:pt x="221" y="6"/>
                  </a:lnTo>
                  <a:lnTo>
                    <a:pt x="244" y="51"/>
                  </a:lnTo>
                  <a:lnTo>
                    <a:pt x="282" y="93"/>
                  </a:lnTo>
                  <a:lnTo>
                    <a:pt x="247" y="123"/>
                  </a:lnTo>
                  <a:lnTo>
                    <a:pt x="215" y="133"/>
                  </a:lnTo>
                  <a:lnTo>
                    <a:pt x="175" y="160"/>
                  </a:lnTo>
                  <a:lnTo>
                    <a:pt x="164" y="188"/>
                  </a:lnTo>
                  <a:lnTo>
                    <a:pt x="171" y="209"/>
                  </a:lnTo>
                  <a:lnTo>
                    <a:pt x="150" y="224"/>
                  </a:lnTo>
                  <a:lnTo>
                    <a:pt x="149" y="281"/>
                  </a:lnTo>
                  <a:lnTo>
                    <a:pt x="124" y="300"/>
                  </a:lnTo>
                  <a:lnTo>
                    <a:pt x="111" y="287"/>
                  </a:lnTo>
                  <a:lnTo>
                    <a:pt x="95" y="321"/>
                  </a:lnTo>
                  <a:lnTo>
                    <a:pt x="74" y="334"/>
                  </a:lnTo>
                  <a:lnTo>
                    <a:pt x="61" y="315"/>
                  </a:lnTo>
                  <a:lnTo>
                    <a:pt x="53" y="272"/>
                  </a:lnTo>
                  <a:lnTo>
                    <a:pt x="19" y="245"/>
                  </a:lnTo>
                  <a:lnTo>
                    <a:pt x="0" y="245"/>
                  </a:lnTo>
                  <a:lnTo>
                    <a:pt x="23" y="165"/>
                  </a:lnTo>
                  <a:lnTo>
                    <a:pt x="48" y="167"/>
                  </a:lnTo>
                  <a:lnTo>
                    <a:pt x="31" y="142"/>
                  </a:lnTo>
                  <a:lnTo>
                    <a:pt x="67" y="78"/>
                  </a:lnTo>
                  <a:lnTo>
                    <a:pt x="44" y="38"/>
                  </a:lnTo>
                  <a:lnTo>
                    <a:pt x="29" y="3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4" name="Freeform 270"/>
            <p:cNvSpPr>
              <a:spLocks/>
            </p:cNvSpPr>
            <p:nvPr/>
          </p:nvSpPr>
          <p:spPr bwMode="auto">
            <a:xfrm>
              <a:off x="1095141" y="2136441"/>
              <a:ext cx="28666" cy="55873"/>
            </a:xfrm>
            <a:custGeom>
              <a:avLst/>
              <a:gdLst>
                <a:gd name="T0" fmla="*/ 2147483647 w 54"/>
                <a:gd name="T1" fmla="*/ 0 h 90"/>
                <a:gd name="T2" fmla="*/ 2147483647 w 54"/>
                <a:gd name="T3" fmla="*/ 0 h 90"/>
                <a:gd name="T4" fmla="*/ 2147483647 w 54"/>
                <a:gd name="T5" fmla="*/ 2147483647 h 90"/>
                <a:gd name="T6" fmla="*/ 0 w 54"/>
                <a:gd name="T7" fmla="*/ 2147483647 h 90"/>
                <a:gd name="T8" fmla="*/ 2147483647 w 54"/>
                <a:gd name="T9" fmla="*/ 2147483647 h 90"/>
                <a:gd name="T10" fmla="*/ 2147483647 w 54"/>
                <a:gd name="T11" fmla="*/ 0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90"/>
                <a:gd name="T20" fmla="*/ 54 w 54"/>
                <a:gd name="T21" fmla="*/ 90 h 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90">
                  <a:moveTo>
                    <a:pt x="42" y="0"/>
                  </a:moveTo>
                  <a:lnTo>
                    <a:pt x="54" y="0"/>
                  </a:lnTo>
                  <a:lnTo>
                    <a:pt x="29" y="90"/>
                  </a:lnTo>
                  <a:lnTo>
                    <a:pt x="0" y="86"/>
                  </a:lnTo>
                  <a:lnTo>
                    <a:pt x="2" y="67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5" name="Freeform 271"/>
            <p:cNvSpPr>
              <a:spLocks/>
            </p:cNvSpPr>
            <p:nvPr/>
          </p:nvSpPr>
          <p:spPr bwMode="auto">
            <a:xfrm>
              <a:off x="1036706" y="2014218"/>
              <a:ext cx="120177" cy="125715"/>
            </a:xfrm>
            <a:custGeom>
              <a:avLst/>
              <a:gdLst>
                <a:gd name="T0" fmla="*/ 0 w 219"/>
                <a:gd name="T1" fmla="*/ 2147483647 h 201"/>
                <a:gd name="T2" fmla="*/ 2147483647 w 219"/>
                <a:gd name="T3" fmla="*/ 2147483647 h 201"/>
                <a:gd name="T4" fmla="*/ 2147483647 w 219"/>
                <a:gd name="T5" fmla="*/ 2147483647 h 201"/>
                <a:gd name="T6" fmla="*/ 2147483647 w 219"/>
                <a:gd name="T7" fmla="*/ 2147483647 h 201"/>
                <a:gd name="T8" fmla="*/ 2147483647 w 219"/>
                <a:gd name="T9" fmla="*/ 2147483647 h 201"/>
                <a:gd name="T10" fmla="*/ 2147483647 w 219"/>
                <a:gd name="T11" fmla="*/ 2147483647 h 201"/>
                <a:gd name="T12" fmla="*/ 2147483647 w 219"/>
                <a:gd name="T13" fmla="*/ 2147483647 h 201"/>
                <a:gd name="T14" fmla="*/ 2147483647 w 219"/>
                <a:gd name="T15" fmla="*/ 0 h 201"/>
                <a:gd name="T16" fmla="*/ 2147483647 w 219"/>
                <a:gd name="T17" fmla="*/ 2147483647 h 201"/>
                <a:gd name="T18" fmla="*/ 2147483647 w 219"/>
                <a:gd name="T19" fmla="*/ 2147483647 h 201"/>
                <a:gd name="T20" fmla="*/ 2147483647 w 219"/>
                <a:gd name="T21" fmla="*/ 2147483647 h 201"/>
                <a:gd name="T22" fmla="*/ 2147483647 w 219"/>
                <a:gd name="T23" fmla="*/ 2147483647 h 201"/>
                <a:gd name="T24" fmla="*/ 2147483647 w 219"/>
                <a:gd name="T25" fmla="*/ 2147483647 h 201"/>
                <a:gd name="T26" fmla="*/ 2147483647 w 219"/>
                <a:gd name="T27" fmla="*/ 2147483647 h 201"/>
                <a:gd name="T28" fmla="*/ 2147483647 w 219"/>
                <a:gd name="T29" fmla="*/ 2147483647 h 201"/>
                <a:gd name="T30" fmla="*/ 2147483647 w 219"/>
                <a:gd name="T31" fmla="*/ 2147483647 h 201"/>
                <a:gd name="T32" fmla="*/ 2147483647 w 219"/>
                <a:gd name="T33" fmla="*/ 2147483647 h 201"/>
                <a:gd name="T34" fmla="*/ 2147483647 w 219"/>
                <a:gd name="T35" fmla="*/ 2147483647 h 201"/>
                <a:gd name="T36" fmla="*/ 2147483647 w 219"/>
                <a:gd name="T37" fmla="*/ 2147483647 h 201"/>
                <a:gd name="T38" fmla="*/ 2147483647 w 219"/>
                <a:gd name="T39" fmla="*/ 2147483647 h 201"/>
                <a:gd name="T40" fmla="*/ 2147483647 w 219"/>
                <a:gd name="T41" fmla="*/ 2147483647 h 201"/>
                <a:gd name="T42" fmla="*/ 2147483647 w 219"/>
                <a:gd name="T43" fmla="*/ 2147483647 h 201"/>
                <a:gd name="T44" fmla="*/ 2147483647 w 219"/>
                <a:gd name="T45" fmla="*/ 2147483647 h 201"/>
                <a:gd name="T46" fmla="*/ 2147483647 w 219"/>
                <a:gd name="T47" fmla="*/ 2147483647 h 201"/>
                <a:gd name="T48" fmla="*/ 2147483647 w 219"/>
                <a:gd name="T49" fmla="*/ 2147483647 h 201"/>
                <a:gd name="T50" fmla="*/ 2147483647 w 219"/>
                <a:gd name="T51" fmla="*/ 2147483647 h 201"/>
                <a:gd name="T52" fmla="*/ 2147483647 w 219"/>
                <a:gd name="T53" fmla="*/ 2147483647 h 201"/>
                <a:gd name="T54" fmla="*/ 0 w 219"/>
                <a:gd name="T55" fmla="*/ 2147483647 h 20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9"/>
                <a:gd name="T85" fmla="*/ 0 h 201"/>
                <a:gd name="T86" fmla="*/ 219 w 219"/>
                <a:gd name="T87" fmla="*/ 201 h 20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9" h="201">
                  <a:moveTo>
                    <a:pt x="0" y="157"/>
                  </a:moveTo>
                  <a:lnTo>
                    <a:pt x="15" y="129"/>
                  </a:lnTo>
                  <a:lnTo>
                    <a:pt x="57" y="115"/>
                  </a:lnTo>
                  <a:lnTo>
                    <a:pt x="55" y="91"/>
                  </a:lnTo>
                  <a:lnTo>
                    <a:pt x="78" y="76"/>
                  </a:lnTo>
                  <a:lnTo>
                    <a:pt x="114" y="15"/>
                  </a:lnTo>
                  <a:lnTo>
                    <a:pt x="175" y="28"/>
                  </a:lnTo>
                  <a:lnTo>
                    <a:pt x="184" y="0"/>
                  </a:lnTo>
                  <a:lnTo>
                    <a:pt x="200" y="1"/>
                  </a:lnTo>
                  <a:lnTo>
                    <a:pt x="219" y="34"/>
                  </a:lnTo>
                  <a:lnTo>
                    <a:pt x="201" y="49"/>
                  </a:lnTo>
                  <a:lnTo>
                    <a:pt x="211" y="77"/>
                  </a:lnTo>
                  <a:lnTo>
                    <a:pt x="203" y="119"/>
                  </a:lnTo>
                  <a:lnTo>
                    <a:pt x="181" y="112"/>
                  </a:lnTo>
                  <a:lnTo>
                    <a:pt x="182" y="142"/>
                  </a:lnTo>
                  <a:lnTo>
                    <a:pt x="167" y="159"/>
                  </a:lnTo>
                  <a:lnTo>
                    <a:pt x="148" y="119"/>
                  </a:lnTo>
                  <a:lnTo>
                    <a:pt x="148" y="68"/>
                  </a:lnTo>
                  <a:lnTo>
                    <a:pt x="129" y="79"/>
                  </a:lnTo>
                  <a:lnTo>
                    <a:pt x="124" y="133"/>
                  </a:lnTo>
                  <a:lnTo>
                    <a:pt x="106" y="169"/>
                  </a:lnTo>
                  <a:lnTo>
                    <a:pt x="95" y="140"/>
                  </a:lnTo>
                  <a:lnTo>
                    <a:pt x="99" y="176"/>
                  </a:lnTo>
                  <a:lnTo>
                    <a:pt x="74" y="201"/>
                  </a:lnTo>
                  <a:lnTo>
                    <a:pt x="55" y="153"/>
                  </a:lnTo>
                  <a:lnTo>
                    <a:pt x="48" y="176"/>
                  </a:lnTo>
                  <a:lnTo>
                    <a:pt x="13" y="178"/>
                  </a:lnTo>
                  <a:lnTo>
                    <a:pt x="0" y="15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6" name="Freeform 272"/>
            <p:cNvSpPr>
              <a:spLocks/>
            </p:cNvSpPr>
            <p:nvPr/>
          </p:nvSpPr>
          <p:spPr bwMode="auto">
            <a:xfrm>
              <a:off x="1122704" y="2067764"/>
              <a:ext cx="198456" cy="196720"/>
            </a:xfrm>
            <a:custGeom>
              <a:avLst/>
              <a:gdLst>
                <a:gd name="T0" fmla="*/ 2147483647 w 363"/>
                <a:gd name="T1" fmla="*/ 2147483647 h 315"/>
                <a:gd name="T2" fmla="*/ 2147483647 w 363"/>
                <a:gd name="T3" fmla="*/ 2147483647 h 315"/>
                <a:gd name="T4" fmla="*/ 2147483647 w 363"/>
                <a:gd name="T5" fmla="*/ 2147483647 h 315"/>
                <a:gd name="T6" fmla="*/ 2147483647 w 363"/>
                <a:gd name="T7" fmla="*/ 2147483647 h 315"/>
                <a:gd name="T8" fmla="*/ 2147483647 w 363"/>
                <a:gd name="T9" fmla="*/ 2147483647 h 315"/>
                <a:gd name="T10" fmla="*/ 2147483647 w 363"/>
                <a:gd name="T11" fmla="*/ 2147483647 h 315"/>
                <a:gd name="T12" fmla="*/ 2147483647 w 363"/>
                <a:gd name="T13" fmla="*/ 2147483647 h 315"/>
                <a:gd name="T14" fmla="*/ 2147483647 w 363"/>
                <a:gd name="T15" fmla="*/ 2147483647 h 315"/>
                <a:gd name="T16" fmla="*/ 2147483647 w 363"/>
                <a:gd name="T17" fmla="*/ 2147483647 h 315"/>
                <a:gd name="T18" fmla="*/ 2147483647 w 363"/>
                <a:gd name="T19" fmla="*/ 2147483647 h 315"/>
                <a:gd name="T20" fmla="*/ 2147483647 w 363"/>
                <a:gd name="T21" fmla="*/ 2147483647 h 315"/>
                <a:gd name="T22" fmla="*/ 2147483647 w 363"/>
                <a:gd name="T23" fmla="*/ 2147483647 h 315"/>
                <a:gd name="T24" fmla="*/ 2147483647 w 363"/>
                <a:gd name="T25" fmla="*/ 2147483647 h 315"/>
                <a:gd name="T26" fmla="*/ 2147483647 w 363"/>
                <a:gd name="T27" fmla="*/ 2147483647 h 315"/>
                <a:gd name="T28" fmla="*/ 2147483647 w 363"/>
                <a:gd name="T29" fmla="*/ 2147483647 h 315"/>
                <a:gd name="T30" fmla="*/ 2147483647 w 363"/>
                <a:gd name="T31" fmla="*/ 2147483647 h 315"/>
                <a:gd name="T32" fmla="*/ 2147483647 w 363"/>
                <a:gd name="T33" fmla="*/ 2147483647 h 315"/>
                <a:gd name="T34" fmla="*/ 2147483647 w 363"/>
                <a:gd name="T35" fmla="*/ 2147483647 h 315"/>
                <a:gd name="T36" fmla="*/ 0 w 363"/>
                <a:gd name="T37" fmla="*/ 2147483647 h 315"/>
                <a:gd name="T38" fmla="*/ 2147483647 w 363"/>
                <a:gd name="T39" fmla="*/ 2147483647 h 315"/>
                <a:gd name="T40" fmla="*/ 2147483647 w 363"/>
                <a:gd name="T41" fmla="*/ 2147483647 h 315"/>
                <a:gd name="T42" fmla="*/ 2147483647 w 363"/>
                <a:gd name="T43" fmla="*/ 2147483647 h 315"/>
                <a:gd name="T44" fmla="*/ 2147483647 w 363"/>
                <a:gd name="T45" fmla="*/ 2147483647 h 315"/>
                <a:gd name="T46" fmla="*/ 2147483647 w 363"/>
                <a:gd name="T47" fmla="*/ 2147483647 h 315"/>
                <a:gd name="T48" fmla="*/ 2147483647 w 363"/>
                <a:gd name="T49" fmla="*/ 2147483647 h 315"/>
                <a:gd name="T50" fmla="*/ 2147483647 w 363"/>
                <a:gd name="T51" fmla="*/ 2147483647 h 315"/>
                <a:gd name="T52" fmla="*/ 2147483647 w 363"/>
                <a:gd name="T53" fmla="*/ 2147483647 h 315"/>
                <a:gd name="T54" fmla="*/ 2147483647 w 363"/>
                <a:gd name="T55" fmla="*/ 2147483647 h 315"/>
                <a:gd name="T56" fmla="*/ 2147483647 w 363"/>
                <a:gd name="T57" fmla="*/ 2147483647 h 315"/>
                <a:gd name="T58" fmla="*/ 2147483647 w 363"/>
                <a:gd name="T59" fmla="*/ 2147483647 h 315"/>
                <a:gd name="T60" fmla="*/ 2147483647 w 363"/>
                <a:gd name="T61" fmla="*/ 2147483647 h 315"/>
                <a:gd name="T62" fmla="*/ 2147483647 w 363"/>
                <a:gd name="T63" fmla="*/ 2147483647 h 31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63"/>
                <a:gd name="T97" fmla="*/ 0 h 315"/>
                <a:gd name="T98" fmla="*/ 363 w 363"/>
                <a:gd name="T99" fmla="*/ 315 h 31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63" h="315">
                  <a:moveTo>
                    <a:pt x="230" y="0"/>
                  </a:moveTo>
                  <a:lnTo>
                    <a:pt x="239" y="8"/>
                  </a:lnTo>
                  <a:lnTo>
                    <a:pt x="235" y="29"/>
                  </a:lnTo>
                  <a:lnTo>
                    <a:pt x="247" y="34"/>
                  </a:lnTo>
                  <a:lnTo>
                    <a:pt x="262" y="70"/>
                  </a:lnTo>
                  <a:lnTo>
                    <a:pt x="254" y="105"/>
                  </a:lnTo>
                  <a:lnTo>
                    <a:pt x="281" y="114"/>
                  </a:lnTo>
                  <a:lnTo>
                    <a:pt x="283" y="133"/>
                  </a:lnTo>
                  <a:lnTo>
                    <a:pt x="308" y="125"/>
                  </a:lnTo>
                  <a:lnTo>
                    <a:pt x="327" y="108"/>
                  </a:lnTo>
                  <a:lnTo>
                    <a:pt x="347" y="122"/>
                  </a:lnTo>
                  <a:lnTo>
                    <a:pt x="363" y="158"/>
                  </a:lnTo>
                  <a:lnTo>
                    <a:pt x="332" y="218"/>
                  </a:lnTo>
                  <a:lnTo>
                    <a:pt x="338" y="236"/>
                  </a:lnTo>
                  <a:lnTo>
                    <a:pt x="311" y="260"/>
                  </a:lnTo>
                  <a:lnTo>
                    <a:pt x="241" y="258"/>
                  </a:lnTo>
                  <a:lnTo>
                    <a:pt x="230" y="272"/>
                  </a:lnTo>
                  <a:lnTo>
                    <a:pt x="195" y="275"/>
                  </a:lnTo>
                  <a:lnTo>
                    <a:pt x="192" y="289"/>
                  </a:lnTo>
                  <a:lnTo>
                    <a:pt x="159" y="308"/>
                  </a:lnTo>
                  <a:lnTo>
                    <a:pt x="131" y="315"/>
                  </a:lnTo>
                  <a:lnTo>
                    <a:pt x="104" y="308"/>
                  </a:lnTo>
                  <a:lnTo>
                    <a:pt x="87" y="283"/>
                  </a:lnTo>
                  <a:lnTo>
                    <a:pt x="95" y="266"/>
                  </a:lnTo>
                  <a:lnTo>
                    <a:pt x="135" y="251"/>
                  </a:lnTo>
                  <a:lnTo>
                    <a:pt x="180" y="245"/>
                  </a:lnTo>
                  <a:lnTo>
                    <a:pt x="192" y="230"/>
                  </a:lnTo>
                  <a:lnTo>
                    <a:pt x="146" y="232"/>
                  </a:lnTo>
                  <a:lnTo>
                    <a:pt x="118" y="249"/>
                  </a:lnTo>
                  <a:lnTo>
                    <a:pt x="119" y="234"/>
                  </a:lnTo>
                  <a:lnTo>
                    <a:pt x="135" y="198"/>
                  </a:lnTo>
                  <a:lnTo>
                    <a:pt x="119" y="207"/>
                  </a:lnTo>
                  <a:lnTo>
                    <a:pt x="99" y="245"/>
                  </a:lnTo>
                  <a:lnTo>
                    <a:pt x="85" y="255"/>
                  </a:lnTo>
                  <a:lnTo>
                    <a:pt x="62" y="256"/>
                  </a:lnTo>
                  <a:lnTo>
                    <a:pt x="51" y="234"/>
                  </a:lnTo>
                  <a:lnTo>
                    <a:pt x="36" y="241"/>
                  </a:lnTo>
                  <a:lnTo>
                    <a:pt x="0" y="234"/>
                  </a:lnTo>
                  <a:lnTo>
                    <a:pt x="13" y="211"/>
                  </a:lnTo>
                  <a:lnTo>
                    <a:pt x="38" y="207"/>
                  </a:lnTo>
                  <a:lnTo>
                    <a:pt x="68" y="182"/>
                  </a:lnTo>
                  <a:lnTo>
                    <a:pt x="15" y="194"/>
                  </a:lnTo>
                  <a:lnTo>
                    <a:pt x="24" y="158"/>
                  </a:lnTo>
                  <a:lnTo>
                    <a:pt x="68" y="135"/>
                  </a:lnTo>
                  <a:lnTo>
                    <a:pt x="21" y="133"/>
                  </a:lnTo>
                  <a:lnTo>
                    <a:pt x="26" y="103"/>
                  </a:lnTo>
                  <a:lnTo>
                    <a:pt x="42" y="86"/>
                  </a:lnTo>
                  <a:lnTo>
                    <a:pt x="74" y="87"/>
                  </a:lnTo>
                  <a:lnTo>
                    <a:pt x="45" y="74"/>
                  </a:lnTo>
                  <a:lnTo>
                    <a:pt x="68" y="42"/>
                  </a:lnTo>
                  <a:lnTo>
                    <a:pt x="91" y="32"/>
                  </a:lnTo>
                  <a:lnTo>
                    <a:pt x="104" y="38"/>
                  </a:lnTo>
                  <a:lnTo>
                    <a:pt x="108" y="76"/>
                  </a:lnTo>
                  <a:lnTo>
                    <a:pt x="138" y="68"/>
                  </a:lnTo>
                  <a:lnTo>
                    <a:pt x="161" y="139"/>
                  </a:lnTo>
                  <a:lnTo>
                    <a:pt x="137" y="150"/>
                  </a:lnTo>
                  <a:lnTo>
                    <a:pt x="173" y="156"/>
                  </a:lnTo>
                  <a:lnTo>
                    <a:pt x="184" y="192"/>
                  </a:lnTo>
                  <a:lnTo>
                    <a:pt x="233" y="194"/>
                  </a:lnTo>
                  <a:lnTo>
                    <a:pt x="237" y="175"/>
                  </a:lnTo>
                  <a:lnTo>
                    <a:pt x="207" y="135"/>
                  </a:lnTo>
                  <a:lnTo>
                    <a:pt x="235" y="103"/>
                  </a:lnTo>
                  <a:lnTo>
                    <a:pt x="197" y="48"/>
                  </a:lnTo>
                  <a:lnTo>
                    <a:pt x="222" y="8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7" name="Freeform 273"/>
            <p:cNvSpPr>
              <a:spLocks/>
            </p:cNvSpPr>
            <p:nvPr/>
          </p:nvSpPr>
          <p:spPr bwMode="auto">
            <a:xfrm>
              <a:off x="1349826" y="2089880"/>
              <a:ext cx="90408" cy="138519"/>
            </a:xfrm>
            <a:custGeom>
              <a:avLst/>
              <a:gdLst>
                <a:gd name="T0" fmla="*/ 2147483647 w 165"/>
                <a:gd name="T1" fmla="*/ 2147483647 h 222"/>
                <a:gd name="T2" fmla="*/ 2147483647 w 165"/>
                <a:gd name="T3" fmla="*/ 2147483647 h 222"/>
                <a:gd name="T4" fmla="*/ 2147483647 w 165"/>
                <a:gd name="T5" fmla="*/ 2147483647 h 222"/>
                <a:gd name="T6" fmla="*/ 2147483647 w 165"/>
                <a:gd name="T7" fmla="*/ 2147483647 h 222"/>
                <a:gd name="T8" fmla="*/ 2147483647 w 165"/>
                <a:gd name="T9" fmla="*/ 2147483647 h 222"/>
                <a:gd name="T10" fmla="*/ 2147483647 w 165"/>
                <a:gd name="T11" fmla="*/ 2147483647 h 222"/>
                <a:gd name="T12" fmla="*/ 0 w 165"/>
                <a:gd name="T13" fmla="*/ 2147483647 h 222"/>
                <a:gd name="T14" fmla="*/ 2147483647 w 165"/>
                <a:gd name="T15" fmla="*/ 2147483647 h 222"/>
                <a:gd name="T16" fmla="*/ 2147483647 w 165"/>
                <a:gd name="T17" fmla="*/ 2147483647 h 222"/>
                <a:gd name="T18" fmla="*/ 2147483647 w 165"/>
                <a:gd name="T19" fmla="*/ 2147483647 h 222"/>
                <a:gd name="T20" fmla="*/ 2147483647 w 165"/>
                <a:gd name="T21" fmla="*/ 2147483647 h 222"/>
                <a:gd name="T22" fmla="*/ 2147483647 w 165"/>
                <a:gd name="T23" fmla="*/ 2147483647 h 222"/>
                <a:gd name="T24" fmla="*/ 2147483647 w 165"/>
                <a:gd name="T25" fmla="*/ 2147483647 h 222"/>
                <a:gd name="T26" fmla="*/ 2147483647 w 165"/>
                <a:gd name="T27" fmla="*/ 2147483647 h 222"/>
                <a:gd name="T28" fmla="*/ 2147483647 w 165"/>
                <a:gd name="T29" fmla="*/ 2147483647 h 222"/>
                <a:gd name="T30" fmla="*/ 2147483647 w 165"/>
                <a:gd name="T31" fmla="*/ 2147483647 h 222"/>
                <a:gd name="T32" fmla="*/ 2147483647 w 165"/>
                <a:gd name="T33" fmla="*/ 2147483647 h 222"/>
                <a:gd name="T34" fmla="*/ 2147483647 w 165"/>
                <a:gd name="T35" fmla="*/ 2147483647 h 222"/>
                <a:gd name="T36" fmla="*/ 2147483647 w 165"/>
                <a:gd name="T37" fmla="*/ 2147483647 h 222"/>
                <a:gd name="T38" fmla="*/ 2147483647 w 165"/>
                <a:gd name="T39" fmla="*/ 2147483647 h 222"/>
                <a:gd name="T40" fmla="*/ 2147483647 w 165"/>
                <a:gd name="T41" fmla="*/ 2147483647 h 222"/>
                <a:gd name="T42" fmla="*/ 2147483647 w 165"/>
                <a:gd name="T43" fmla="*/ 0 h 222"/>
                <a:gd name="T44" fmla="*/ 2147483647 w 165"/>
                <a:gd name="T45" fmla="*/ 2147483647 h 222"/>
                <a:gd name="T46" fmla="*/ 2147483647 w 165"/>
                <a:gd name="T47" fmla="*/ 2147483647 h 222"/>
                <a:gd name="T48" fmla="*/ 2147483647 w 165"/>
                <a:gd name="T49" fmla="*/ 0 h 222"/>
                <a:gd name="T50" fmla="*/ 2147483647 w 165"/>
                <a:gd name="T51" fmla="*/ 2147483647 h 222"/>
                <a:gd name="T52" fmla="*/ 2147483647 w 165"/>
                <a:gd name="T53" fmla="*/ 2147483647 h 222"/>
                <a:gd name="T54" fmla="*/ 2147483647 w 165"/>
                <a:gd name="T55" fmla="*/ 2147483647 h 222"/>
                <a:gd name="T56" fmla="*/ 2147483647 w 165"/>
                <a:gd name="T57" fmla="*/ 2147483647 h 222"/>
                <a:gd name="T58" fmla="*/ 2147483647 w 165"/>
                <a:gd name="T59" fmla="*/ 2147483647 h 222"/>
                <a:gd name="T60" fmla="*/ 2147483647 w 165"/>
                <a:gd name="T61" fmla="*/ 2147483647 h 222"/>
                <a:gd name="T62" fmla="*/ 2147483647 w 165"/>
                <a:gd name="T63" fmla="*/ 2147483647 h 222"/>
                <a:gd name="T64" fmla="*/ 2147483647 w 165"/>
                <a:gd name="T65" fmla="*/ 2147483647 h 22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5"/>
                <a:gd name="T100" fmla="*/ 0 h 222"/>
                <a:gd name="T101" fmla="*/ 165 w 165"/>
                <a:gd name="T102" fmla="*/ 222 h 22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5" h="222">
                  <a:moveTo>
                    <a:pt x="74" y="222"/>
                  </a:moveTo>
                  <a:lnTo>
                    <a:pt x="66" y="205"/>
                  </a:lnTo>
                  <a:lnTo>
                    <a:pt x="68" y="179"/>
                  </a:lnTo>
                  <a:lnTo>
                    <a:pt x="93" y="158"/>
                  </a:lnTo>
                  <a:lnTo>
                    <a:pt x="55" y="156"/>
                  </a:lnTo>
                  <a:lnTo>
                    <a:pt x="4" y="179"/>
                  </a:lnTo>
                  <a:lnTo>
                    <a:pt x="0" y="154"/>
                  </a:lnTo>
                  <a:lnTo>
                    <a:pt x="25" y="131"/>
                  </a:lnTo>
                  <a:lnTo>
                    <a:pt x="44" y="143"/>
                  </a:lnTo>
                  <a:lnTo>
                    <a:pt x="51" y="129"/>
                  </a:lnTo>
                  <a:lnTo>
                    <a:pt x="34" y="84"/>
                  </a:lnTo>
                  <a:lnTo>
                    <a:pt x="47" y="59"/>
                  </a:lnTo>
                  <a:lnTo>
                    <a:pt x="28" y="63"/>
                  </a:lnTo>
                  <a:lnTo>
                    <a:pt x="25" y="38"/>
                  </a:lnTo>
                  <a:lnTo>
                    <a:pt x="49" y="34"/>
                  </a:lnTo>
                  <a:lnTo>
                    <a:pt x="59" y="65"/>
                  </a:lnTo>
                  <a:lnTo>
                    <a:pt x="87" y="103"/>
                  </a:lnTo>
                  <a:lnTo>
                    <a:pt x="87" y="70"/>
                  </a:lnTo>
                  <a:lnTo>
                    <a:pt x="101" y="67"/>
                  </a:lnTo>
                  <a:lnTo>
                    <a:pt x="80" y="55"/>
                  </a:lnTo>
                  <a:lnTo>
                    <a:pt x="61" y="23"/>
                  </a:lnTo>
                  <a:lnTo>
                    <a:pt x="76" y="0"/>
                  </a:lnTo>
                  <a:lnTo>
                    <a:pt x="102" y="6"/>
                  </a:lnTo>
                  <a:lnTo>
                    <a:pt x="114" y="27"/>
                  </a:lnTo>
                  <a:lnTo>
                    <a:pt x="127" y="0"/>
                  </a:lnTo>
                  <a:lnTo>
                    <a:pt x="156" y="6"/>
                  </a:lnTo>
                  <a:lnTo>
                    <a:pt x="165" y="82"/>
                  </a:lnTo>
                  <a:lnTo>
                    <a:pt x="142" y="143"/>
                  </a:lnTo>
                  <a:lnTo>
                    <a:pt x="154" y="145"/>
                  </a:lnTo>
                  <a:lnTo>
                    <a:pt x="160" y="177"/>
                  </a:lnTo>
                  <a:lnTo>
                    <a:pt x="144" y="169"/>
                  </a:lnTo>
                  <a:lnTo>
                    <a:pt x="133" y="211"/>
                  </a:lnTo>
                  <a:lnTo>
                    <a:pt x="74" y="22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8" name="Freeform 274"/>
            <p:cNvSpPr>
              <a:spLocks/>
            </p:cNvSpPr>
            <p:nvPr/>
          </p:nvSpPr>
          <p:spPr bwMode="auto">
            <a:xfrm>
              <a:off x="1452363" y="2178346"/>
              <a:ext cx="45204" cy="66349"/>
            </a:xfrm>
            <a:custGeom>
              <a:avLst/>
              <a:gdLst>
                <a:gd name="T0" fmla="*/ 2147483647 w 86"/>
                <a:gd name="T1" fmla="*/ 0 h 104"/>
                <a:gd name="T2" fmla="*/ 2147483647 w 86"/>
                <a:gd name="T3" fmla="*/ 2147483647 h 104"/>
                <a:gd name="T4" fmla="*/ 2147483647 w 86"/>
                <a:gd name="T5" fmla="*/ 2147483647 h 104"/>
                <a:gd name="T6" fmla="*/ 2147483647 w 86"/>
                <a:gd name="T7" fmla="*/ 2147483647 h 104"/>
                <a:gd name="T8" fmla="*/ 2147483647 w 86"/>
                <a:gd name="T9" fmla="*/ 2147483647 h 104"/>
                <a:gd name="T10" fmla="*/ 0 w 86"/>
                <a:gd name="T11" fmla="*/ 2147483647 h 104"/>
                <a:gd name="T12" fmla="*/ 2147483647 w 86"/>
                <a:gd name="T13" fmla="*/ 2147483647 h 104"/>
                <a:gd name="T14" fmla="*/ 2147483647 w 86"/>
                <a:gd name="T15" fmla="*/ 2147483647 h 104"/>
                <a:gd name="T16" fmla="*/ 2147483647 w 86"/>
                <a:gd name="T17" fmla="*/ 0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6"/>
                <a:gd name="T28" fmla="*/ 0 h 104"/>
                <a:gd name="T29" fmla="*/ 86 w 86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6" h="104">
                  <a:moveTo>
                    <a:pt x="44" y="0"/>
                  </a:moveTo>
                  <a:lnTo>
                    <a:pt x="76" y="32"/>
                  </a:lnTo>
                  <a:lnTo>
                    <a:pt x="86" y="93"/>
                  </a:lnTo>
                  <a:lnTo>
                    <a:pt x="76" y="104"/>
                  </a:lnTo>
                  <a:lnTo>
                    <a:pt x="21" y="72"/>
                  </a:lnTo>
                  <a:lnTo>
                    <a:pt x="0" y="72"/>
                  </a:lnTo>
                  <a:lnTo>
                    <a:pt x="2" y="51"/>
                  </a:lnTo>
                  <a:lnTo>
                    <a:pt x="19" y="17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299" name="Freeform 275"/>
            <p:cNvSpPr>
              <a:spLocks/>
            </p:cNvSpPr>
            <p:nvPr/>
          </p:nvSpPr>
          <p:spPr bwMode="auto">
            <a:xfrm>
              <a:off x="1443542" y="2070092"/>
              <a:ext cx="269019" cy="188572"/>
            </a:xfrm>
            <a:custGeom>
              <a:avLst/>
              <a:gdLst>
                <a:gd name="T0" fmla="*/ 2147483647 w 494"/>
                <a:gd name="T1" fmla="*/ 2147483647 h 302"/>
                <a:gd name="T2" fmla="*/ 2147483647 w 494"/>
                <a:gd name="T3" fmla="*/ 2147483647 h 302"/>
                <a:gd name="T4" fmla="*/ 2147483647 w 494"/>
                <a:gd name="T5" fmla="*/ 2147483647 h 302"/>
                <a:gd name="T6" fmla="*/ 2147483647 w 494"/>
                <a:gd name="T7" fmla="*/ 2147483647 h 302"/>
                <a:gd name="T8" fmla="*/ 2147483647 w 494"/>
                <a:gd name="T9" fmla="*/ 2147483647 h 302"/>
                <a:gd name="T10" fmla="*/ 2147483647 w 494"/>
                <a:gd name="T11" fmla="*/ 2147483647 h 302"/>
                <a:gd name="T12" fmla="*/ 2147483647 w 494"/>
                <a:gd name="T13" fmla="*/ 2147483647 h 302"/>
                <a:gd name="T14" fmla="*/ 2147483647 w 494"/>
                <a:gd name="T15" fmla="*/ 2147483647 h 302"/>
                <a:gd name="T16" fmla="*/ 2147483647 w 494"/>
                <a:gd name="T17" fmla="*/ 2147483647 h 302"/>
                <a:gd name="T18" fmla="*/ 2147483647 w 494"/>
                <a:gd name="T19" fmla="*/ 2147483647 h 302"/>
                <a:gd name="T20" fmla="*/ 2147483647 w 494"/>
                <a:gd name="T21" fmla="*/ 2147483647 h 302"/>
                <a:gd name="T22" fmla="*/ 2147483647 w 494"/>
                <a:gd name="T23" fmla="*/ 2147483647 h 302"/>
                <a:gd name="T24" fmla="*/ 2147483647 w 494"/>
                <a:gd name="T25" fmla="*/ 2147483647 h 302"/>
                <a:gd name="T26" fmla="*/ 2147483647 w 494"/>
                <a:gd name="T27" fmla="*/ 2147483647 h 302"/>
                <a:gd name="T28" fmla="*/ 2147483647 w 494"/>
                <a:gd name="T29" fmla="*/ 2147483647 h 302"/>
                <a:gd name="T30" fmla="*/ 2147483647 w 494"/>
                <a:gd name="T31" fmla="*/ 2147483647 h 302"/>
                <a:gd name="T32" fmla="*/ 2147483647 w 494"/>
                <a:gd name="T33" fmla="*/ 2147483647 h 302"/>
                <a:gd name="T34" fmla="*/ 2147483647 w 494"/>
                <a:gd name="T35" fmla="*/ 2147483647 h 302"/>
                <a:gd name="T36" fmla="*/ 2147483647 w 494"/>
                <a:gd name="T37" fmla="*/ 2147483647 h 302"/>
                <a:gd name="T38" fmla="*/ 2147483647 w 494"/>
                <a:gd name="T39" fmla="*/ 2147483647 h 302"/>
                <a:gd name="T40" fmla="*/ 2147483647 w 494"/>
                <a:gd name="T41" fmla="*/ 2147483647 h 302"/>
                <a:gd name="T42" fmla="*/ 2147483647 w 494"/>
                <a:gd name="T43" fmla="*/ 2147483647 h 302"/>
                <a:gd name="T44" fmla="*/ 2147483647 w 494"/>
                <a:gd name="T45" fmla="*/ 2147483647 h 302"/>
                <a:gd name="T46" fmla="*/ 2147483647 w 494"/>
                <a:gd name="T47" fmla="*/ 2147483647 h 302"/>
                <a:gd name="T48" fmla="*/ 2147483647 w 494"/>
                <a:gd name="T49" fmla="*/ 2147483647 h 302"/>
                <a:gd name="T50" fmla="*/ 2147483647 w 494"/>
                <a:gd name="T51" fmla="*/ 2147483647 h 302"/>
                <a:gd name="T52" fmla="*/ 2147483647 w 494"/>
                <a:gd name="T53" fmla="*/ 2147483647 h 302"/>
                <a:gd name="T54" fmla="*/ 2147483647 w 494"/>
                <a:gd name="T55" fmla="*/ 2147483647 h 302"/>
                <a:gd name="T56" fmla="*/ 2147483647 w 494"/>
                <a:gd name="T57" fmla="*/ 2147483647 h 302"/>
                <a:gd name="T58" fmla="*/ 2147483647 w 494"/>
                <a:gd name="T59" fmla="*/ 2147483647 h 302"/>
                <a:gd name="T60" fmla="*/ 2147483647 w 494"/>
                <a:gd name="T61" fmla="*/ 2147483647 h 302"/>
                <a:gd name="T62" fmla="*/ 2147483647 w 494"/>
                <a:gd name="T63" fmla="*/ 2147483647 h 302"/>
                <a:gd name="T64" fmla="*/ 2147483647 w 494"/>
                <a:gd name="T65" fmla="*/ 2147483647 h 302"/>
                <a:gd name="T66" fmla="*/ 2147483647 w 494"/>
                <a:gd name="T67" fmla="*/ 2147483647 h 302"/>
                <a:gd name="T68" fmla="*/ 2147483647 w 494"/>
                <a:gd name="T69" fmla="*/ 2147483647 h 302"/>
                <a:gd name="T70" fmla="*/ 2147483647 w 494"/>
                <a:gd name="T71" fmla="*/ 2147483647 h 302"/>
                <a:gd name="T72" fmla="*/ 2147483647 w 494"/>
                <a:gd name="T73" fmla="*/ 2147483647 h 302"/>
                <a:gd name="T74" fmla="*/ 2147483647 w 494"/>
                <a:gd name="T75" fmla="*/ 2147483647 h 302"/>
                <a:gd name="T76" fmla="*/ 2147483647 w 494"/>
                <a:gd name="T77" fmla="*/ 2147483647 h 302"/>
                <a:gd name="T78" fmla="*/ 2147483647 w 494"/>
                <a:gd name="T79" fmla="*/ 2147483647 h 302"/>
                <a:gd name="T80" fmla="*/ 2147483647 w 494"/>
                <a:gd name="T81" fmla="*/ 2147483647 h 302"/>
                <a:gd name="T82" fmla="*/ 2147483647 w 494"/>
                <a:gd name="T83" fmla="*/ 2147483647 h 302"/>
                <a:gd name="T84" fmla="*/ 2147483647 w 494"/>
                <a:gd name="T85" fmla="*/ 2147483647 h 302"/>
                <a:gd name="T86" fmla="*/ 2147483647 w 494"/>
                <a:gd name="T87" fmla="*/ 2147483647 h 302"/>
                <a:gd name="T88" fmla="*/ 0 w 494"/>
                <a:gd name="T89" fmla="*/ 2147483647 h 302"/>
                <a:gd name="T90" fmla="*/ 2147483647 w 494"/>
                <a:gd name="T91" fmla="*/ 0 h 302"/>
                <a:gd name="T92" fmla="*/ 2147483647 w 494"/>
                <a:gd name="T93" fmla="*/ 2147483647 h 302"/>
                <a:gd name="T94" fmla="*/ 2147483647 w 494"/>
                <a:gd name="T95" fmla="*/ 2147483647 h 302"/>
                <a:gd name="T96" fmla="*/ 2147483647 w 494"/>
                <a:gd name="T97" fmla="*/ 2147483647 h 302"/>
                <a:gd name="T98" fmla="*/ 2147483647 w 494"/>
                <a:gd name="T99" fmla="*/ 2147483647 h 302"/>
                <a:gd name="T100" fmla="*/ 2147483647 w 494"/>
                <a:gd name="T101" fmla="*/ 2147483647 h 302"/>
                <a:gd name="T102" fmla="*/ 2147483647 w 494"/>
                <a:gd name="T103" fmla="*/ 2147483647 h 302"/>
                <a:gd name="T104" fmla="*/ 2147483647 w 494"/>
                <a:gd name="T105" fmla="*/ 2147483647 h 302"/>
                <a:gd name="T106" fmla="*/ 2147483647 w 494"/>
                <a:gd name="T107" fmla="*/ 2147483647 h 302"/>
                <a:gd name="T108" fmla="*/ 2147483647 w 494"/>
                <a:gd name="T109" fmla="*/ 2147483647 h 30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94"/>
                <a:gd name="T166" fmla="*/ 0 h 302"/>
                <a:gd name="T167" fmla="*/ 494 w 494"/>
                <a:gd name="T168" fmla="*/ 302 h 30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94" h="302">
                  <a:moveTo>
                    <a:pt x="226" y="93"/>
                  </a:moveTo>
                  <a:lnTo>
                    <a:pt x="220" y="102"/>
                  </a:lnTo>
                  <a:lnTo>
                    <a:pt x="173" y="99"/>
                  </a:lnTo>
                  <a:lnTo>
                    <a:pt x="175" y="108"/>
                  </a:lnTo>
                  <a:lnTo>
                    <a:pt x="194" y="116"/>
                  </a:lnTo>
                  <a:lnTo>
                    <a:pt x="171" y="125"/>
                  </a:lnTo>
                  <a:lnTo>
                    <a:pt x="199" y="135"/>
                  </a:lnTo>
                  <a:lnTo>
                    <a:pt x="201" y="152"/>
                  </a:lnTo>
                  <a:lnTo>
                    <a:pt x="226" y="175"/>
                  </a:lnTo>
                  <a:lnTo>
                    <a:pt x="239" y="163"/>
                  </a:lnTo>
                  <a:lnTo>
                    <a:pt x="266" y="171"/>
                  </a:lnTo>
                  <a:lnTo>
                    <a:pt x="300" y="192"/>
                  </a:lnTo>
                  <a:lnTo>
                    <a:pt x="321" y="167"/>
                  </a:lnTo>
                  <a:lnTo>
                    <a:pt x="378" y="144"/>
                  </a:lnTo>
                  <a:lnTo>
                    <a:pt x="397" y="158"/>
                  </a:lnTo>
                  <a:lnTo>
                    <a:pt x="420" y="142"/>
                  </a:lnTo>
                  <a:lnTo>
                    <a:pt x="450" y="158"/>
                  </a:lnTo>
                  <a:lnTo>
                    <a:pt x="486" y="175"/>
                  </a:lnTo>
                  <a:lnTo>
                    <a:pt x="490" y="213"/>
                  </a:lnTo>
                  <a:lnTo>
                    <a:pt x="462" y="247"/>
                  </a:lnTo>
                  <a:lnTo>
                    <a:pt x="481" y="245"/>
                  </a:lnTo>
                  <a:lnTo>
                    <a:pt x="494" y="264"/>
                  </a:lnTo>
                  <a:lnTo>
                    <a:pt x="467" y="266"/>
                  </a:lnTo>
                  <a:lnTo>
                    <a:pt x="460" y="290"/>
                  </a:lnTo>
                  <a:lnTo>
                    <a:pt x="431" y="302"/>
                  </a:lnTo>
                  <a:lnTo>
                    <a:pt x="399" y="290"/>
                  </a:lnTo>
                  <a:lnTo>
                    <a:pt x="389" y="273"/>
                  </a:lnTo>
                  <a:lnTo>
                    <a:pt x="376" y="292"/>
                  </a:lnTo>
                  <a:lnTo>
                    <a:pt x="344" y="298"/>
                  </a:lnTo>
                  <a:lnTo>
                    <a:pt x="287" y="300"/>
                  </a:lnTo>
                  <a:lnTo>
                    <a:pt x="241" y="296"/>
                  </a:lnTo>
                  <a:lnTo>
                    <a:pt x="239" y="273"/>
                  </a:lnTo>
                  <a:lnTo>
                    <a:pt x="222" y="277"/>
                  </a:lnTo>
                  <a:lnTo>
                    <a:pt x="217" y="292"/>
                  </a:lnTo>
                  <a:lnTo>
                    <a:pt x="199" y="300"/>
                  </a:lnTo>
                  <a:lnTo>
                    <a:pt x="171" y="275"/>
                  </a:lnTo>
                  <a:lnTo>
                    <a:pt x="163" y="296"/>
                  </a:lnTo>
                  <a:lnTo>
                    <a:pt x="146" y="281"/>
                  </a:lnTo>
                  <a:lnTo>
                    <a:pt x="131" y="186"/>
                  </a:lnTo>
                  <a:lnTo>
                    <a:pt x="146" y="167"/>
                  </a:lnTo>
                  <a:lnTo>
                    <a:pt x="116" y="85"/>
                  </a:lnTo>
                  <a:lnTo>
                    <a:pt x="95" y="99"/>
                  </a:lnTo>
                  <a:lnTo>
                    <a:pt x="53" y="89"/>
                  </a:lnTo>
                  <a:lnTo>
                    <a:pt x="9" y="40"/>
                  </a:lnTo>
                  <a:lnTo>
                    <a:pt x="0" y="6"/>
                  </a:lnTo>
                  <a:lnTo>
                    <a:pt x="40" y="0"/>
                  </a:lnTo>
                  <a:lnTo>
                    <a:pt x="85" y="13"/>
                  </a:lnTo>
                  <a:lnTo>
                    <a:pt x="106" y="30"/>
                  </a:lnTo>
                  <a:lnTo>
                    <a:pt x="103" y="70"/>
                  </a:lnTo>
                  <a:lnTo>
                    <a:pt x="118" y="42"/>
                  </a:lnTo>
                  <a:lnTo>
                    <a:pt x="133" y="40"/>
                  </a:lnTo>
                  <a:lnTo>
                    <a:pt x="150" y="26"/>
                  </a:lnTo>
                  <a:lnTo>
                    <a:pt x="184" y="55"/>
                  </a:lnTo>
                  <a:lnTo>
                    <a:pt x="165" y="64"/>
                  </a:lnTo>
                  <a:lnTo>
                    <a:pt x="226" y="9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0" name="Freeform 276"/>
            <p:cNvSpPr>
              <a:spLocks/>
            </p:cNvSpPr>
            <p:nvPr/>
          </p:nvSpPr>
          <p:spPr bwMode="auto">
            <a:xfrm>
              <a:off x="1557103" y="2000250"/>
              <a:ext cx="197354" cy="137355"/>
            </a:xfrm>
            <a:custGeom>
              <a:avLst/>
              <a:gdLst>
                <a:gd name="T0" fmla="*/ 2147483647 w 361"/>
                <a:gd name="T1" fmla="*/ 0 h 220"/>
                <a:gd name="T2" fmla="*/ 2147483647 w 361"/>
                <a:gd name="T3" fmla="*/ 2147483647 h 220"/>
                <a:gd name="T4" fmla="*/ 2147483647 w 361"/>
                <a:gd name="T5" fmla="*/ 2147483647 h 220"/>
                <a:gd name="T6" fmla="*/ 2147483647 w 361"/>
                <a:gd name="T7" fmla="*/ 2147483647 h 220"/>
                <a:gd name="T8" fmla="*/ 2147483647 w 361"/>
                <a:gd name="T9" fmla="*/ 2147483647 h 220"/>
                <a:gd name="T10" fmla="*/ 2147483647 w 361"/>
                <a:gd name="T11" fmla="*/ 2147483647 h 220"/>
                <a:gd name="T12" fmla="*/ 2147483647 w 361"/>
                <a:gd name="T13" fmla="*/ 2147483647 h 220"/>
                <a:gd name="T14" fmla="*/ 2147483647 w 361"/>
                <a:gd name="T15" fmla="*/ 2147483647 h 220"/>
                <a:gd name="T16" fmla="*/ 2147483647 w 361"/>
                <a:gd name="T17" fmla="*/ 2147483647 h 220"/>
                <a:gd name="T18" fmla="*/ 2147483647 w 361"/>
                <a:gd name="T19" fmla="*/ 2147483647 h 220"/>
                <a:gd name="T20" fmla="*/ 2147483647 w 361"/>
                <a:gd name="T21" fmla="*/ 2147483647 h 220"/>
                <a:gd name="T22" fmla="*/ 2147483647 w 361"/>
                <a:gd name="T23" fmla="*/ 2147483647 h 220"/>
                <a:gd name="T24" fmla="*/ 2147483647 w 361"/>
                <a:gd name="T25" fmla="*/ 2147483647 h 220"/>
                <a:gd name="T26" fmla="*/ 2147483647 w 361"/>
                <a:gd name="T27" fmla="*/ 2147483647 h 220"/>
                <a:gd name="T28" fmla="*/ 2147483647 w 361"/>
                <a:gd name="T29" fmla="*/ 2147483647 h 220"/>
                <a:gd name="T30" fmla="*/ 2147483647 w 361"/>
                <a:gd name="T31" fmla="*/ 2147483647 h 220"/>
                <a:gd name="T32" fmla="*/ 2147483647 w 361"/>
                <a:gd name="T33" fmla="*/ 2147483647 h 220"/>
                <a:gd name="T34" fmla="*/ 2147483647 w 361"/>
                <a:gd name="T35" fmla="*/ 2147483647 h 220"/>
                <a:gd name="T36" fmla="*/ 2147483647 w 361"/>
                <a:gd name="T37" fmla="*/ 2147483647 h 220"/>
                <a:gd name="T38" fmla="*/ 2147483647 w 361"/>
                <a:gd name="T39" fmla="*/ 2147483647 h 220"/>
                <a:gd name="T40" fmla="*/ 2147483647 w 361"/>
                <a:gd name="T41" fmla="*/ 2147483647 h 220"/>
                <a:gd name="T42" fmla="*/ 2147483647 w 361"/>
                <a:gd name="T43" fmla="*/ 2147483647 h 220"/>
                <a:gd name="T44" fmla="*/ 2147483647 w 361"/>
                <a:gd name="T45" fmla="*/ 2147483647 h 220"/>
                <a:gd name="T46" fmla="*/ 2147483647 w 361"/>
                <a:gd name="T47" fmla="*/ 2147483647 h 220"/>
                <a:gd name="T48" fmla="*/ 2147483647 w 361"/>
                <a:gd name="T49" fmla="*/ 2147483647 h 220"/>
                <a:gd name="T50" fmla="*/ 2147483647 w 361"/>
                <a:gd name="T51" fmla="*/ 2147483647 h 220"/>
                <a:gd name="T52" fmla="*/ 2147483647 w 361"/>
                <a:gd name="T53" fmla="*/ 2147483647 h 220"/>
                <a:gd name="T54" fmla="*/ 2147483647 w 361"/>
                <a:gd name="T55" fmla="*/ 2147483647 h 220"/>
                <a:gd name="T56" fmla="*/ 2147483647 w 361"/>
                <a:gd name="T57" fmla="*/ 2147483647 h 220"/>
                <a:gd name="T58" fmla="*/ 0 w 361"/>
                <a:gd name="T59" fmla="*/ 2147483647 h 220"/>
                <a:gd name="T60" fmla="*/ 2147483647 w 361"/>
                <a:gd name="T61" fmla="*/ 2147483647 h 220"/>
                <a:gd name="T62" fmla="*/ 2147483647 w 361"/>
                <a:gd name="T63" fmla="*/ 2147483647 h 220"/>
                <a:gd name="T64" fmla="*/ 2147483647 w 361"/>
                <a:gd name="T65" fmla="*/ 2147483647 h 220"/>
                <a:gd name="T66" fmla="*/ 2147483647 w 361"/>
                <a:gd name="T67" fmla="*/ 2147483647 h 220"/>
                <a:gd name="T68" fmla="*/ 2147483647 w 361"/>
                <a:gd name="T69" fmla="*/ 2147483647 h 220"/>
                <a:gd name="T70" fmla="*/ 2147483647 w 361"/>
                <a:gd name="T71" fmla="*/ 2147483647 h 220"/>
                <a:gd name="T72" fmla="*/ 2147483647 w 361"/>
                <a:gd name="T73" fmla="*/ 2147483647 h 220"/>
                <a:gd name="T74" fmla="*/ 2147483647 w 361"/>
                <a:gd name="T75" fmla="*/ 2147483647 h 220"/>
                <a:gd name="T76" fmla="*/ 2147483647 w 361"/>
                <a:gd name="T77" fmla="*/ 2147483647 h 220"/>
                <a:gd name="T78" fmla="*/ 2147483647 w 361"/>
                <a:gd name="T79" fmla="*/ 2147483647 h 220"/>
                <a:gd name="T80" fmla="*/ 2147483647 w 361"/>
                <a:gd name="T81" fmla="*/ 2147483647 h 220"/>
                <a:gd name="T82" fmla="*/ 2147483647 w 361"/>
                <a:gd name="T83" fmla="*/ 2147483647 h 220"/>
                <a:gd name="T84" fmla="*/ 2147483647 w 361"/>
                <a:gd name="T85" fmla="*/ 2147483647 h 220"/>
                <a:gd name="T86" fmla="*/ 2147483647 w 361"/>
                <a:gd name="T87" fmla="*/ 0 h 220"/>
                <a:gd name="T88" fmla="*/ 2147483647 w 361"/>
                <a:gd name="T89" fmla="*/ 0 h 22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61"/>
                <a:gd name="T136" fmla="*/ 0 h 220"/>
                <a:gd name="T137" fmla="*/ 361 w 361"/>
                <a:gd name="T138" fmla="*/ 220 h 22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61" h="220">
                  <a:moveTo>
                    <a:pt x="361" y="0"/>
                  </a:moveTo>
                  <a:lnTo>
                    <a:pt x="359" y="7"/>
                  </a:lnTo>
                  <a:lnTo>
                    <a:pt x="331" y="11"/>
                  </a:lnTo>
                  <a:lnTo>
                    <a:pt x="327" y="38"/>
                  </a:lnTo>
                  <a:lnTo>
                    <a:pt x="338" y="42"/>
                  </a:lnTo>
                  <a:lnTo>
                    <a:pt x="317" y="68"/>
                  </a:lnTo>
                  <a:lnTo>
                    <a:pt x="258" y="68"/>
                  </a:lnTo>
                  <a:lnTo>
                    <a:pt x="228" y="42"/>
                  </a:lnTo>
                  <a:lnTo>
                    <a:pt x="215" y="47"/>
                  </a:lnTo>
                  <a:lnTo>
                    <a:pt x="230" y="72"/>
                  </a:lnTo>
                  <a:lnTo>
                    <a:pt x="213" y="80"/>
                  </a:lnTo>
                  <a:lnTo>
                    <a:pt x="217" y="93"/>
                  </a:lnTo>
                  <a:lnTo>
                    <a:pt x="245" y="78"/>
                  </a:lnTo>
                  <a:lnTo>
                    <a:pt x="293" y="85"/>
                  </a:lnTo>
                  <a:lnTo>
                    <a:pt x="293" y="119"/>
                  </a:lnTo>
                  <a:lnTo>
                    <a:pt x="321" y="114"/>
                  </a:lnTo>
                  <a:lnTo>
                    <a:pt x="325" y="140"/>
                  </a:lnTo>
                  <a:lnTo>
                    <a:pt x="302" y="176"/>
                  </a:lnTo>
                  <a:lnTo>
                    <a:pt x="245" y="220"/>
                  </a:lnTo>
                  <a:lnTo>
                    <a:pt x="237" y="211"/>
                  </a:lnTo>
                  <a:lnTo>
                    <a:pt x="251" y="184"/>
                  </a:lnTo>
                  <a:lnTo>
                    <a:pt x="232" y="173"/>
                  </a:lnTo>
                  <a:lnTo>
                    <a:pt x="175" y="186"/>
                  </a:lnTo>
                  <a:lnTo>
                    <a:pt x="158" y="154"/>
                  </a:lnTo>
                  <a:lnTo>
                    <a:pt x="154" y="175"/>
                  </a:lnTo>
                  <a:lnTo>
                    <a:pt x="131" y="175"/>
                  </a:lnTo>
                  <a:lnTo>
                    <a:pt x="135" y="194"/>
                  </a:lnTo>
                  <a:lnTo>
                    <a:pt x="82" y="194"/>
                  </a:lnTo>
                  <a:lnTo>
                    <a:pt x="34" y="182"/>
                  </a:lnTo>
                  <a:lnTo>
                    <a:pt x="0" y="163"/>
                  </a:lnTo>
                  <a:lnTo>
                    <a:pt x="6" y="129"/>
                  </a:lnTo>
                  <a:lnTo>
                    <a:pt x="34" y="91"/>
                  </a:lnTo>
                  <a:lnTo>
                    <a:pt x="74" y="80"/>
                  </a:lnTo>
                  <a:lnTo>
                    <a:pt x="68" y="62"/>
                  </a:lnTo>
                  <a:lnTo>
                    <a:pt x="51" y="68"/>
                  </a:lnTo>
                  <a:lnTo>
                    <a:pt x="28" y="23"/>
                  </a:lnTo>
                  <a:lnTo>
                    <a:pt x="55" y="5"/>
                  </a:lnTo>
                  <a:lnTo>
                    <a:pt x="78" y="11"/>
                  </a:lnTo>
                  <a:lnTo>
                    <a:pt x="101" y="51"/>
                  </a:lnTo>
                  <a:lnTo>
                    <a:pt x="171" y="62"/>
                  </a:lnTo>
                  <a:lnTo>
                    <a:pt x="169" y="43"/>
                  </a:lnTo>
                  <a:lnTo>
                    <a:pt x="131" y="42"/>
                  </a:lnTo>
                  <a:lnTo>
                    <a:pt x="116" y="28"/>
                  </a:lnTo>
                  <a:lnTo>
                    <a:pt x="99" y="0"/>
                  </a:lnTo>
                  <a:lnTo>
                    <a:pt x="36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1" name="Freeform 277"/>
            <p:cNvSpPr>
              <a:spLocks/>
            </p:cNvSpPr>
            <p:nvPr/>
          </p:nvSpPr>
          <p:spPr bwMode="auto">
            <a:xfrm>
              <a:off x="1716971" y="4088515"/>
              <a:ext cx="191841" cy="300319"/>
            </a:xfrm>
            <a:custGeom>
              <a:avLst/>
              <a:gdLst>
                <a:gd name="T0" fmla="*/ 2147483647 w 351"/>
                <a:gd name="T1" fmla="*/ 2147483647 h 483"/>
                <a:gd name="T2" fmla="*/ 2147483647 w 351"/>
                <a:gd name="T3" fmla="*/ 2147483647 h 483"/>
                <a:gd name="T4" fmla="*/ 2147483647 w 351"/>
                <a:gd name="T5" fmla="*/ 2147483647 h 483"/>
                <a:gd name="T6" fmla="*/ 2147483647 w 351"/>
                <a:gd name="T7" fmla="*/ 2147483647 h 483"/>
                <a:gd name="T8" fmla="*/ 2147483647 w 351"/>
                <a:gd name="T9" fmla="*/ 2147483647 h 483"/>
                <a:gd name="T10" fmla="*/ 2147483647 w 351"/>
                <a:gd name="T11" fmla="*/ 2147483647 h 483"/>
                <a:gd name="T12" fmla="*/ 2147483647 w 351"/>
                <a:gd name="T13" fmla="*/ 2147483647 h 483"/>
                <a:gd name="T14" fmla="*/ 2147483647 w 351"/>
                <a:gd name="T15" fmla="*/ 2147483647 h 483"/>
                <a:gd name="T16" fmla="*/ 2147483647 w 351"/>
                <a:gd name="T17" fmla="*/ 2147483647 h 483"/>
                <a:gd name="T18" fmla="*/ 2147483647 w 351"/>
                <a:gd name="T19" fmla="*/ 2147483647 h 483"/>
                <a:gd name="T20" fmla="*/ 2147483647 w 351"/>
                <a:gd name="T21" fmla="*/ 2147483647 h 483"/>
                <a:gd name="T22" fmla="*/ 0 w 351"/>
                <a:gd name="T23" fmla="*/ 2147483647 h 483"/>
                <a:gd name="T24" fmla="*/ 2147483647 w 351"/>
                <a:gd name="T25" fmla="*/ 2147483647 h 483"/>
                <a:gd name="T26" fmla="*/ 2147483647 w 351"/>
                <a:gd name="T27" fmla="*/ 2147483647 h 483"/>
                <a:gd name="T28" fmla="*/ 2147483647 w 351"/>
                <a:gd name="T29" fmla="*/ 2147483647 h 483"/>
                <a:gd name="T30" fmla="*/ 2147483647 w 351"/>
                <a:gd name="T31" fmla="*/ 2147483647 h 483"/>
                <a:gd name="T32" fmla="*/ 2147483647 w 351"/>
                <a:gd name="T33" fmla="*/ 2147483647 h 483"/>
                <a:gd name="T34" fmla="*/ 2147483647 w 351"/>
                <a:gd name="T35" fmla="*/ 2147483647 h 483"/>
                <a:gd name="T36" fmla="*/ 2147483647 w 351"/>
                <a:gd name="T37" fmla="*/ 2147483647 h 483"/>
                <a:gd name="T38" fmla="*/ 2147483647 w 351"/>
                <a:gd name="T39" fmla="*/ 2147483647 h 483"/>
                <a:gd name="T40" fmla="*/ 2147483647 w 351"/>
                <a:gd name="T41" fmla="*/ 2147483647 h 483"/>
                <a:gd name="T42" fmla="*/ 2147483647 w 351"/>
                <a:gd name="T43" fmla="*/ 2147483647 h 483"/>
                <a:gd name="T44" fmla="*/ 2147483647 w 351"/>
                <a:gd name="T45" fmla="*/ 2147483647 h 483"/>
                <a:gd name="T46" fmla="*/ 2147483647 w 351"/>
                <a:gd name="T47" fmla="*/ 0 h 483"/>
                <a:gd name="T48" fmla="*/ 2147483647 w 351"/>
                <a:gd name="T49" fmla="*/ 2147483647 h 483"/>
                <a:gd name="T50" fmla="*/ 2147483647 w 351"/>
                <a:gd name="T51" fmla="*/ 2147483647 h 483"/>
                <a:gd name="T52" fmla="*/ 2147483647 w 351"/>
                <a:gd name="T53" fmla="*/ 2147483647 h 483"/>
                <a:gd name="T54" fmla="*/ 2147483647 w 351"/>
                <a:gd name="T55" fmla="*/ 2147483647 h 483"/>
                <a:gd name="T56" fmla="*/ 2147483647 w 351"/>
                <a:gd name="T57" fmla="*/ 2147483647 h 483"/>
                <a:gd name="T58" fmla="*/ 2147483647 w 351"/>
                <a:gd name="T59" fmla="*/ 2147483647 h 483"/>
                <a:gd name="T60" fmla="*/ 2147483647 w 351"/>
                <a:gd name="T61" fmla="*/ 2147483647 h 483"/>
                <a:gd name="T62" fmla="*/ 2147483647 w 351"/>
                <a:gd name="T63" fmla="*/ 2147483647 h 483"/>
                <a:gd name="T64" fmla="*/ 2147483647 w 351"/>
                <a:gd name="T65" fmla="*/ 2147483647 h 4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51"/>
                <a:gd name="T100" fmla="*/ 0 h 483"/>
                <a:gd name="T101" fmla="*/ 351 w 351"/>
                <a:gd name="T102" fmla="*/ 483 h 4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51" h="483">
                  <a:moveTo>
                    <a:pt x="351" y="327"/>
                  </a:moveTo>
                  <a:lnTo>
                    <a:pt x="332" y="325"/>
                  </a:lnTo>
                  <a:lnTo>
                    <a:pt x="328" y="302"/>
                  </a:lnTo>
                  <a:lnTo>
                    <a:pt x="304" y="312"/>
                  </a:lnTo>
                  <a:lnTo>
                    <a:pt x="268" y="316"/>
                  </a:lnTo>
                  <a:lnTo>
                    <a:pt x="264" y="337"/>
                  </a:lnTo>
                  <a:lnTo>
                    <a:pt x="288" y="344"/>
                  </a:lnTo>
                  <a:lnTo>
                    <a:pt x="283" y="358"/>
                  </a:lnTo>
                  <a:lnTo>
                    <a:pt x="254" y="358"/>
                  </a:lnTo>
                  <a:lnTo>
                    <a:pt x="258" y="375"/>
                  </a:lnTo>
                  <a:lnTo>
                    <a:pt x="275" y="378"/>
                  </a:lnTo>
                  <a:lnTo>
                    <a:pt x="285" y="397"/>
                  </a:lnTo>
                  <a:lnTo>
                    <a:pt x="254" y="483"/>
                  </a:lnTo>
                  <a:lnTo>
                    <a:pt x="237" y="475"/>
                  </a:lnTo>
                  <a:lnTo>
                    <a:pt x="256" y="433"/>
                  </a:lnTo>
                  <a:lnTo>
                    <a:pt x="211" y="415"/>
                  </a:lnTo>
                  <a:lnTo>
                    <a:pt x="180" y="426"/>
                  </a:lnTo>
                  <a:lnTo>
                    <a:pt x="134" y="375"/>
                  </a:lnTo>
                  <a:lnTo>
                    <a:pt x="112" y="367"/>
                  </a:lnTo>
                  <a:lnTo>
                    <a:pt x="66" y="344"/>
                  </a:lnTo>
                  <a:lnTo>
                    <a:pt x="47" y="354"/>
                  </a:lnTo>
                  <a:lnTo>
                    <a:pt x="38" y="339"/>
                  </a:lnTo>
                  <a:lnTo>
                    <a:pt x="11" y="320"/>
                  </a:lnTo>
                  <a:lnTo>
                    <a:pt x="0" y="314"/>
                  </a:lnTo>
                  <a:lnTo>
                    <a:pt x="11" y="306"/>
                  </a:lnTo>
                  <a:lnTo>
                    <a:pt x="11" y="295"/>
                  </a:lnTo>
                  <a:lnTo>
                    <a:pt x="22" y="278"/>
                  </a:lnTo>
                  <a:lnTo>
                    <a:pt x="38" y="280"/>
                  </a:lnTo>
                  <a:lnTo>
                    <a:pt x="51" y="247"/>
                  </a:lnTo>
                  <a:lnTo>
                    <a:pt x="45" y="238"/>
                  </a:lnTo>
                  <a:lnTo>
                    <a:pt x="43" y="188"/>
                  </a:lnTo>
                  <a:lnTo>
                    <a:pt x="51" y="177"/>
                  </a:lnTo>
                  <a:lnTo>
                    <a:pt x="32" y="152"/>
                  </a:lnTo>
                  <a:lnTo>
                    <a:pt x="36" y="145"/>
                  </a:lnTo>
                  <a:lnTo>
                    <a:pt x="45" y="143"/>
                  </a:lnTo>
                  <a:lnTo>
                    <a:pt x="47" y="114"/>
                  </a:lnTo>
                  <a:lnTo>
                    <a:pt x="60" y="135"/>
                  </a:lnTo>
                  <a:lnTo>
                    <a:pt x="62" y="114"/>
                  </a:lnTo>
                  <a:lnTo>
                    <a:pt x="95" y="97"/>
                  </a:lnTo>
                  <a:lnTo>
                    <a:pt x="95" y="75"/>
                  </a:lnTo>
                  <a:lnTo>
                    <a:pt x="85" y="76"/>
                  </a:lnTo>
                  <a:lnTo>
                    <a:pt x="96" y="56"/>
                  </a:lnTo>
                  <a:lnTo>
                    <a:pt x="121" y="42"/>
                  </a:lnTo>
                  <a:lnTo>
                    <a:pt x="138" y="46"/>
                  </a:lnTo>
                  <a:lnTo>
                    <a:pt x="144" y="37"/>
                  </a:lnTo>
                  <a:lnTo>
                    <a:pt x="165" y="35"/>
                  </a:lnTo>
                  <a:lnTo>
                    <a:pt x="207" y="0"/>
                  </a:lnTo>
                  <a:lnTo>
                    <a:pt x="224" y="0"/>
                  </a:lnTo>
                  <a:lnTo>
                    <a:pt x="226" y="16"/>
                  </a:lnTo>
                  <a:lnTo>
                    <a:pt x="211" y="18"/>
                  </a:lnTo>
                  <a:lnTo>
                    <a:pt x="192" y="31"/>
                  </a:lnTo>
                  <a:lnTo>
                    <a:pt x="174" y="59"/>
                  </a:lnTo>
                  <a:lnTo>
                    <a:pt x="169" y="92"/>
                  </a:lnTo>
                  <a:lnTo>
                    <a:pt x="159" y="103"/>
                  </a:lnTo>
                  <a:lnTo>
                    <a:pt x="174" y="105"/>
                  </a:lnTo>
                  <a:lnTo>
                    <a:pt x="188" y="126"/>
                  </a:lnTo>
                  <a:lnTo>
                    <a:pt x="182" y="143"/>
                  </a:lnTo>
                  <a:lnTo>
                    <a:pt x="205" y="164"/>
                  </a:lnTo>
                  <a:lnTo>
                    <a:pt x="262" y="162"/>
                  </a:lnTo>
                  <a:lnTo>
                    <a:pt x="275" y="185"/>
                  </a:lnTo>
                  <a:lnTo>
                    <a:pt x="334" y="179"/>
                  </a:lnTo>
                  <a:lnTo>
                    <a:pt x="321" y="219"/>
                  </a:lnTo>
                  <a:lnTo>
                    <a:pt x="325" y="251"/>
                  </a:lnTo>
                  <a:lnTo>
                    <a:pt x="330" y="263"/>
                  </a:lnTo>
                  <a:lnTo>
                    <a:pt x="311" y="285"/>
                  </a:lnTo>
                  <a:lnTo>
                    <a:pt x="336" y="283"/>
                  </a:lnTo>
                  <a:lnTo>
                    <a:pt x="351" y="32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2" name="Freeform 278"/>
            <p:cNvSpPr>
              <a:spLocks/>
            </p:cNvSpPr>
            <p:nvPr/>
          </p:nvSpPr>
          <p:spPr bwMode="auto">
            <a:xfrm>
              <a:off x="1626563" y="3884810"/>
              <a:ext cx="173098" cy="71005"/>
            </a:xfrm>
            <a:custGeom>
              <a:avLst/>
              <a:gdLst>
                <a:gd name="T0" fmla="*/ 2147483647 w 318"/>
                <a:gd name="T1" fmla="*/ 2147483647 h 114"/>
                <a:gd name="T2" fmla="*/ 2147483647 w 318"/>
                <a:gd name="T3" fmla="*/ 2147483647 h 114"/>
                <a:gd name="T4" fmla="*/ 2147483647 w 318"/>
                <a:gd name="T5" fmla="*/ 0 h 114"/>
                <a:gd name="T6" fmla="*/ 2147483647 w 318"/>
                <a:gd name="T7" fmla="*/ 0 h 114"/>
                <a:gd name="T8" fmla="*/ 2147483647 w 318"/>
                <a:gd name="T9" fmla="*/ 2147483647 h 114"/>
                <a:gd name="T10" fmla="*/ 2147483647 w 318"/>
                <a:gd name="T11" fmla="*/ 2147483647 h 114"/>
                <a:gd name="T12" fmla="*/ 2147483647 w 318"/>
                <a:gd name="T13" fmla="*/ 2147483647 h 114"/>
                <a:gd name="T14" fmla="*/ 2147483647 w 318"/>
                <a:gd name="T15" fmla="*/ 2147483647 h 114"/>
                <a:gd name="T16" fmla="*/ 2147483647 w 318"/>
                <a:gd name="T17" fmla="*/ 2147483647 h 114"/>
                <a:gd name="T18" fmla="*/ 2147483647 w 318"/>
                <a:gd name="T19" fmla="*/ 2147483647 h 114"/>
                <a:gd name="T20" fmla="*/ 2147483647 w 318"/>
                <a:gd name="T21" fmla="*/ 2147483647 h 114"/>
                <a:gd name="T22" fmla="*/ 2147483647 w 318"/>
                <a:gd name="T23" fmla="*/ 2147483647 h 114"/>
                <a:gd name="T24" fmla="*/ 2147483647 w 318"/>
                <a:gd name="T25" fmla="*/ 2147483647 h 114"/>
                <a:gd name="T26" fmla="*/ 2147483647 w 318"/>
                <a:gd name="T27" fmla="*/ 2147483647 h 114"/>
                <a:gd name="T28" fmla="*/ 2147483647 w 318"/>
                <a:gd name="T29" fmla="*/ 2147483647 h 114"/>
                <a:gd name="T30" fmla="*/ 2147483647 w 318"/>
                <a:gd name="T31" fmla="*/ 2147483647 h 114"/>
                <a:gd name="T32" fmla="*/ 2147483647 w 318"/>
                <a:gd name="T33" fmla="*/ 2147483647 h 114"/>
                <a:gd name="T34" fmla="*/ 2147483647 w 318"/>
                <a:gd name="T35" fmla="*/ 2147483647 h 114"/>
                <a:gd name="T36" fmla="*/ 2147483647 w 318"/>
                <a:gd name="T37" fmla="*/ 2147483647 h 114"/>
                <a:gd name="T38" fmla="*/ 2147483647 w 318"/>
                <a:gd name="T39" fmla="*/ 2147483647 h 114"/>
                <a:gd name="T40" fmla="*/ 2147483647 w 318"/>
                <a:gd name="T41" fmla="*/ 2147483647 h 114"/>
                <a:gd name="T42" fmla="*/ 2147483647 w 318"/>
                <a:gd name="T43" fmla="*/ 2147483647 h 114"/>
                <a:gd name="T44" fmla="*/ 2147483647 w 318"/>
                <a:gd name="T45" fmla="*/ 2147483647 h 114"/>
                <a:gd name="T46" fmla="*/ 2147483647 w 318"/>
                <a:gd name="T47" fmla="*/ 2147483647 h 114"/>
                <a:gd name="T48" fmla="*/ 2147483647 w 318"/>
                <a:gd name="T49" fmla="*/ 2147483647 h 114"/>
                <a:gd name="T50" fmla="*/ 2147483647 w 318"/>
                <a:gd name="T51" fmla="*/ 2147483647 h 114"/>
                <a:gd name="T52" fmla="*/ 2147483647 w 318"/>
                <a:gd name="T53" fmla="*/ 2147483647 h 114"/>
                <a:gd name="T54" fmla="*/ 2147483647 w 318"/>
                <a:gd name="T55" fmla="*/ 2147483647 h 114"/>
                <a:gd name="T56" fmla="*/ 2147483647 w 318"/>
                <a:gd name="T57" fmla="*/ 2147483647 h 114"/>
                <a:gd name="T58" fmla="*/ 2147483647 w 318"/>
                <a:gd name="T59" fmla="*/ 2147483647 h 114"/>
                <a:gd name="T60" fmla="*/ 2147483647 w 318"/>
                <a:gd name="T61" fmla="*/ 2147483647 h 114"/>
                <a:gd name="T62" fmla="*/ 0 w 318"/>
                <a:gd name="T63" fmla="*/ 2147483647 h 114"/>
                <a:gd name="T64" fmla="*/ 2147483647 w 318"/>
                <a:gd name="T65" fmla="*/ 2147483647 h 11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18"/>
                <a:gd name="T100" fmla="*/ 0 h 114"/>
                <a:gd name="T101" fmla="*/ 318 w 318"/>
                <a:gd name="T102" fmla="*/ 114 h 11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18" h="114">
                  <a:moveTo>
                    <a:pt x="23" y="34"/>
                  </a:moveTo>
                  <a:lnTo>
                    <a:pt x="25" y="19"/>
                  </a:lnTo>
                  <a:lnTo>
                    <a:pt x="82" y="0"/>
                  </a:lnTo>
                  <a:lnTo>
                    <a:pt x="133" y="0"/>
                  </a:lnTo>
                  <a:lnTo>
                    <a:pt x="164" y="21"/>
                  </a:lnTo>
                  <a:lnTo>
                    <a:pt x="175" y="17"/>
                  </a:lnTo>
                  <a:lnTo>
                    <a:pt x="194" y="26"/>
                  </a:lnTo>
                  <a:lnTo>
                    <a:pt x="194" y="15"/>
                  </a:lnTo>
                  <a:lnTo>
                    <a:pt x="204" y="17"/>
                  </a:lnTo>
                  <a:lnTo>
                    <a:pt x="213" y="34"/>
                  </a:lnTo>
                  <a:lnTo>
                    <a:pt x="253" y="68"/>
                  </a:lnTo>
                  <a:lnTo>
                    <a:pt x="272" y="61"/>
                  </a:lnTo>
                  <a:lnTo>
                    <a:pt x="270" y="81"/>
                  </a:lnTo>
                  <a:lnTo>
                    <a:pt x="316" y="89"/>
                  </a:lnTo>
                  <a:lnTo>
                    <a:pt x="318" y="100"/>
                  </a:lnTo>
                  <a:lnTo>
                    <a:pt x="291" y="110"/>
                  </a:lnTo>
                  <a:lnTo>
                    <a:pt x="200" y="114"/>
                  </a:lnTo>
                  <a:lnTo>
                    <a:pt x="224" y="93"/>
                  </a:lnTo>
                  <a:lnTo>
                    <a:pt x="221" y="80"/>
                  </a:lnTo>
                  <a:lnTo>
                    <a:pt x="204" y="81"/>
                  </a:lnTo>
                  <a:lnTo>
                    <a:pt x="190" y="80"/>
                  </a:lnTo>
                  <a:lnTo>
                    <a:pt x="179" y="51"/>
                  </a:lnTo>
                  <a:lnTo>
                    <a:pt x="160" y="51"/>
                  </a:lnTo>
                  <a:lnTo>
                    <a:pt x="109" y="34"/>
                  </a:lnTo>
                  <a:lnTo>
                    <a:pt x="88" y="32"/>
                  </a:lnTo>
                  <a:lnTo>
                    <a:pt x="93" y="23"/>
                  </a:lnTo>
                  <a:lnTo>
                    <a:pt x="74" y="23"/>
                  </a:lnTo>
                  <a:lnTo>
                    <a:pt x="65" y="32"/>
                  </a:lnTo>
                  <a:lnTo>
                    <a:pt x="40" y="34"/>
                  </a:lnTo>
                  <a:lnTo>
                    <a:pt x="36" y="42"/>
                  </a:lnTo>
                  <a:lnTo>
                    <a:pt x="10" y="51"/>
                  </a:lnTo>
                  <a:lnTo>
                    <a:pt x="0" y="38"/>
                  </a:lnTo>
                  <a:lnTo>
                    <a:pt x="23" y="3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3" name="Freeform 279"/>
            <p:cNvSpPr>
              <a:spLocks/>
            </p:cNvSpPr>
            <p:nvPr/>
          </p:nvSpPr>
          <p:spPr bwMode="auto">
            <a:xfrm>
              <a:off x="1655229" y="3912746"/>
              <a:ext cx="14333" cy="11640"/>
            </a:xfrm>
            <a:custGeom>
              <a:avLst/>
              <a:gdLst>
                <a:gd name="T0" fmla="*/ 2147483647 w 26"/>
                <a:gd name="T1" fmla="*/ 0 h 21"/>
                <a:gd name="T2" fmla="*/ 2147483647 w 26"/>
                <a:gd name="T3" fmla="*/ 0 h 21"/>
                <a:gd name="T4" fmla="*/ 2147483647 w 26"/>
                <a:gd name="T5" fmla="*/ 2147483647 h 21"/>
                <a:gd name="T6" fmla="*/ 2147483647 w 26"/>
                <a:gd name="T7" fmla="*/ 2147483647 h 21"/>
                <a:gd name="T8" fmla="*/ 0 w 26"/>
                <a:gd name="T9" fmla="*/ 2147483647 h 21"/>
                <a:gd name="T10" fmla="*/ 2147483647 w 26"/>
                <a:gd name="T11" fmla="*/ 2147483647 h 21"/>
                <a:gd name="T12" fmla="*/ 2147483647 w 26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21"/>
                <a:gd name="T23" fmla="*/ 26 w 26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21">
                  <a:moveTo>
                    <a:pt x="11" y="0"/>
                  </a:moveTo>
                  <a:lnTo>
                    <a:pt x="24" y="0"/>
                  </a:lnTo>
                  <a:lnTo>
                    <a:pt x="26" y="10"/>
                  </a:lnTo>
                  <a:lnTo>
                    <a:pt x="11" y="21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4" name="Freeform 280"/>
            <p:cNvSpPr>
              <a:spLocks/>
            </p:cNvSpPr>
            <p:nvPr/>
          </p:nvSpPr>
          <p:spPr bwMode="auto">
            <a:xfrm>
              <a:off x="1130422" y="3696237"/>
              <a:ext cx="471885" cy="358520"/>
            </a:xfrm>
            <a:custGeom>
              <a:avLst/>
              <a:gdLst>
                <a:gd name="T0" fmla="*/ 2147483647 w 867"/>
                <a:gd name="T1" fmla="*/ 2147483647 h 573"/>
                <a:gd name="T2" fmla="*/ 2147483647 w 867"/>
                <a:gd name="T3" fmla="*/ 2147483647 h 573"/>
                <a:gd name="T4" fmla="*/ 2147483647 w 867"/>
                <a:gd name="T5" fmla="*/ 2147483647 h 573"/>
                <a:gd name="T6" fmla="*/ 2147483647 w 867"/>
                <a:gd name="T7" fmla="*/ 2147483647 h 573"/>
                <a:gd name="T8" fmla="*/ 2147483647 w 867"/>
                <a:gd name="T9" fmla="*/ 2147483647 h 573"/>
                <a:gd name="T10" fmla="*/ 2147483647 w 867"/>
                <a:gd name="T11" fmla="*/ 2147483647 h 573"/>
                <a:gd name="T12" fmla="*/ 2147483647 w 867"/>
                <a:gd name="T13" fmla="*/ 2147483647 h 573"/>
                <a:gd name="T14" fmla="*/ 2147483647 w 867"/>
                <a:gd name="T15" fmla="*/ 2147483647 h 573"/>
                <a:gd name="T16" fmla="*/ 2147483647 w 867"/>
                <a:gd name="T17" fmla="*/ 2147483647 h 573"/>
                <a:gd name="T18" fmla="*/ 2147483647 w 867"/>
                <a:gd name="T19" fmla="*/ 2147483647 h 573"/>
                <a:gd name="T20" fmla="*/ 2147483647 w 867"/>
                <a:gd name="T21" fmla="*/ 2147483647 h 573"/>
                <a:gd name="T22" fmla="*/ 2147483647 w 867"/>
                <a:gd name="T23" fmla="*/ 2147483647 h 573"/>
                <a:gd name="T24" fmla="*/ 2147483647 w 867"/>
                <a:gd name="T25" fmla="*/ 2147483647 h 573"/>
                <a:gd name="T26" fmla="*/ 2147483647 w 867"/>
                <a:gd name="T27" fmla="*/ 2147483647 h 573"/>
                <a:gd name="T28" fmla="*/ 2147483647 w 867"/>
                <a:gd name="T29" fmla="*/ 2147483647 h 573"/>
                <a:gd name="T30" fmla="*/ 2147483647 w 867"/>
                <a:gd name="T31" fmla="*/ 2147483647 h 573"/>
                <a:gd name="T32" fmla="*/ 2147483647 w 867"/>
                <a:gd name="T33" fmla="*/ 2147483647 h 573"/>
                <a:gd name="T34" fmla="*/ 2147483647 w 867"/>
                <a:gd name="T35" fmla="*/ 2147483647 h 573"/>
                <a:gd name="T36" fmla="*/ 2147483647 w 867"/>
                <a:gd name="T37" fmla="*/ 2147483647 h 573"/>
                <a:gd name="T38" fmla="*/ 2147483647 w 867"/>
                <a:gd name="T39" fmla="*/ 2147483647 h 573"/>
                <a:gd name="T40" fmla="*/ 2147483647 w 867"/>
                <a:gd name="T41" fmla="*/ 2147483647 h 573"/>
                <a:gd name="T42" fmla="*/ 2147483647 w 867"/>
                <a:gd name="T43" fmla="*/ 2147483647 h 573"/>
                <a:gd name="T44" fmla="*/ 2147483647 w 867"/>
                <a:gd name="T45" fmla="*/ 2147483647 h 573"/>
                <a:gd name="T46" fmla="*/ 2147483647 w 867"/>
                <a:gd name="T47" fmla="*/ 2147483647 h 573"/>
                <a:gd name="T48" fmla="*/ 2147483647 w 867"/>
                <a:gd name="T49" fmla="*/ 2147483647 h 573"/>
                <a:gd name="T50" fmla="*/ 2147483647 w 867"/>
                <a:gd name="T51" fmla="*/ 2147483647 h 573"/>
                <a:gd name="T52" fmla="*/ 2147483647 w 867"/>
                <a:gd name="T53" fmla="*/ 2147483647 h 573"/>
                <a:gd name="T54" fmla="*/ 2147483647 w 867"/>
                <a:gd name="T55" fmla="*/ 2147483647 h 573"/>
                <a:gd name="T56" fmla="*/ 2147483647 w 867"/>
                <a:gd name="T57" fmla="*/ 2147483647 h 573"/>
                <a:gd name="T58" fmla="*/ 2147483647 w 867"/>
                <a:gd name="T59" fmla="*/ 2147483647 h 573"/>
                <a:gd name="T60" fmla="*/ 2147483647 w 867"/>
                <a:gd name="T61" fmla="*/ 2147483647 h 573"/>
                <a:gd name="T62" fmla="*/ 2147483647 w 867"/>
                <a:gd name="T63" fmla="*/ 2147483647 h 573"/>
                <a:gd name="T64" fmla="*/ 2147483647 w 867"/>
                <a:gd name="T65" fmla="*/ 2147483647 h 573"/>
                <a:gd name="T66" fmla="*/ 2147483647 w 867"/>
                <a:gd name="T67" fmla="*/ 2147483647 h 573"/>
                <a:gd name="T68" fmla="*/ 2147483647 w 867"/>
                <a:gd name="T69" fmla="*/ 2147483647 h 573"/>
                <a:gd name="T70" fmla="*/ 2147483647 w 867"/>
                <a:gd name="T71" fmla="*/ 2147483647 h 573"/>
                <a:gd name="T72" fmla="*/ 2147483647 w 867"/>
                <a:gd name="T73" fmla="*/ 2147483647 h 573"/>
                <a:gd name="T74" fmla="*/ 2147483647 w 867"/>
                <a:gd name="T75" fmla="*/ 2147483647 h 573"/>
                <a:gd name="T76" fmla="*/ 2147483647 w 867"/>
                <a:gd name="T77" fmla="*/ 2147483647 h 573"/>
                <a:gd name="T78" fmla="*/ 2147483647 w 867"/>
                <a:gd name="T79" fmla="*/ 2147483647 h 573"/>
                <a:gd name="T80" fmla="*/ 2147483647 w 867"/>
                <a:gd name="T81" fmla="*/ 2147483647 h 573"/>
                <a:gd name="T82" fmla="*/ 2147483647 w 867"/>
                <a:gd name="T83" fmla="*/ 2147483647 h 573"/>
                <a:gd name="T84" fmla="*/ 2147483647 w 867"/>
                <a:gd name="T85" fmla="*/ 2147483647 h 573"/>
                <a:gd name="T86" fmla="*/ 2147483647 w 867"/>
                <a:gd name="T87" fmla="*/ 2147483647 h 573"/>
                <a:gd name="T88" fmla="*/ 2147483647 w 867"/>
                <a:gd name="T89" fmla="*/ 2147483647 h 573"/>
                <a:gd name="T90" fmla="*/ 2147483647 w 867"/>
                <a:gd name="T91" fmla="*/ 2147483647 h 5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67"/>
                <a:gd name="T139" fmla="*/ 0 h 573"/>
                <a:gd name="T140" fmla="*/ 867 w 867"/>
                <a:gd name="T141" fmla="*/ 573 h 5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67" h="573">
                  <a:moveTo>
                    <a:pt x="813" y="454"/>
                  </a:moveTo>
                  <a:lnTo>
                    <a:pt x="792" y="469"/>
                  </a:lnTo>
                  <a:lnTo>
                    <a:pt x="785" y="475"/>
                  </a:lnTo>
                  <a:lnTo>
                    <a:pt x="772" y="467"/>
                  </a:lnTo>
                  <a:lnTo>
                    <a:pt x="735" y="467"/>
                  </a:lnTo>
                  <a:lnTo>
                    <a:pt x="728" y="488"/>
                  </a:lnTo>
                  <a:lnTo>
                    <a:pt x="758" y="518"/>
                  </a:lnTo>
                  <a:lnTo>
                    <a:pt x="756" y="532"/>
                  </a:lnTo>
                  <a:lnTo>
                    <a:pt x="715" y="528"/>
                  </a:lnTo>
                  <a:lnTo>
                    <a:pt x="703" y="573"/>
                  </a:lnTo>
                  <a:lnTo>
                    <a:pt x="673" y="543"/>
                  </a:lnTo>
                  <a:lnTo>
                    <a:pt x="648" y="528"/>
                  </a:lnTo>
                  <a:lnTo>
                    <a:pt x="625" y="526"/>
                  </a:lnTo>
                  <a:lnTo>
                    <a:pt x="604" y="541"/>
                  </a:lnTo>
                  <a:lnTo>
                    <a:pt x="583" y="545"/>
                  </a:lnTo>
                  <a:lnTo>
                    <a:pt x="505" y="511"/>
                  </a:lnTo>
                  <a:lnTo>
                    <a:pt x="467" y="499"/>
                  </a:lnTo>
                  <a:lnTo>
                    <a:pt x="447" y="471"/>
                  </a:lnTo>
                  <a:lnTo>
                    <a:pt x="397" y="463"/>
                  </a:lnTo>
                  <a:lnTo>
                    <a:pt x="340" y="412"/>
                  </a:lnTo>
                  <a:lnTo>
                    <a:pt x="333" y="395"/>
                  </a:lnTo>
                  <a:lnTo>
                    <a:pt x="344" y="391"/>
                  </a:lnTo>
                  <a:lnTo>
                    <a:pt x="340" y="382"/>
                  </a:lnTo>
                  <a:lnTo>
                    <a:pt x="344" y="366"/>
                  </a:lnTo>
                  <a:lnTo>
                    <a:pt x="331" y="323"/>
                  </a:lnTo>
                  <a:lnTo>
                    <a:pt x="298" y="302"/>
                  </a:lnTo>
                  <a:lnTo>
                    <a:pt x="302" y="290"/>
                  </a:lnTo>
                  <a:lnTo>
                    <a:pt x="257" y="237"/>
                  </a:lnTo>
                  <a:lnTo>
                    <a:pt x="234" y="241"/>
                  </a:lnTo>
                  <a:lnTo>
                    <a:pt x="224" y="230"/>
                  </a:lnTo>
                  <a:lnTo>
                    <a:pt x="234" y="203"/>
                  </a:lnTo>
                  <a:lnTo>
                    <a:pt x="228" y="192"/>
                  </a:lnTo>
                  <a:lnTo>
                    <a:pt x="219" y="197"/>
                  </a:lnTo>
                  <a:lnTo>
                    <a:pt x="205" y="178"/>
                  </a:lnTo>
                  <a:lnTo>
                    <a:pt x="188" y="180"/>
                  </a:lnTo>
                  <a:lnTo>
                    <a:pt x="184" y="157"/>
                  </a:lnTo>
                  <a:lnTo>
                    <a:pt x="177" y="163"/>
                  </a:lnTo>
                  <a:lnTo>
                    <a:pt x="154" y="133"/>
                  </a:lnTo>
                  <a:lnTo>
                    <a:pt x="141" y="112"/>
                  </a:lnTo>
                  <a:lnTo>
                    <a:pt x="144" y="125"/>
                  </a:lnTo>
                  <a:lnTo>
                    <a:pt x="143" y="135"/>
                  </a:lnTo>
                  <a:lnTo>
                    <a:pt x="133" y="131"/>
                  </a:lnTo>
                  <a:lnTo>
                    <a:pt x="133" y="119"/>
                  </a:lnTo>
                  <a:lnTo>
                    <a:pt x="139" y="112"/>
                  </a:lnTo>
                  <a:lnTo>
                    <a:pt x="112" y="59"/>
                  </a:lnTo>
                  <a:lnTo>
                    <a:pt x="116" y="45"/>
                  </a:lnTo>
                  <a:lnTo>
                    <a:pt x="70" y="34"/>
                  </a:lnTo>
                  <a:lnTo>
                    <a:pt x="74" y="89"/>
                  </a:lnTo>
                  <a:lnTo>
                    <a:pt x="91" y="100"/>
                  </a:lnTo>
                  <a:lnTo>
                    <a:pt x="105" y="119"/>
                  </a:lnTo>
                  <a:lnTo>
                    <a:pt x="106" y="104"/>
                  </a:lnTo>
                  <a:lnTo>
                    <a:pt x="120" y="116"/>
                  </a:lnTo>
                  <a:lnTo>
                    <a:pt x="118" y="125"/>
                  </a:lnTo>
                  <a:lnTo>
                    <a:pt x="152" y="199"/>
                  </a:lnTo>
                  <a:lnTo>
                    <a:pt x="158" y="184"/>
                  </a:lnTo>
                  <a:lnTo>
                    <a:pt x="173" y="214"/>
                  </a:lnTo>
                  <a:lnTo>
                    <a:pt x="181" y="211"/>
                  </a:lnTo>
                  <a:lnTo>
                    <a:pt x="181" y="220"/>
                  </a:lnTo>
                  <a:lnTo>
                    <a:pt x="175" y="222"/>
                  </a:lnTo>
                  <a:lnTo>
                    <a:pt x="184" y="237"/>
                  </a:lnTo>
                  <a:lnTo>
                    <a:pt x="194" y="273"/>
                  </a:lnTo>
                  <a:lnTo>
                    <a:pt x="201" y="264"/>
                  </a:lnTo>
                  <a:lnTo>
                    <a:pt x="211" y="275"/>
                  </a:lnTo>
                  <a:lnTo>
                    <a:pt x="213" y="264"/>
                  </a:lnTo>
                  <a:lnTo>
                    <a:pt x="217" y="269"/>
                  </a:lnTo>
                  <a:lnTo>
                    <a:pt x="215" y="277"/>
                  </a:lnTo>
                  <a:lnTo>
                    <a:pt x="224" y="294"/>
                  </a:lnTo>
                  <a:lnTo>
                    <a:pt x="211" y="319"/>
                  </a:lnTo>
                  <a:lnTo>
                    <a:pt x="169" y="273"/>
                  </a:lnTo>
                  <a:lnTo>
                    <a:pt x="162" y="256"/>
                  </a:lnTo>
                  <a:lnTo>
                    <a:pt x="152" y="254"/>
                  </a:lnTo>
                  <a:lnTo>
                    <a:pt x="148" y="262"/>
                  </a:lnTo>
                  <a:lnTo>
                    <a:pt x="156" y="269"/>
                  </a:lnTo>
                  <a:lnTo>
                    <a:pt x="158" y="277"/>
                  </a:lnTo>
                  <a:lnTo>
                    <a:pt x="137" y="260"/>
                  </a:lnTo>
                  <a:lnTo>
                    <a:pt x="143" y="214"/>
                  </a:lnTo>
                  <a:lnTo>
                    <a:pt x="110" y="186"/>
                  </a:lnTo>
                  <a:lnTo>
                    <a:pt x="103" y="192"/>
                  </a:lnTo>
                  <a:lnTo>
                    <a:pt x="80" y="182"/>
                  </a:lnTo>
                  <a:lnTo>
                    <a:pt x="59" y="157"/>
                  </a:lnTo>
                  <a:lnTo>
                    <a:pt x="76" y="154"/>
                  </a:lnTo>
                  <a:lnTo>
                    <a:pt x="93" y="161"/>
                  </a:lnTo>
                  <a:lnTo>
                    <a:pt x="87" y="154"/>
                  </a:lnTo>
                  <a:lnTo>
                    <a:pt x="89" y="133"/>
                  </a:lnTo>
                  <a:lnTo>
                    <a:pt x="70" y="106"/>
                  </a:lnTo>
                  <a:lnTo>
                    <a:pt x="42" y="95"/>
                  </a:lnTo>
                  <a:lnTo>
                    <a:pt x="36" y="72"/>
                  </a:lnTo>
                  <a:lnTo>
                    <a:pt x="11" y="21"/>
                  </a:lnTo>
                  <a:lnTo>
                    <a:pt x="0" y="21"/>
                  </a:lnTo>
                  <a:lnTo>
                    <a:pt x="2" y="5"/>
                  </a:lnTo>
                  <a:lnTo>
                    <a:pt x="68" y="0"/>
                  </a:lnTo>
                  <a:lnTo>
                    <a:pt x="173" y="51"/>
                  </a:lnTo>
                  <a:lnTo>
                    <a:pt x="262" y="55"/>
                  </a:lnTo>
                  <a:lnTo>
                    <a:pt x="258" y="38"/>
                  </a:lnTo>
                  <a:lnTo>
                    <a:pt x="306" y="38"/>
                  </a:lnTo>
                  <a:lnTo>
                    <a:pt x="348" y="64"/>
                  </a:lnTo>
                  <a:lnTo>
                    <a:pt x="359" y="108"/>
                  </a:lnTo>
                  <a:lnTo>
                    <a:pt x="397" y="129"/>
                  </a:lnTo>
                  <a:lnTo>
                    <a:pt x="422" y="99"/>
                  </a:lnTo>
                  <a:lnTo>
                    <a:pt x="452" y="112"/>
                  </a:lnTo>
                  <a:lnTo>
                    <a:pt x="502" y="171"/>
                  </a:lnTo>
                  <a:lnTo>
                    <a:pt x="517" y="203"/>
                  </a:lnTo>
                  <a:lnTo>
                    <a:pt x="566" y="218"/>
                  </a:lnTo>
                  <a:lnTo>
                    <a:pt x="574" y="220"/>
                  </a:lnTo>
                  <a:lnTo>
                    <a:pt x="561" y="243"/>
                  </a:lnTo>
                  <a:lnTo>
                    <a:pt x="557" y="260"/>
                  </a:lnTo>
                  <a:lnTo>
                    <a:pt x="551" y="262"/>
                  </a:lnTo>
                  <a:lnTo>
                    <a:pt x="549" y="273"/>
                  </a:lnTo>
                  <a:lnTo>
                    <a:pt x="557" y="271"/>
                  </a:lnTo>
                  <a:lnTo>
                    <a:pt x="559" y="287"/>
                  </a:lnTo>
                  <a:lnTo>
                    <a:pt x="549" y="306"/>
                  </a:lnTo>
                  <a:lnTo>
                    <a:pt x="551" y="342"/>
                  </a:lnTo>
                  <a:lnTo>
                    <a:pt x="563" y="351"/>
                  </a:lnTo>
                  <a:lnTo>
                    <a:pt x="563" y="368"/>
                  </a:lnTo>
                  <a:lnTo>
                    <a:pt x="570" y="391"/>
                  </a:lnTo>
                  <a:lnTo>
                    <a:pt x="593" y="404"/>
                  </a:lnTo>
                  <a:lnTo>
                    <a:pt x="602" y="435"/>
                  </a:lnTo>
                  <a:lnTo>
                    <a:pt x="637" y="448"/>
                  </a:lnTo>
                  <a:lnTo>
                    <a:pt x="642" y="459"/>
                  </a:lnTo>
                  <a:lnTo>
                    <a:pt x="669" y="450"/>
                  </a:lnTo>
                  <a:lnTo>
                    <a:pt x="718" y="435"/>
                  </a:lnTo>
                  <a:lnTo>
                    <a:pt x="722" y="446"/>
                  </a:lnTo>
                  <a:lnTo>
                    <a:pt x="745" y="446"/>
                  </a:lnTo>
                  <a:lnTo>
                    <a:pt x="737" y="437"/>
                  </a:lnTo>
                  <a:lnTo>
                    <a:pt x="758" y="416"/>
                  </a:lnTo>
                  <a:lnTo>
                    <a:pt x="764" y="380"/>
                  </a:lnTo>
                  <a:lnTo>
                    <a:pt x="756" y="376"/>
                  </a:lnTo>
                  <a:lnTo>
                    <a:pt x="781" y="359"/>
                  </a:lnTo>
                  <a:lnTo>
                    <a:pt x="819" y="351"/>
                  </a:lnTo>
                  <a:lnTo>
                    <a:pt x="857" y="355"/>
                  </a:lnTo>
                  <a:lnTo>
                    <a:pt x="863" y="366"/>
                  </a:lnTo>
                  <a:lnTo>
                    <a:pt x="861" y="387"/>
                  </a:lnTo>
                  <a:lnTo>
                    <a:pt x="867" y="391"/>
                  </a:lnTo>
                  <a:lnTo>
                    <a:pt x="857" y="404"/>
                  </a:lnTo>
                  <a:lnTo>
                    <a:pt x="851" y="395"/>
                  </a:lnTo>
                  <a:lnTo>
                    <a:pt x="836" y="414"/>
                  </a:lnTo>
                  <a:lnTo>
                    <a:pt x="846" y="421"/>
                  </a:lnTo>
                  <a:lnTo>
                    <a:pt x="830" y="457"/>
                  </a:lnTo>
                  <a:lnTo>
                    <a:pt x="821" y="442"/>
                  </a:lnTo>
                  <a:lnTo>
                    <a:pt x="813" y="45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5" name="Freeform 281"/>
            <p:cNvSpPr>
              <a:spLocks/>
            </p:cNvSpPr>
            <p:nvPr/>
          </p:nvSpPr>
          <p:spPr bwMode="auto">
            <a:xfrm>
              <a:off x="1584667" y="4044282"/>
              <a:ext cx="72767" cy="77989"/>
            </a:xfrm>
            <a:custGeom>
              <a:avLst/>
              <a:gdLst>
                <a:gd name="T0" fmla="*/ 2147483647 w 131"/>
                <a:gd name="T1" fmla="*/ 2147483647 h 124"/>
                <a:gd name="T2" fmla="*/ 2147483647 w 131"/>
                <a:gd name="T3" fmla="*/ 2147483647 h 124"/>
                <a:gd name="T4" fmla="*/ 2147483647 w 131"/>
                <a:gd name="T5" fmla="*/ 2147483647 h 124"/>
                <a:gd name="T6" fmla="*/ 2147483647 w 131"/>
                <a:gd name="T7" fmla="*/ 2147483647 h 124"/>
                <a:gd name="T8" fmla="*/ 0 w 131"/>
                <a:gd name="T9" fmla="*/ 2147483647 h 124"/>
                <a:gd name="T10" fmla="*/ 2147483647 w 131"/>
                <a:gd name="T11" fmla="*/ 2147483647 h 124"/>
                <a:gd name="T12" fmla="*/ 2147483647 w 131"/>
                <a:gd name="T13" fmla="*/ 2147483647 h 124"/>
                <a:gd name="T14" fmla="*/ 2147483647 w 131"/>
                <a:gd name="T15" fmla="*/ 2147483647 h 124"/>
                <a:gd name="T16" fmla="*/ 2147483647 w 131"/>
                <a:gd name="T17" fmla="*/ 2147483647 h 124"/>
                <a:gd name="T18" fmla="*/ 2147483647 w 131"/>
                <a:gd name="T19" fmla="*/ 2147483647 h 124"/>
                <a:gd name="T20" fmla="*/ 2147483647 w 131"/>
                <a:gd name="T21" fmla="*/ 2147483647 h 124"/>
                <a:gd name="T22" fmla="*/ 2147483647 w 131"/>
                <a:gd name="T23" fmla="*/ 2147483647 h 124"/>
                <a:gd name="T24" fmla="*/ 2147483647 w 131"/>
                <a:gd name="T25" fmla="*/ 0 h 124"/>
                <a:gd name="T26" fmla="*/ 2147483647 w 131"/>
                <a:gd name="T27" fmla="*/ 2147483647 h 124"/>
                <a:gd name="T28" fmla="*/ 2147483647 w 131"/>
                <a:gd name="T29" fmla="*/ 2147483647 h 124"/>
                <a:gd name="T30" fmla="*/ 2147483647 w 131"/>
                <a:gd name="T31" fmla="*/ 2147483647 h 124"/>
                <a:gd name="T32" fmla="*/ 2147483647 w 131"/>
                <a:gd name="T33" fmla="*/ 2147483647 h 124"/>
                <a:gd name="T34" fmla="*/ 2147483647 w 131"/>
                <a:gd name="T35" fmla="*/ 2147483647 h 124"/>
                <a:gd name="T36" fmla="*/ 2147483647 w 131"/>
                <a:gd name="T37" fmla="*/ 2147483647 h 124"/>
                <a:gd name="T38" fmla="*/ 2147483647 w 131"/>
                <a:gd name="T39" fmla="*/ 2147483647 h 124"/>
                <a:gd name="T40" fmla="*/ 2147483647 w 131"/>
                <a:gd name="T41" fmla="*/ 2147483647 h 1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31"/>
                <a:gd name="T64" fmla="*/ 0 h 124"/>
                <a:gd name="T65" fmla="*/ 131 w 131"/>
                <a:gd name="T66" fmla="*/ 124 h 1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31" h="124">
                  <a:moveTo>
                    <a:pt x="118" y="116"/>
                  </a:moveTo>
                  <a:lnTo>
                    <a:pt x="112" y="124"/>
                  </a:lnTo>
                  <a:lnTo>
                    <a:pt x="90" y="114"/>
                  </a:lnTo>
                  <a:lnTo>
                    <a:pt x="59" y="114"/>
                  </a:lnTo>
                  <a:lnTo>
                    <a:pt x="0" y="65"/>
                  </a:lnTo>
                  <a:lnTo>
                    <a:pt x="14" y="57"/>
                  </a:lnTo>
                  <a:lnTo>
                    <a:pt x="27" y="50"/>
                  </a:lnTo>
                  <a:lnTo>
                    <a:pt x="27" y="40"/>
                  </a:lnTo>
                  <a:lnTo>
                    <a:pt x="50" y="31"/>
                  </a:lnTo>
                  <a:lnTo>
                    <a:pt x="67" y="32"/>
                  </a:lnTo>
                  <a:lnTo>
                    <a:pt x="90" y="13"/>
                  </a:lnTo>
                  <a:lnTo>
                    <a:pt x="97" y="19"/>
                  </a:lnTo>
                  <a:lnTo>
                    <a:pt x="128" y="0"/>
                  </a:lnTo>
                  <a:lnTo>
                    <a:pt x="126" y="4"/>
                  </a:lnTo>
                  <a:lnTo>
                    <a:pt x="131" y="19"/>
                  </a:lnTo>
                  <a:lnTo>
                    <a:pt x="122" y="50"/>
                  </a:lnTo>
                  <a:lnTo>
                    <a:pt x="124" y="72"/>
                  </a:lnTo>
                  <a:lnTo>
                    <a:pt x="120" y="78"/>
                  </a:lnTo>
                  <a:lnTo>
                    <a:pt x="120" y="101"/>
                  </a:lnTo>
                  <a:lnTo>
                    <a:pt x="114" y="107"/>
                  </a:lnTo>
                  <a:lnTo>
                    <a:pt x="118" y="11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6" name="Freeform 282"/>
            <p:cNvSpPr>
              <a:spLocks/>
            </p:cNvSpPr>
            <p:nvPr/>
          </p:nvSpPr>
          <p:spPr bwMode="auto">
            <a:xfrm>
              <a:off x="1660741" y="4144388"/>
              <a:ext cx="82691" cy="45397"/>
            </a:xfrm>
            <a:custGeom>
              <a:avLst/>
              <a:gdLst>
                <a:gd name="T0" fmla="*/ 0 w 152"/>
                <a:gd name="T1" fmla="*/ 2147483647 h 74"/>
                <a:gd name="T2" fmla="*/ 0 w 152"/>
                <a:gd name="T3" fmla="*/ 2147483647 h 74"/>
                <a:gd name="T4" fmla="*/ 2147483647 w 152"/>
                <a:gd name="T5" fmla="*/ 2147483647 h 74"/>
                <a:gd name="T6" fmla="*/ 2147483647 w 152"/>
                <a:gd name="T7" fmla="*/ 2147483647 h 74"/>
                <a:gd name="T8" fmla="*/ 2147483647 w 152"/>
                <a:gd name="T9" fmla="*/ 2147483647 h 74"/>
                <a:gd name="T10" fmla="*/ 2147483647 w 152"/>
                <a:gd name="T11" fmla="*/ 2147483647 h 74"/>
                <a:gd name="T12" fmla="*/ 2147483647 w 152"/>
                <a:gd name="T13" fmla="*/ 0 h 74"/>
                <a:gd name="T14" fmla="*/ 2147483647 w 152"/>
                <a:gd name="T15" fmla="*/ 0 h 74"/>
                <a:gd name="T16" fmla="*/ 2147483647 w 152"/>
                <a:gd name="T17" fmla="*/ 2147483647 h 74"/>
                <a:gd name="T18" fmla="*/ 2147483647 w 152"/>
                <a:gd name="T19" fmla="*/ 2147483647 h 74"/>
                <a:gd name="T20" fmla="*/ 2147483647 w 152"/>
                <a:gd name="T21" fmla="*/ 2147483647 h 74"/>
                <a:gd name="T22" fmla="*/ 2147483647 w 152"/>
                <a:gd name="T23" fmla="*/ 2147483647 h 74"/>
                <a:gd name="T24" fmla="*/ 2147483647 w 152"/>
                <a:gd name="T25" fmla="*/ 2147483647 h 74"/>
                <a:gd name="T26" fmla="*/ 2147483647 w 152"/>
                <a:gd name="T27" fmla="*/ 2147483647 h 74"/>
                <a:gd name="T28" fmla="*/ 2147483647 w 152"/>
                <a:gd name="T29" fmla="*/ 2147483647 h 74"/>
                <a:gd name="T30" fmla="*/ 2147483647 w 152"/>
                <a:gd name="T31" fmla="*/ 2147483647 h 74"/>
                <a:gd name="T32" fmla="*/ 2147483647 w 152"/>
                <a:gd name="T33" fmla="*/ 2147483647 h 74"/>
                <a:gd name="T34" fmla="*/ 2147483647 w 152"/>
                <a:gd name="T35" fmla="*/ 2147483647 h 74"/>
                <a:gd name="T36" fmla="*/ 2147483647 w 152"/>
                <a:gd name="T37" fmla="*/ 2147483647 h 74"/>
                <a:gd name="T38" fmla="*/ 2147483647 w 152"/>
                <a:gd name="T39" fmla="*/ 2147483647 h 74"/>
                <a:gd name="T40" fmla="*/ 2147483647 w 152"/>
                <a:gd name="T41" fmla="*/ 2147483647 h 74"/>
                <a:gd name="T42" fmla="*/ 2147483647 w 152"/>
                <a:gd name="T43" fmla="*/ 2147483647 h 74"/>
                <a:gd name="T44" fmla="*/ 2147483647 w 152"/>
                <a:gd name="T45" fmla="*/ 2147483647 h 74"/>
                <a:gd name="T46" fmla="*/ 2147483647 w 152"/>
                <a:gd name="T47" fmla="*/ 2147483647 h 74"/>
                <a:gd name="T48" fmla="*/ 2147483647 w 152"/>
                <a:gd name="T49" fmla="*/ 2147483647 h 74"/>
                <a:gd name="T50" fmla="*/ 0 w 152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2"/>
                <a:gd name="T79" fmla="*/ 0 h 74"/>
                <a:gd name="T80" fmla="*/ 152 w 152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2" h="74">
                  <a:moveTo>
                    <a:pt x="0" y="34"/>
                  </a:moveTo>
                  <a:lnTo>
                    <a:pt x="0" y="7"/>
                  </a:lnTo>
                  <a:lnTo>
                    <a:pt x="13" y="2"/>
                  </a:lnTo>
                  <a:lnTo>
                    <a:pt x="27" y="11"/>
                  </a:lnTo>
                  <a:lnTo>
                    <a:pt x="34" y="7"/>
                  </a:lnTo>
                  <a:lnTo>
                    <a:pt x="53" y="21"/>
                  </a:lnTo>
                  <a:lnTo>
                    <a:pt x="91" y="0"/>
                  </a:lnTo>
                  <a:lnTo>
                    <a:pt x="112" y="0"/>
                  </a:lnTo>
                  <a:lnTo>
                    <a:pt x="135" y="5"/>
                  </a:lnTo>
                  <a:lnTo>
                    <a:pt x="152" y="24"/>
                  </a:lnTo>
                  <a:lnTo>
                    <a:pt x="152" y="53"/>
                  </a:lnTo>
                  <a:lnTo>
                    <a:pt x="141" y="55"/>
                  </a:lnTo>
                  <a:lnTo>
                    <a:pt x="137" y="62"/>
                  </a:lnTo>
                  <a:lnTo>
                    <a:pt x="125" y="53"/>
                  </a:lnTo>
                  <a:lnTo>
                    <a:pt x="135" y="36"/>
                  </a:lnTo>
                  <a:lnTo>
                    <a:pt x="110" y="21"/>
                  </a:lnTo>
                  <a:lnTo>
                    <a:pt x="93" y="17"/>
                  </a:lnTo>
                  <a:lnTo>
                    <a:pt x="87" y="30"/>
                  </a:lnTo>
                  <a:lnTo>
                    <a:pt x="72" y="40"/>
                  </a:lnTo>
                  <a:lnTo>
                    <a:pt x="80" y="57"/>
                  </a:lnTo>
                  <a:lnTo>
                    <a:pt x="63" y="74"/>
                  </a:lnTo>
                  <a:lnTo>
                    <a:pt x="48" y="62"/>
                  </a:lnTo>
                  <a:lnTo>
                    <a:pt x="34" y="45"/>
                  </a:lnTo>
                  <a:lnTo>
                    <a:pt x="11" y="36"/>
                  </a:lnTo>
                  <a:lnTo>
                    <a:pt x="10" y="49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7" name="Freeform 283"/>
            <p:cNvSpPr>
              <a:spLocks/>
            </p:cNvSpPr>
            <p:nvPr/>
          </p:nvSpPr>
          <p:spPr bwMode="auto">
            <a:xfrm>
              <a:off x="1976067" y="4669364"/>
              <a:ext cx="128997" cy="159471"/>
            </a:xfrm>
            <a:custGeom>
              <a:avLst/>
              <a:gdLst>
                <a:gd name="T0" fmla="*/ 2147483647 w 237"/>
                <a:gd name="T1" fmla="*/ 2147483647 h 257"/>
                <a:gd name="T2" fmla="*/ 2147483647 w 237"/>
                <a:gd name="T3" fmla="*/ 2147483647 h 257"/>
                <a:gd name="T4" fmla="*/ 2147483647 w 237"/>
                <a:gd name="T5" fmla="*/ 2147483647 h 257"/>
                <a:gd name="T6" fmla="*/ 2147483647 w 237"/>
                <a:gd name="T7" fmla="*/ 2147483647 h 257"/>
                <a:gd name="T8" fmla="*/ 2147483647 w 237"/>
                <a:gd name="T9" fmla="*/ 2147483647 h 257"/>
                <a:gd name="T10" fmla="*/ 2147483647 w 237"/>
                <a:gd name="T11" fmla="*/ 2147483647 h 257"/>
                <a:gd name="T12" fmla="*/ 2147483647 w 237"/>
                <a:gd name="T13" fmla="*/ 2147483647 h 257"/>
                <a:gd name="T14" fmla="*/ 2147483647 w 237"/>
                <a:gd name="T15" fmla="*/ 2147483647 h 257"/>
                <a:gd name="T16" fmla="*/ 2147483647 w 237"/>
                <a:gd name="T17" fmla="*/ 2147483647 h 257"/>
                <a:gd name="T18" fmla="*/ 2147483647 w 237"/>
                <a:gd name="T19" fmla="*/ 2147483647 h 257"/>
                <a:gd name="T20" fmla="*/ 0 w 237"/>
                <a:gd name="T21" fmla="*/ 2147483647 h 257"/>
                <a:gd name="T22" fmla="*/ 2147483647 w 237"/>
                <a:gd name="T23" fmla="*/ 2147483647 h 257"/>
                <a:gd name="T24" fmla="*/ 2147483647 w 237"/>
                <a:gd name="T25" fmla="*/ 2147483647 h 257"/>
                <a:gd name="T26" fmla="*/ 2147483647 w 237"/>
                <a:gd name="T27" fmla="*/ 2147483647 h 257"/>
                <a:gd name="T28" fmla="*/ 2147483647 w 237"/>
                <a:gd name="T29" fmla="*/ 0 h 257"/>
                <a:gd name="T30" fmla="*/ 2147483647 w 237"/>
                <a:gd name="T31" fmla="*/ 2147483647 h 257"/>
                <a:gd name="T32" fmla="*/ 2147483647 w 237"/>
                <a:gd name="T33" fmla="*/ 2147483647 h 257"/>
                <a:gd name="T34" fmla="*/ 2147483647 w 237"/>
                <a:gd name="T35" fmla="*/ 2147483647 h 257"/>
                <a:gd name="T36" fmla="*/ 2147483647 w 237"/>
                <a:gd name="T37" fmla="*/ 2147483647 h 257"/>
                <a:gd name="T38" fmla="*/ 2147483647 w 237"/>
                <a:gd name="T39" fmla="*/ 2147483647 h 257"/>
                <a:gd name="T40" fmla="*/ 2147483647 w 237"/>
                <a:gd name="T41" fmla="*/ 2147483647 h 257"/>
                <a:gd name="T42" fmla="*/ 2147483647 w 237"/>
                <a:gd name="T43" fmla="*/ 2147483647 h 257"/>
                <a:gd name="T44" fmla="*/ 2147483647 w 237"/>
                <a:gd name="T45" fmla="*/ 2147483647 h 257"/>
                <a:gd name="T46" fmla="*/ 2147483647 w 237"/>
                <a:gd name="T47" fmla="*/ 2147483647 h 257"/>
                <a:gd name="T48" fmla="*/ 2147483647 w 237"/>
                <a:gd name="T49" fmla="*/ 2147483647 h 257"/>
                <a:gd name="T50" fmla="*/ 2147483647 w 237"/>
                <a:gd name="T51" fmla="*/ 2147483647 h 257"/>
                <a:gd name="T52" fmla="*/ 2147483647 w 237"/>
                <a:gd name="T53" fmla="*/ 2147483647 h 257"/>
                <a:gd name="T54" fmla="*/ 2147483647 w 237"/>
                <a:gd name="T55" fmla="*/ 2147483647 h 2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37"/>
                <a:gd name="T85" fmla="*/ 0 h 257"/>
                <a:gd name="T86" fmla="*/ 237 w 237"/>
                <a:gd name="T87" fmla="*/ 257 h 2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37" h="257">
                  <a:moveTo>
                    <a:pt x="231" y="192"/>
                  </a:moveTo>
                  <a:lnTo>
                    <a:pt x="224" y="230"/>
                  </a:lnTo>
                  <a:lnTo>
                    <a:pt x="197" y="251"/>
                  </a:lnTo>
                  <a:lnTo>
                    <a:pt x="161" y="257"/>
                  </a:lnTo>
                  <a:lnTo>
                    <a:pt x="136" y="245"/>
                  </a:lnTo>
                  <a:lnTo>
                    <a:pt x="108" y="249"/>
                  </a:lnTo>
                  <a:lnTo>
                    <a:pt x="136" y="196"/>
                  </a:lnTo>
                  <a:lnTo>
                    <a:pt x="136" y="179"/>
                  </a:lnTo>
                  <a:lnTo>
                    <a:pt x="72" y="143"/>
                  </a:lnTo>
                  <a:lnTo>
                    <a:pt x="49" y="139"/>
                  </a:lnTo>
                  <a:lnTo>
                    <a:pt x="0" y="88"/>
                  </a:lnTo>
                  <a:lnTo>
                    <a:pt x="9" y="65"/>
                  </a:lnTo>
                  <a:lnTo>
                    <a:pt x="11" y="38"/>
                  </a:lnTo>
                  <a:lnTo>
                    <a:pt x="24" y="13"/>
                  </a:lnTo>
                  <a:lnTo>
                    <a:pt x="97" y="0"/>
                  </a:lnTo>
                  <a:lnTo>
                    <a:pt x="119" y="12"/>
                  </a:lnTo>
                  <a:lnTo>
                    <a:pt x="129" y="31"/>
                  </a:lnTo>
                  <a:lnTo>
                    <a:pt x="135" y="29"/>
                  </a:lnTo>
                  <a:lnTo>
                    <a:pt x="136" y="48"/>
                  </a:lnTo>
                  <a:lnTo>
                    <a:pt x="133" y="86"/>
                  </a:lnTo>
                  <a:lnTo>
                    <a:pt x="157" y="91"/>
                  </a:lnTo>
                  <a:lnTo>
                    <a:pt x="180" y="82"/>
                  </a:lnTo>
                  <a:lnTo>
                    <a:pt x="201" y="97"/>
                  </a:lnTo>
                  <a:lnTo>
                    <a:pt x="201" y="146"/>
                  </a:lnTo>
                  <a:lnTo>
                    <a:pt x="226" y="137"/>
                  </a:lnTo>
                  <a:lnTo>
                    <a:pt x="237" y="150"/>
                  </a:lnTo>
                  <a:lnTo>
                    <a:pt x="230" y="188"/>
                  </a:lnTo>
                  <a:lnTo>
                    <a:pt x="231" y="19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8" name="Freeform 284"/>
            <p:cNvSpPr>
              <a:spLocks/>
            </p:cNvSpPr>
            <p:nvPr/>
          </p:nvSpPr>
          <p:spPr bwMode="auto">
            <a:xfrm>
              <a:off x="1686100" y="4317828"/>
              <a:ext cx="194046" cy="329419"/>
            </a:xfrm>
            <a:custGeom>
              <a:avLst/>
              <a:gdLst>
                <a:gd name="T0" fmla="*/ 2147483647 w 354"/>
                <a:gd name="T1" fmla="*/ 2147483647 h 530"/>
                <a:gd name="T2" fmla="*/ 2147483647 w 354"/>
                <a:gd name="T3" fmla="*/ 2147483647 h 530"/>
                <a:gd name="T4" fmla="*/ 2147483647 w 354"/>
                <a:gd name="T5" fmla="*/ 2147483647 h 530"/>
                <a:gd name="T6" fmla="*/ 2147483647 w 354"/>
                <a:gd name="T7" fmla="*/ 2147483647 h 530"/>
                <a:gd name="T8" fmla="*/ 2147483647 w 354"/>
                <a:gd name="T9" fmla="*/ 2147483647 h 530"/>
                <a:gd name="T10" fmla="*/ 2147483647 w 354"/>
                <a:gd name="T11" fmla="*/ 2147483647 h 530"/>
                <a:gd name="T12" fmla="*/ 2147483647 w 354"/>
                <a:gd name="T13" fmla="*/ 2147483647 h 530"/>
                <a:gd name="T14" fmla="*/ 2147483647 w 354"/>
                <a:gd name="T15" fmla="*/ 2147483647 h 530"/>
                <a:gd name="T16" fmla="*/ 2147483647 w 354"/>
                <a:gd name="T17" fmla="*/ 2147483647 h 530"/>
                <a:gd name="T18" fmla="*/ 2147483647 w 354"/>
                <a:gd name="T19" fmla="*/ 2147483647 h 530"/>
                <a:gd name="T20" fmla="*/ 2147483647 w 354"/>
                <a:gd name="T21" fmla="*/ 2147483647 h 530"/>
                <a:gd name="T22" fmla="*/ 2147483647 w 354"/>
                <a:gd name="T23" fmla="*/ 2147483647 h 530"/>
                <a:gd name="T24" fmla="*/ 2147483647 w 354"/>
                <a:gd name="T25" fmla="*/ 2147483647 h 530"/>
                <a:gd name="T26" fmla="*/ 2147483647 w 354"/>
                <a:gd name="T27" fmla="*/ 2147483647 h 530"/>
                <a:gd name="T28" fmla="*/ 2147483647 w 354"/>
                <a:gd name="T29" fmla="*/ 2147483647 h 530"/>
                <a:gd name="T30" fmla="*/ 2147483647 w 354"/>
                <a:gd name="T31" fmla="*/ 2147483647 h 530"/>
                <a:gd name="T32" fmla="*/ 2147483647 w 354"/>
                <a:gd name="T33" fmla="*/ 2147483647 h 530"/>
                <a:gd name="T34" fmla="*/ 2147483647 w 354"/>
                <a:gd name="T35" fmla="*/ 2147483647 h 530"/>
                <a:gd name="T36" fmla="*/ 2147483647 w 354"/>
                <a:gd name="T37" fmla="*/ 2147483647 h 530"/>
                <a:gd name="T38" fmla="*/ 2147483647 w 354"/>
                <a:gd name="T39" fmla="*/ 2147483647 h 530"/>
                <a:gd name="T40" fmla="*/ 0 w 354"/>
                <a:gd name="T41" fmla="*/ 2147483647 h 530"/>
                <a:gd name="T42" fmla="*/ 2147483647 w 354"/>
                <a:gd name="T43" fmla="*/ 2147483647 h 530"/>
                <a:gd name="T44" fmla="*/ 2147483647 w 354"/>
                <a:gd name="T45" fmla="*/ 2147483647 h 530"/>
                <a:gd name="T46" fmla="*/ 2147483647 w 354"/>
                <a:gd name="T47" fmla="*/ 2147483647 h 530"/>
                <a:gd name="T48" fmla="*/ 2147483647 w 354"/>
                <a:gd name="T49" fmla="*/ 2147483647 h 530"/>
                <a:gd name="T50" fmla="*/ 2147483647 w 354"/>
                <a:gd name="T51" fmla="*/ 2147483647 h 530"/>
                <a:gd name="T52" fmla="*/ 2147483647 w 354"/>
                <a:gd name="T53" fmla="*/ 2147483647 h 530"/>
                <a:gd name="T54" fmla="*/ 2147483647 w 354"/>
                <a:gd name="T55" fmla="*/ 2147483647 h 530"/>
                <a:gd name="T56" fmla="*/ 2147483647 w 354"/>
                <a:gd name="T57" fmla="*/ 2147483647 h 530"/>
                <a:gd name="T58" fmla="*/ 2147483647 w 354"/>
                <a:gd name="T59" fmla="*/ 2147483647 h 530"/>
                <a:gd name="T60" fmla="*/ 2147483647 w 354"/>
                <a:gd name="T61" fmla="*/ 2147483647 h 530"/>
                <a:gd name="T62" fmla="*/ 2147483647 w 354"/>
                <a:gd name="T63" fmla="*/ 0 h 530"/>
                <a:gd name="T64" fmla="*/ 2147483647 w 354"/>
                <a:gd name="T65" fmla="*/ 2147483647 h 530"/>
                <a:gd name="T66" fmla="*/ 2147483647 w 354"/>
                <a:gd name="T67" fmla="*/ 2147483647 h 530"/>
                <a:gd name="T68" fmla="*/ 2147483647 w 354"/>
                <a:gd name="T69" fmla="*/ 2147483647 h 530"/>
                <a:gd name="T70" fmla="*/ 2147483647 w 354"/>
                <a:gd name="T71" fmla="*/ 2147483647 h 530"/>
                <a:gd name="T72" fmla="*/ 2147483647 w 354"/>
                <a:gd name="T73" fmla="*/ 2147483647 h 530"/>
                <a:gd name="T74" fmla="*/ 2147483647 w 354"/>
                <a:gd name="T75" fmla="*/ 2147483647 h 530"/>
                <a:gd name="T76" fmla="*/ 2147483647 w 354"/>
                <a:gd name="T77" fmla="*/ 2147483647 h 530"/>
                <a:gd name="T78" fmla="*/ 2147483647 w 354"/>
                <a:gd name="T79" fmla="*/ 2147483647 h 530"/>
                <a:gd name="T80" fmla="*/ 2147483647 w 354"/>
                <a:gd name="T81" fmla="*/ 2147483647 h 530"/>
                <a:gd name="T82" fmla="*/ 2147483647 w 354"/>
                <a:gd name="T83" fmla="*/ 2147483647 h 530"/>
                <a:gd name="T84" fmla="*/ 2147483647 w 354"/>
                <a:gd name="T85" fmla="*/ 2147483647 h 530"/>
                <a:gd name="T86" fmla="*/ 2147483647 w 354"/>
                <a:gd name="T87" fmla="*/ 2147483647 h 530"/>
                <a:gd name="T88" fmla="*/ 2147483647 w 354"/>
                <a:gd name="T89" fmla="*/ 2147483647 h 530"/>
                <a:gd name="T90" fmla="*/ 2147483647 w 354"/>
                <a:gd name="T91" fmla="*/ 2147483647 h 530"/>
                <a:gd name="T92" fmla="*/ 2147483647 w 354"/>
                <a:gd name="T93" fmla="*/ 2147483647 h 530"/>
                <a:gd name="T94" fmla="*/ 2147483647 w 354"/>
                <a:gd name="T95" fmla="*/ 2147483647 h 530"/>
                <a:gd name="T96" fmla="*/ 2147483647 w 354"/>
                <a:gd name="T97" fmla="*/ 2147483647 h 530"/>
                <a:gd name="T98" fmla="*/ 2147483647 w 354"/>
                <a:gd name="T99" fmla="*/ 2147483647 h 530"/>
                <a:gd name="T100" fmla="*/ 2147483647 w 354"/>
                <a:gd name="T101" fmla="*/ 2147483647 h 53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4"/>
                <a:gd name="T154" fmla="*/ 0 h 530"/>
                <a:gd name="T155" fmla="*/ 354 w 354"/>
                <a:gd name="T156" fmla="*/ 530 h 53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4" h="530">
                  <a:moveTo>
                    <a:pt x="337" y="319"/>
                  </a:moveTo>
                  <a:lnTo>
                    <a:pt x="354" y="355"/>
                  </a:lnTo>
                  <a:lnTo>
                    <a:pt x="344" y="370"/>
                  </a:lnTo>
                  <a:lnTo>
                    <a:pt x="348" y="414"/>
                  </a:lnTo>
                  <a:lnTo>
                    <a:pt x="333" y="458"/>
                  </a:lnTo>
                  <a:lnTo>
                    <a:pt x="339" y="465"/>
                  </a:lnTo>
                  <a:lnTo>
                    <a:pt x="331" y="494"/>
                  </a:lnTo>
                  <a:lnTo>
                    <a:pt x="333" y="513"/>
                  </a:lnTo>
                  <a:lnTo>
                    <a:pt x="305" y="530"/>
                  </a:lnTo>
                  <a:lnTo>
                    <a:pt x="276" y="496"/>
                  </a:lnTo>
                  <a:lnTo>
                    <a:pt x="192" y="443"/>
                  </a:lnTo>
                  <a:lnTo>
                    <a:pt x="181" y="446"/>
                  </a:lnTo>
                  <a:lnTo>
                    <a:pt x="137" y="397"/>
                  </a:lnTo>
                  <a:lnTo>
                    <a:pt x="143" y="386"/>
                  </a:lnTo>
                  <a:lnTo>
                    <a:pt x="114" y="348"/>
                  </a:lnTo>
                  <a:lnTo>
                    <a:pt x="99" y="306"/>
                  </a:lnTo>
                  <a:lnTo>
                    <a:pt x="67" y="234"/>
                  </a:lnTo>
                  <a:lnTo>
                    <a:pt x="38" y="192"/>
                  </a:lnTo>
                  <a:lnTo>
                    <a:pt x="4" y="169"/>
                  </a:lnTo>
                  <a:lnTo>
                    <a:pt x="12" y="160"/>
                  </a:lnTo>
                  <a:lnTo>
                    <a:pt x="0" y="144"/>
                  </a:lnTo>
                  <a:lnTo>
                    <a:pt x="2" y="118"/>
                  </a:lnTo>
                  <a:lnTo>
                    <a:pt x="16" y="101"/>
                  </a:lnTo>
                  <a:lnTo>
                    <a:pt x="27" y="95"/>
                  </a:lnTo>
                  <a:lnTo>
                    <a:pt x="31" y="104"/>
                  </a:lnTo>
                  <a:lnTo>
                    <a:pt x="21" y="114"/>
                  </a:lnTo>
                  <a:lnTo>
                    <a:pt x="23" y="129"/>
                  </a:lnTo>
                  <a:lnTo>
                    <a:pt x="67" y="137"/>
                  </a:lnTo>
                  <a:lnTo>
                    <a:pt x="82" y="93"/>
                  </a:lnTo>
                  <a:lnTo>
                    <a:pt x="126" y="70"/>
                  </a:lnTo>
                  <a:lnTo>
                    <a:pt x="168" y="21"/>
                  </a:lnTo>
                  <a:lnTo>
                    <a:pt x="170" y="0"/>
                  </a:lnTo>
                  <a:lnTo>
                    <a:pt x="190" y="6"/>
                  </a:lnTo>
                  <a:lnTo>
                    <a:pt x="236" y="57"/>
                  </a:lnTo>
                  <a:lnTo>
                    <a:pt x="267" y="46"/>
                  </a:lnTo>
                  <a:lnTo>
                    <a:pt x="312" y="66"/>
                  </a:lnTo>
                  <a:lnTo>
                    <a:pt x="293" y="106"/>
                  </a:lnTo>
                  <a:lnTo>
                    <a:pt x="310" y="116"/>
                  </a:lnTo>
                  <a:lnTo>
                    <a:pt x="314" y="127"/>
                  </a:lnTo>
                  <a:lnTo>
                    <a:pt x="289" y="127"/>
                  </a:lnTo>
                  <a:lnTo>
                    <a:pt x="257" y="137"/>
                  </a:lnTo>
                  <a:lnTo>
                    <a:pt x="240" y="148"/>
                  </a:lnTo>
                  <a:lnTo>
                    <a:pt x="230" y="180"/>
                  </a:lnTo>
                  <a:lnTo>
                    <a:pt x="202" y="215"/>
                  </a:lnTo>
                  <a:lnTo>
                    <a:pt x="223" y="249"/>
                  </a:lnTo>
                  <a:lnTo>
                    <a:pt x="221" y="270"/>
                  </a:lnTo>
                  <a:lnTo>
                    <a:pt x="248" y="274"/>
                  </a:lnTo>
                  <a:lnTo>
                    <a:pt x="259" y="291"/>
                  </a:lnTo>
                  <a:lnTo>
                    <a:pt x="301" y="268"/>
                  </a:lnTo>
                  <a:lnTo>
                    <a:pt x="301" y="315"/>
                  </a:lnTo>
                  <a:lnTo>
                    <a:pt x="337" y="31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09" name="Freeform 285"/>
            <p:cNvSpPr>
              <a:spLocks/>
            </p:cNvSpPr>
            <p:nvPr/>
          </p:nvSpPr>
          <p:spPr bwMode="auto">
            <a:xfrm>
              <a:off x="2002528" y="4059414"/>
              <a:ext cx="3308" cy="10476"/>
            </a:xfrm>
            <a:custGeom>
              <a:avLst/>
              <a:gdLst>
                <a:gd name="T0" fmla="*/ 0 w 6"/>
                <a:gd name="T1" fmla="*/ 2147483647 h 15"/>
                <a:gd name="T2" fmla="*/ 2147483647 w 6"/>
                <a:gd name="T3" fmla="*/ 0 h 15"/>
                <a:gd name="T4" fmla="*/ 2147483647 w 6"/>
                <a:gd name="T5" fmla="*/ 2147483647 h 15"/>
                <a:gd name="T6" fmla="*/ 0 w 6"/>
                <a:gd name="T7" fmla="*/ 2147483647 h 15"/>
                <a:gd name="T8" fmla="*/ 0 w 6"/>
                <a:gd name="T9" fmla="*/ 2147483647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5"/>
                <a:gd name="T17" fmla="*/ 6 w 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5">
                  <a:moveTo>
                    <a:pt x="0" y="2"/>
                  </a:moveTo>
                  <a:lnTo>
                    <a:pt x="2" y="0"/>
                  </a:lnTo>
                  <a:lnTo>
                    <a:pt x="6" y="11"/>
                  </a:lnTo>
                  <a:lnTo>
                    <a:pt x="0" y="1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0" name="Freeform 286"/>
            <p:cNvSpPr>
              <a:spLocks/>
            </p:cNvSpPr>
            <p:nvPr/>
          </p:nvSpPr>
          <p:spPr bwMode="auto">
            <a:xfrm>
              <a:off x="1999220" y="4073382"/>
              <a:ext cx="4410" cy="5820"/>
            </a:xfrm>
            <a:custGeom>
              <a:avLst/>
              <a:gdLst>
                <a:gd name="T0" fmla="*/ 2147483647 w 8"/>
                <a:gd name="T1" fmla="*/ 0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0 w 8"/>
                <a:gd name="T7" fmla="*/ 2147483647 h 9"/>
                <a:gd name="T8" fmla="*/ 2147483647 w 8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4" y="0"/>
                  </a:moveTo>
                  <a:lnTo>
                    <a:pt x="8" y="4"/>
                  </a:lnTo>
                  <a:lnTo>
                    <a:pt x="6" y="9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1" name="Freeform 287"/>
            <p:cNvSpPr>
              <a:spLocks/>
            </p:cNvSpPr>
            <p:nvPr/>
          </p:nvSpPr>
          <p:spPr bwMode="auto">
            <a:xfrm>
              <a:off x="2044424" y="4202589"/>
              <a:ext cx="62845" cy="80318"/>
            </a:xfrm>
            <a:custGeom>
              <a:avLst/>
              <a:gdLst>
                <a:gd name="T0" fmla="*/ 2147483647 w 116"/>
                <a:gd name="T1" fmla="*/ 2147483647 h 127"/>
                <a:gd name="T2" fmla="*/ 2147483647 w 116"/>
                <a:gd name="T3" fmla="*/ 2147483647 h 127"/>
                <a:gd name="T4" fmla="*/ 2147483647 w 116"/>
                <a:gd name="T5" fmla="*/ 2147483647 h 127"/>
                <a:gd name="T6" fmla="*/ 2147483647 w 116"/>
                <a:gd name="T7" fmla="*/ 2147483647 h 127"/>
                <a:gd name="T8" fmla="*/ 2147483647 w 116"/>
                <a:gd name="T9" fmla="*/ 2147483647 h 127"/>
                <a:gd name="T10" fmla="*/ 2147483647 w 116"/>
                <a:gd name="T11" fmla="*/ 2147483647 h 127"/>
                <a:gd name="T12" fmla="*/ 2147483647 w 116"/>
                <a:gd name="T13" fmla="*/ 2147483647 h 127"/>
                <a:gd name="T14" fmla="*/ 0 w 116"/>
                <a:gd name="T15" fmla="*/ 2147483647 h 127"/>
                <a:gd name="T16" fmla="*/ 2147483647 w 116"/>
                <a:gd name="T17" fmla="*/ 2147483647 h 127"/>
                <a:gd name="T18" fmla="*/ 2147483647 w 116"/>
                <a:gd name="T19" fmla="*/ 2147483647 h 127"/>
                <a:gd name="T20" fmla="*/ 2147483647 w 116"/>
                <a:gd name="T21" fmla="*/ 2147483647 h 127"/>
                <a:gd name="T22" fmla="*/ 2147483647 w 116"/>
                <a:gd name="T23" fmla="*/ 0 h 127"/>
                <a:gd name="T24" fmla="*/ 2147483647 w 116"/>
                <a:gd name="T25" fmla="*/ 2147483647 h 127"/>
                <a:gd name="T26" fmla="*/ 2147483647 w 116"/>
                <a:gd name="T27" fmla="*/ 2147483647 h 127"/>
                <a:gd name="T28" fmla="*/ 2147483647 w 116"/>
                <a:gd name="T29" fmla="*/ 2147483647 h 127"/>
                <a:gd name="T30" fmla="*/ 2147483647 w 116"/>
                <a:gd name="T31" fmla="*/ 2147483647 h 127"/>
                <a:gd name="T32" fmla="*/ 2147483647 w 116"/>
                <a:gd name="T33" fmla="*/ 2147483647 h 127"/>
                <a:gd name="T34" fmla="*/ 2147483647 w 116"/>
                <a:gd name="T35" fmla="*/ 2147483647 h 12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6"/>
                <a:gd name="T55" fmla="*/ 0 h 127"/>
                <a:gd name="T56" fmla="*/ 116 w 116"/>
                <a:gd name="T57" fmla="*/ 127 h 12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6" h="127">
                  <a:moveTo>
                    <a:pt x="97" y="102"/>
                  </a:moveTo>
                  <a:lnTo>
                    <a:pt x="61" y="104"/>
                  </a:lnTo>
                  <a:lnTo>
                    <a:pt x="57" y="127"/>
                  </a:lnTo>
                  <a:lnTo>
                    <a:pt x="51" y="123"/>
                  </a:lnTo>
                  <a:lnTo>
                    <a:pt x="36" y="106"/>
                  </a:lnTo>
                  <a:lnTo>
                    <a:pt x="32" y="76"/>
                  </a:lnTo>
                  <a:lnTo>
                    <a:pt x="17" y="76"/>
                  </a:lnTo>
                  <a:lnTo>
                    <a:pt x="0" y="60"/>
                  </a:lnTo>
                  <a:lnTo>
                    <a:pt x="2" y="38"/>
                  </a:lnTo>
                  <a:lnTo>
                    <a:pt x="25" y="32"/>
                  </a:lnTo>
                  <a:lnTo>
                    <a:pt x="27" y="9"/>
                  </a:lnTo>
                  <a:lnTo>
                    <a:pt x="36" y="0"/>
                  </a:lnTo>
                  <a:lnTo>
                    <a:pt x="67" y="7"/>
                  </a:lnTo>
                  <a:lnTo>
                    <a:pt x="110" y="9"/>
                  </a:lnTo>
                  <a:lnTo>
                    <a:pt x="106" y="22"/>
                  </a:lnTo>
                  <a:lnTo>
                    <a:pt x="101" y="41"/>
                  </a:lnTo>
                  <a:lnTo>
                    <a:pt x="116" y="74"/>
                  </a:lnTo>
                  <a:lnTo>
                    <a:pt x="97" y="10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2" name="Freeform 288"/>
            <p:cNvSpPr>
              <a:spLocks/>
            </p:cNvSpPr>
            <p:nvPr/>
          </p:nvSpPr>
          <p:spPr bwMode="auto">
            <a:xfrm>
              <a:off x="1988195" y="4122271"/>
              <a:ext cx="15436" cy="13968"/>
            </a:xfrm>
            <a:custGeom>
              <a:avLst/>
              <a:gdLst>
                <a:gd name="T0" fmla="*/ 2147483647 w 29"/>
                <a:gd name="T1" fmla="*/ 0 h 24"/>
                <a:gd name="T2" fmla="*/ 2147483647 w 29"/>
                <a:gd name="T3" fmla="*/ 0 h 24"/>
                <a:gd name="T4" fmla="*/ 2147483647 w 29"/>
                <a:gd name="T5" fmla="*/ 2147483647 h 24"/>
                <a:gd name="T6" fmla="*/ 2147483647 w 29"/>
                <a:gd name="T7" fmla="*/ 2147483647 h 24"/>
                <a:gd name="T8" fmla="*/ 0 w 29"/>
                <a:gd name="T9" fmla="*/ 2147483647 h 24"/>
                <a:gd name="T10" fmla="*/ 2147483647 w 29"/>
                <a:gd name="T11" fmla="*/ 2147483647 h 24"/>
                <a:gd name="T12" fmla="*/ 2147483647 w 29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24"/>
                <a:gd name="T23" fmla="*/ 29 w 29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24">
                  <a:moveTo>
                    <a:pt x="8" y="0"/>
                  </a:moveTo>
                  <a:lnTo>
                    <a:pt x="29" y="0"/>
                  </a:lnTo>
                  <a:lnTo>
                    <a:pt x="27" y="22"/>
                  </a:lnTo>
                  <a:lnTo>
                    <a:pt x="10" y="21"/>
                  </a:lnTo>
                  <a:lnTo>
                    <a:pt x="0" y="24"/>
                  </a:lnTo>
                  <a:lnTo>
                    <a:pt x="6" y="17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3" name="Freeform 289"/>
            <p:cNvSpPr>
              <a:spLocks/>
            </p:cNvSpPr>
            <p:nvPr/>
          </p:nvSpPr>
          <p:spPr bwMode="auto">
            <a:xfrm>
              <a:off x="2002528" y="4107139"/>
              <a:ext cx="8820" cy="6984"/>
            </a:xfrm>
            <a:custGeom>
              <a:avLst/>
              <a:gdLst>
                <a:gd name="T0" fmla="*/ 0 w 15"/>
                <a:gd name="T1" fmla="*/ 2147483647 h 11"/>
                <a:gd name="T2" fmla="*/ 2147483647 w 15"/>
                <a:gd name="T3" fmla="*/ 0 h 11"/>
                <a:gd name="T4" fmla="*/ 2147483647 w 15"/>
                <a:gd name="T5" fmla="*/ 2147483647 h 11"/>
                <a:gd name="T6" fmla="*/ 2147483647 w 15"/>
                <a:gd name="T7" fmla="*/ 2147483647 h 11"/>
                <a:gd name="T8" fmla="*/ 0 w 15"/>
                <a:gd name="T9" fmla="*/ 214748364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1"/>
                <a:gd name="T17" fmla="*/ 15 w 15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1">
                  <a:moveTo>
                    <a:pt x="0" y="6"/>
                  </a:moveTo>
                  <a:lnTo>
                    <a:pt x="11" y="0"/>
                  </a:lnTo>
                  <a:lnTo>
                    <a:pt x="15" y="6"/>
                  </a:lnTo>
                  <a:lnTo>
                    <a:pt x="4" y="1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4" name="Freeform 290"/>
            <p:cNvSpPr>
              <a:spLocks/>
            </p:cNvSpPr>
            <p:nvPr/>
          </p:nvSpPr>
          <p:spPr bwMode="auto">
            <a:xfrm>
              <a:off x="2041117" y="4882381"/>
              <a:ext cx="76075" cy="105926"/>
            </a:xfrm>
            <a:custGeom>
              <a:avLst/>
              <a:gdLst>
                <a:gd name="T0" fmla="*/ 0 w 139"/>
                <a:gd name="T1" fmla="*/ 2147483647 h 169"/>
                <a:gd name="T2" fmla="*/ 2147483647 w 139"/>
                <a:gd name="T3" fmla="*/ 2147483647 h 169"/>
                <a:gd name="T4" fmla="*/ 2147483647 w 139"/>
                <a:gd name="T5" fmla="*/ 2147483647 h 169"/>
                <a:gd name="T6" fmla="*/ 2147483647 w 139"/>
                <a:gd name="T7" fmla="*/ 2147483647 h 169"/>
                <a:gd name="T8" fmla="*/ 2147483647 w 139"/>
                <a:gd name="T9" fmla="*/ 0 h 169"/>
                <a:gd name="T10" fmla="*/ 2147483647 w 139"/>
                <a:gd name="T11" fmla="*/ 0 h 169"/>
                <a:gd name="T12" fmla="*/ 2147483647 w 139"/>
                <a:gd name="T13" fmla="*/ 2147483647 h 169"/>
                <a:gd name="T14" fmla="*/ 2147483647 w 139"/>
                <a:gd name="T15" fmla="*/ 2147483647 h 169"/>
                <a:gd name="T16" fmla="*/ 2147483647 w 139"/>
                <a:gd name="T17" fmla="*/ 2147483647 h 169"/>
                <a:gd name="T18" fmla="*/ 2147483647 w 139"/>
                <a:gd name="T19" fmla="*/ 2147483647 h 169"/>
                <a:gd name="T20" fmla="*/ 2147483647 w 139"/>
                <a:gd name="T21" fmla="*/ 2147483647 h 169"/>
                <a:gd name="T22" fmla="*/ 2147483647 w 139"/>
                <a:gd name="T23" fmla="*/ 2147483647 h 169"/>
                <a:gd name="T24" fmla="*/ 2147483647 w 139"/>
                <a:gd name="T25" fmla="*/ 2147483647 h 169"/>
                <a:gd name="T26" fmla="*/ 2147483647 w 139"/>
                <a:gd name="T27" fmla="*/ 2147483647 h 169"/>
                <a:gd name="T28" fmla="*/ 2147483647 w 139"/>
                <a:gd name="T29" fmla="*/ 2147483647 h 169"/>
                <a:gd name="T30" fmla="*/ 2147483647 w 139"/>
                <a:gd name="T31" fmla="*/ 2147483647 h 169"/>
                <a:gd name="T32" fmla="*/ 2147483647 w 139"/>
                <a:gd name="T33" fmla="*/ 2147483647 h 169"/>
                <a:gd name="T34" fmla="*/ 2147483647 w 139"/>
                <a:gd name="T35" fmla="*/ 2147483647 h 169"/>
                <a:gd name="T36" fmla="*/ 0 w 139"/>
                <a:gd name="T37" fmla="*/ 2147483647 h 16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9"/>
                <a:gd name="T58" fmla="*/ 0 h 169"/>
                <a:gd name="T59" fmla="*/ 139 w 139"/>
                <a:gd name="T60" fmla="*/ 169 h 16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9" h="169">
                  <a:moveTo>
                    <a:pt x="0" y="106"/>
                  </a:moveTo>
                  <a:lnTo>
                    <a:pt x="10" y="93"/>
                  </a:lnTo>
                  <a:lnTo>
                    <a:pt x="4" y="57"/>
                  </a:lnTo>
                  <a:lnTo>
                    <a:pt x="16" y="9"/>
                  </a:lnTo>
                  <a:lnTo>
                    <a:pt x="27" y="0"/>
                  </a:lnTo>
                  <a:lnTo>
                    <a:pt x="48" y="0"/>
                  </a:lnTo>
                  <a:lnTo>
                    <a:pt x="63" y="25"/>
                  </a:lnTo>
                  <a:lnTo>
                    <a:pt x="84" y="19"/>
                  </a:lnTo>
                  <a:lnTo>
                    <a:pt x="99" y="42"/>
                  </a:lnTo>
                  <a:lnTo>
                    <a:pt x="128" y="53"/>
                  </a:lnTo>
                  <a:lnTo>
                    <a:pt x="139" y="85"/>
                  </a:lnTo>
                  <a:lnTo>
                    <a:pt x="131" y="106"/>
                  </a:lnTo>
                  <a:lnTo>
                    <a:pt x="135" y="129"/>
                  </a:lnTo>
                  <a:lnTo>
                    <a:pt x="101" y="165"/>
                  </a:lnTo>
                  <a:lnTo>
                    <a:pt x="61" y="169"/>
                  </a:lnTo>
                  <a:lnTo>
                    <a:pt x="25" y="154"/>
                  </a:lnTo>
                  <a:lnTo>
                    <a:pt x="14" y="156"/>
                  </a:lnTo>
                  <a:lnTo>
                    <a:pt x="2" y="133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5" name="Freeform 291"/>
            <p:cNvSpPr>
              <a:spLocks/>
            </p:cNvSpPr>
            <p:nvPr/>
          </p:nvSpPr>
          <p:spPr bwMode="auto">
            <a:xfrm>
              <a:off x="1805174" y="4092006"/>
              <a:ext cx="210585" cy="201376"/>
            </a:xfrm>
            <a:custGeom>
              <a:avLst/>
              <a:gdLst>
                <a:gd name="T0" fmla="*/ 2147483647 w 388"/>
                <a:gd name="T1" fmla="*/ 2147483647 h 325"/>
                <a:gd name="T2" fmla="*/ 2147483647 w 388"/>
                <a:gd name="T3" fmla="*/ 2147483647 h 325"/>
                <a:gd name="T4" fmla="*/ 2147483647 w 388"/>
                <a:gd name="T5" fmla="*/ 2147483647 h 325"/>
                <a:gd name="T6" fmla="*/ 2147483647 w 388"/>
                <a:gd name="T7" fmla="*/ 2147483647 h 325"/>
                <a:gd name="T8" fmla="*/ 2147483647 w 388"/>
                <a:gd name="T9" fmla="*/ 2147483647 h 325"/>
                <a:gd name="T10" fmla="*/ 2147483647 w 388"/>
                <a:gd name="T11" fmla="*/ 2147483647 h 325"/>
                <a:gd name="T12" fmla="*/ 2147483647 w 388"/>
                <a:gd name="T13" fmla="*/ 2147483647 h 325"/>
                <a:gd name="T14" fmla="*/ 2147483647 w 388"/>
                <a:gd name="T15" fmla="*/ 2147483647 h 325"/>
                <a:gd name="T16" fmla="*/ 2147483647 w 388"/>
                <a:gd name="T17" fmla="*/ 2147483647 h 325"/>
                <a:gd name="T18" fmla="*/ 2147483647 w 388"/>
                <a:gd name="T19" fmla="*/ 2147483647 h 325"/>
                <a:gd name="T20" fmla="*/ 2147483647 w 388"/>
                <a:gd name="T21" fmla="*/ 2147483647 h 325"/>
                <a:gd name="T22" fmla="*/ 2147483647 w 388"/>
                <a:gd name="T23" fmla="*/ 2147483647 h 325"/>
                <a:gd name="T24" fmla="*/ 0 w 388"/>
                <a:gd name="T25" fmla="*/ 2147483647 h 325"/>
                <a:gd name="T26" fmla="*/ 2147483647 w 388"/>
                <a:gd name="T27" fmla="*/ 2147483647 h 325"/>
                <a:gd name="T28" fmla="*/ 2147483647 w 388"/>
                <a:gd name="T29" fmla="*/ 2147483647 h 325"/>
                <a:gd name="T30" fmla="*/ 2147483647 w 388"/>
                <a:gd name="T31" fmla="*/ 2147483647 h 325"/>
                <a:gd name="T32" fmla="*/ 2147483647 w 388"/>
                <a:gd name="T33" fmla="*/ 2147483647 h 325"/>
                <a:gd name="T34" fmla="*/ 2147483647 w 388"/>
                <a:gd name="T35" fmla="*/ 2147483647 h 325"/>
                <a:gd name="T36" fmla="*/ 2147483647 w 388"/>
                <a:gd name="T37" fmla="*/ 2147483647 h 325"/>
                <a:gd name="T38" fmla="*/ 2147483647 w 388"/>
                <a:gd name="T39" fmla="*/ 2147483647 h 325"/>
                <a:gd name="T40" fmla="*/ 2147483647 w 388"/>
                <a:gd name="T41" fmla="*/ 2147483647 h 325"/>
                <a:gd name="T42" fmla="*/ 2147483647 w 388"/>
                <a:gd name="T43" fmla="*/ 0 h 325"/>
                <a:gd name="T44" fmla="*/ 2147483647 w 388"/>
                <a:gd name="T45" fmla="*/ 2147483647 h 325"/>
                <a:gd name="T46" fmla="*/ 2147483647 w 388"/>
                <a:gd name="T47" fmla="*/ 2147483647 h 325"/>
                <a:gd name="T48" fmla="*/ 2147483647 w 388"/>
                <a:gd name="T49" fmla="*/ 2147483647 h 325"/>
                <a:gd name="T50" fmla="*/ 2147483647 w 388"/>
                <a:gd name="T51" fmla="*/ 2147483647 h 325"/>
                <a:gd name="T52" fmla="*/ 2147483647 w 388"/>
                <a:gd name="T53" fmla="*/ 2147483647 h 325"/>
                <a:gd name="T54" fmla="*/ 2147483647 w 388"/>
                <a:gd name="T55" fmla="*/ 2147483647 h 325"/>
                <a:gd name="T56" fmla="*/ 2147483647 w 388"/>
                <a:gd name="T57" fmla="*/ 2147483647 h 325"/>
                <a:gd name="T58" fmla="*/ 2147483647 w 388"/>
                <a:gd name="T59" fmla="*/ 2147483647 h 325"/>
                <a:gd name="T60" fmla="*/ 2147483647 w 388"/>
                <a:gd name="T61" fmla="*/ 2147483647 h 325"/>
                <a:gd name="T62" fmla="*/ 2147483647 w 388"/>
                <a:gd name="T63" fmla="*/ 2147483647 h 325"/>
                <a:gd name="T64" fmla="*/ 2147483647 w 388"/>
                <a:gd name="T65" fmla="*/ 2147483647 h 325"/>
                <a:gd name="T66" fmla="*/ 2147483647 w 388"/>
                <a:gd name="T67" fmla="*/ 2147483647 h 3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88"/>
                <a:gd name="T103" fmla="*/ 0 h 325"/>
                <a:gd name="T104" fmla="*/ 388 w 388"/>
                <a:gd name="T105" fmla="*/ 325 h 3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88" h="325">
                  <a:moveTo>
                    <a:pt x="365" y="207"/>
                  </a:moveTo>
                  <a:lnTo>
                    <a:pt x="361" y="226"/>
                  </a:lnTo>
                  <a:lnTo>
                    <a:pt x="300" y="241"/>
                  </a:lnTo>
                  <a:lnTo>
                    <a:pt x="274" y="234"/>
                  </a:lnTo>
                  <a:lnTo>
                    <a:pt x="251" y="224"/>
                  </a:lnTo>
                  <a:lnTo>
                    <a:pt x="240" y="236"/>
                  </a:lnTo>
                  <a:lnTo>
                    <a:pt x="255" y="249"/>
                  </a:lnTo>
                  <a:lnTo>
                    <a:pt x="259" y="283"/>
                  </a:lnTo>
                  <a:lnTo>
                    <a:pt x="287" y="287"/>
                  </a:lnTo>
                  <a:lnTo>
                    <a:pt x="264" y="295"/>
                  </a:lnTo>
                  <a:lnTo>
                    <a:pt x="251" y="310"/>
                  </a:lnTo>
                  <a:lnTo>
                    <a:pt x="209" y="325"/>
                  </a:lnTo>
                  <a:lnTo>
                    <a:pt x="192" y="321"/>
                  </a:lnTo>
                  <a:lnTo>
                    <a:pt x="175" y="277"/>
                  </a:lnTo>
                  <a:lnTo>
                    <a:pt x="152" y="279"/>
                  </a:lnTo>
                  <a:lnTo>
                    <a:pt x="169" y="257"/>
                  </a:lnTo>
                  <a:lnTo>
                    <a:pt x="165" y="245"/>
                  </a:lnTo>
                  <a:lnTo>
                    <a:pt x="162" y="213"/>
                  </a:lnTo>
                  <a:lnTo>
                    <a:pt x="175" y="171"/>
                  </a:lnTo>
                  <a:lnTo>
                    <a:pt x="114" y="179"/>
                  </a:lnTo>
                  <a:lnTo>
                    <a:pt x="103" y="154"/>
                  </a:lnTo>
                  <a:lnTo>
                    <a:pt x="46" y="158"/>
                  </a:lnTo>
                  <a:lnTo>
                    <a:pt x="21" y="137"/>
                  </a:lnTo>
                  <a:lnTo>
                    <a:pt x="29" y="120"/>
                  </a:lnTo>
                  <a:lnTo>
                    <a:pt x="15" y="99"/>
                  </a:lnTo>
                  <a:lnTo>
                    <a:pt x="0" y="97"/>
                  </a:lnTo>
                  <a:lnTo>
                    <a:pt x="10" y="86"/>
                  </a:lnTo>
                  <a:lnTo>
                    <a:pt x="13" y="53"/>
                  </a:lnTo>
                  <a:lnTo>
                    <a:pt x="31" y="25"/>
                  </a:lnTo>
                  <a:lnTo>
                    <a:pt x="51" y="12"/>
                  </a:lnTo>
                  <a:lnTo>
                    <a:pt x="67" y="10"/>
                  </a:lnTo>
                  <a:lnTo>
                    <a:pt x="42" y="29"/>
                  </a:lnTo>
                  <a:lnTo>
                    <a:pt x="46" y="42"/>
                  </a:lnTo>
                  <a:lnTo>
                    <a:pt x="34" y="76"/>
                  </a:lnTo>
                  <a:lnTo>
                    <a:pt x="44" y="101"/>
                  </a:lnTo>
                  <a:lnTo>
                    <a:pt x="63" y="89"/>
                  </a:lnTo>
                  <a:lnTo>
                    <a:pt x="63" y="76"/>
                  </a:lnTo>
                  <a:lnTo>
                    <a:pt x="51" y="53"/>
                  </a:lnTo>
                  <a:lnTo>
                    <a:pt x="57" y="44"/>
                  </a:lnTo>
                  <a:lnTo>
                    <a:pt x="99" y="34"/>
                  </a:lnTo>
                  <a:lnTo>
                    <a:pt x="103" y="21"/>
                  </a:lnTo>
                  <a:lnTo>
                    <a:pt x="91" y="23"/>
                  </a:lnTo>
                  <a:lnTo>
                    <a:pt x="88" y="6"/>
                  </a:lnTo>
                  <a:lnTo>
                    <a:pt x="101" y="0"/>
                  </a:lnTo>
                  <a:lnTo>
                    <a:pt x="112" y="27"/>
                  </a:lnTo>
                  <a:lnTo>
                    <a:pt x="131" y="29"/>
                  </a:lnTo>
                  <a:lnTo>
                    <a:pt x="145" y="40"/>
                  </a:lnTo>
                  <a:lnTo>
                    <a:pt x="146" y="57"/>
                  </a:lnTo>
                  <a:lnTo>
                    <a:pt x="207" y="55"/>
                  </a:lnTo>
                  <a:lnTo>
                    <a:pt x="243" y="72"/>
                  </a:lnTo>
                  <a:lnTo>
                    <a:pt x="270" y="51"/>
                  </a:lnTo>
                  <a:lnTo>
                    <a:pt x="259" y="36"/>
                  </a:lnTo>
                  <a:lnTo>
                    <a:pt x="283" y="31"/>
                  </a:lnTo>
                  <a:lnTo>
                    <a:pt x="285" y="36"/>
                  </a:lnTo>
                  <a:lnTo>
                    <a:pt x="274" y="44"/>
                  </a:lnTo>
                  <a:lnTo>
                    <a:pt x="335" y="51"/>
                  </a:lnTo>
                  <a:lnTo>
                    <a:pt x="306" y="61"/>
                  </a:lnTo>
                  <a:lnTo>
                    <a:pt x="321" y="76"/>
                  </a:lnTo>
                  <a:lnTo>
                    <a:pt x="352" y="84"/>
                  </a:lnTo>
                  <a:lnTo>
                    <a:pt x="361" y="89"/>
                  </a:lnTo>
                  <a:lnTo>
                    <a:pt x="365" y="110"/>
                  </a:lnTo>
                  <a:lnTo>
                    <a:pt x="384" y="110"/>
                  </a:lnTo>
                  <a:lnTo>
                    <a:pt x="388" y="129"/>
                  </a:lnTo>
                  <a:lnTo>
                    <a:pt x="367" y="139"/>
                  </a:lnTo>
                  <a:lnTo>
                    <a:pt x="376" y="158"/>
                  </a:lnTo>
                  <a:lnTo>
                    <a:pt x="352" y="163"/>
                  </a:lnTo>
                  <a:lnTo>
                    <a:pt x="346" y="190"/>
                  </a:lnTo>
                  <a:lnTo>
                    <a:pt x="365" y="20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6" name="Freeform 292"/>
            <p:cNvSpPr>
              <a:spLocks/>
            </p:cNvSpPr>
            <p:nvPr/>
          </p:nvSpPr>
          <p:spPr bwMode="auto">
            <a:xfrm>
              <a:off x="1016861" y="3303960"/>
              <a:ext cx="891952" cy="545928"/>
            </a:xfrm>
            <a:custGeom>
              <a:avLst/>
              <a:gdLst>
                <a:gd name="T0" fmla="*/ 2147483647 w 1634"/>
                <a:gd name="T1" fmla="*/ 2147483647 h 878"/>
                <a:gd name="T2" fmla="*/ 2147483647 w 1634"/>
                <a:gd name="T3" fmla="*/ 2147483647 h 878"/>
                <a:gd name="T4" fmla="*/ 2147483647 w 1634"/>
                <a:gd name="T5" fmla="*/ 2147483647 h 878"/>
                <a:gd name="T6" fmla="*/ 2147483647 w 1634"/>
                <a:gd name="T7" fmla="*/ 2147483647 h 878"/>
                <a:gd name="T8" fmla="*/ 2147483647 w 1634"/>
                <a:gd name="T9" fmla="*/ 2147483647 h 878"/>
                <a:gd name="T10" fmla="*/ 2147483647 w 1634"/>
                <a:gd name="T11" fmla="*/ 2147483647 h 878"/>
                <a:gd name="T12" fmla="*/ 2147483647 w 1634"/>
                <a:gd name="T13" fmla="*/ 2147483647 h 878"/>
                <a:gd name="T14" fmla="*/ 2147483647 w 1634"/>
                <a:gd name="T15" fmla="*/ 2147483647 h 878"/>
                <a:gd name="T16" fmla="*/ 2147483647 w 1634"/>
                <a:gd name="T17" fmla="*/ 2147483647 h 878"/>
                <a:gd name="T18" fmla="*/ 2147483647 w 1634"/>
                <a:gd name="T19" fmla="*/ 2147483647 h 878"/>
                <a:gd name="T20" fmla="*/ 2147483647 w 1634"/>
                <a:gd name="T21" fmla="*/ 2147483647 h 878"/>
                <a:gd name="T22" fmla="*/ 2147483647 w 1634"/>
                <a:gd name="T23" fmla="*/ 2147483647 h 878"/>
                <a:gd name="T24" fmla="*/ 2147483647 w 1634"/>
                <a:gd name="T25" fmla="*/ 2147483647 h 878"/>
                <a:gd name="T26" fmla="*/ 2147483647 w 1634"/>
                <a:gd name="T27" fmla="*/ 2147483647 h 878"/>
                <a:gd name="T28" fmla="*/ 2147483647 w 1634"/>
                <a:gd name="T29" fmla="*/ 2147483647 h 878"/>
                <a:gd name="T30" fmla="*/ 2147483647 w 1634"/>
                <a:gd name="T31" fmla="*/ 2147483647 h 878"/>
                <a:gd name="T32" fmla="*/ 2147483647 w 1634"/>
                <a:gd name="T33" fmla="*/ 2147483647 h 878"/>
                <a:gd name="T34" fmla="*/ 2147483647 w 1634"/>
                <a:gd name="T35" fmla="*/ 2147483647 h 878"/>
                <a:gd name="T36" fmla="*/ 2147483647 w 1634"/>
                <a:gd name="T37" fmla="*/ 2147483647 h 878"/>
                <a:gd name="T38" fmla="*/ 2147483647 w 1634"/>
                <a:gd name="T39" fmla="*/ 2147483647 h 878"/>
                <a:gd name="T40" fmla="*/ 2147483647 w 1634"/>
                <a:gd name="T41" fmla="*/ 2147483647 h 878"/>
                <a:gd name="T42" fmla="*/ 2147483647 w 1634"/>
                <a:gd name="T43" fmla="*/ 2147483647 h 878"/>
                <a:gd name="T44" fmla="*/ 2147483647 w 1634"/>
                <a:gd name="T45" fmla="*/ 2147483647 h 878"/>
                <a:gd name="T46" fmla="*/ 2147483647 w 1634"/>
                <a:gd name="T47" fmla="*/ 2147483647 h 878"/>
                <a:gd name="T48" fmla="*/ 2147483647 w 1634"/>
                <a:gd name="T49" fmla="*/ 2147483647 h 878"/>
                <a:gd name="T50" fmla="*/ 2147483647 w 1634"/>
                <a:gd name="T51" fmla="*/ 2147483647 h 878"/>
                <a:gd name="T52" fmla="*/ 2147483647 w 1634"/>
                <a:gd name="T53" fmla="*/ 2147483647 h 878"/>
                <a:gd name="T54" fmla="*/ 2147483647 w 1634"/>
                <a:gd name="T55" fmla="*/ 2147483647 h 878"/>
                <a:gd name="T56" fmla="*/ 2147483647 w 1634"/>
                <a:gd name="T57" fmla="*/ 2147483647 h 878"/>
                <a:gd name="T58" fmla="*/ 2147483647 w 1634"/>
                <a:gd name="T59" fmla="*/ 2147483647 h 878"/>
                <a:gd name="T60" fmla="*/ 2147483647 w 1634"/>
                <a:gd name="T61" fmla="*/ 2147483647 h 878"/>
                <a:gd name="T62" fmla="*/ 2147483647 w 1634"/>
                <a:gd name="T63" fmla="*/ 2147483647 h 878"/>
                <a:gd name="T64" fmla="*/ 2147483647 w 1634"/>
                <a:gd name="T65" fmla="*/ 2147483647 h 878"/>
                <a:gd name="T66" fmla="*/ 2147483647 w 1634"/>
                <a:gd name="T67" fmla="*/ 2147483647 h 878"/>
                <a:gd name="T68" fmla="*/ 2147483647 w 1634"/>
                <a:gd name="T69" fmla="*/ 2147483647 h 878"/>
                <a:gd name="T70" fmla="*/ 2147483647 w 1634"/>
                <a:gd name="T71" fmla="*/ 2147483647 h 878"/>
                <a:gd name="T72" fmla="*/ 2147483647 w 1634"/>
                <a:gd name="T73" fmla="*/ 2147483647 h 878"/>
                <a:gd name="T74" fmla="*/ 2147483647 w 1634"/>
                <a:gd name="T75" fmla="*/ 2147483647 h 878"/>
                <a:gd name="T76" fmla="*/ 2147483647 w 1634"/>
                <a:gd name="T77" fmla="*/ 2147483647 h 878"/>
                <a:gd name="T78" fmla="*/ 2147483647 w 1634"/>
                <a:gd name="T79" fmla="*/ 2147483647 h 878"/>
                <a:gd name="T80" fmla="*/ 2147483647 w 1634"/>
                <a:gd name="T81" fmla="*/ 2147483647 h 878"/>
                <a:gd name="T82" fmla="*/ 2147483647 w 1634"/>
                <a:gd name="T83" fmla="*/ 2147483647 h 878"/>
                <a:gd name="T84" fmla="*/ 2147483647 w 1634"/>
                <a:gd name="T85" fmla="*/ 2147483647 h 878"/>
                <a:gd name="T86" fmla="*/ 2147483647 w 1634"/>
                <a:gd name="T87" fmla="*/ 2147483647 h 878"/>
                <a:gd name="T88" fmla="*/ 2147483647 w 1634"/>
                <a:gd name="T89" fmla="*/ 2147483647 h 878"/>
                <a:gd name="T90" fmla="*/ 2147483647 w 1634"/>
                <a:gd name="T91" fmla="*/ 2147483647 h 878"/>
                <a:gd name="T92" fmla="*/ 2147483647 w 1634"/>
                <a:gd name="T93" fmla="*/ 2147483647 h 878"/>
                <a:gd name="T94" fmla="*/ 2147483647 w 1634"/>
                <a:gd name="T95" fmla="*/ 2147483647 h 878"/>
                <a:gd name="T96" fmla="*/ 2147483647 w 1634"/>
                <a:gd name="T97" fmla="*/ 2147483647 h 878"/>
                <a:gd name="T98" fmla="*/ 2147483647 w 1634"/>
                <a:gd name="T99" fmla="*/ 2147483647 h 878"/>
                <a:gd name="T100" fmla="*/ 2147483647 w 1634"/>
                <a:gd name="T101" fmla="*/ 2147483647 h 878"/>
                <a:gd name="T102" fmla="*/ 2147483647 w 1634"/>
                <a:gd name="T103" fmla="*/ 2147483647 h 87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634"/>
                <a:gd name="T157" fmla="*/ 0 h 878"/>
                <a:gd name="T158" fmla="*/ 1634 w 1634"/>
                <a:gd name="T159" fmla="*/ 878 h 87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634" h="878">
                  <a:moveTo>
                    <a:pt x="59" y="8"/>
                  </a:moveTo>
                  <a:lnTo>
                    <a:pt x="823" y="10"/>
                  </a:lnTo>
                  <a:lnTo>
                    <a:pt x="842" y="0"/>
                  </a:lnTo>
                  <a:lnTo>
                    <a:pt x="849" y="13"/>
                  </a:lnTo>
                  <a:lnTo>
                    <a:pt x="891" y="13"/>
                  </a:lnTo>
                  <a:lnTo>
                    <a:pt x="912" y="21"/>
                  </a:lnTo>
                  <a:lnTo>
                    <a:pt x="929" y="42"/>
                  </a:lnTo>
                  <a:lnTo>
                    <a:pt x="954" y="38"/>
                  </a:lnTo>
                  <a:lnTo>
                    <a:pt x="977" y="42"/>
                  </a:lnTo>
                  <a:lnTo>
                    <a:pt x="942" y="72"/>
                  </a:lnTo>
                  <a:lnTo>
                    <a:pt x="918" y="84"/>
                  </a:lnTo>
                  <a:lnTo>
                    <a:pt x="948" y="86"/>
                  </a:lnTo>
                  <a:lnTo>
                    <a:pt x="965" y="91"/>
                  </a:lnTo>
                  <a:lnTo>
                    <a:pt x="1037" y="63"/>
                  </a:lnTo>
                  <a:lnTo>
                    <a:pt x="1018" y="80"/>
                  </a:lnTo>
                  <a:lnTo>
                    <a:pt x="1030" y="78"/>
                  </a:lnTo>
                  <a:lnTo>
                    <a:pt x="1066" y="103"/>
                  </a:lnTo>
                  <a:lnTo>
                    <a:pt x="1085" y="93"/>
                  </a:lnTo>
                  <a:lnTo>
                    <a:pt x="1121" y="86"/>
                  </a:lnTo>
                  <a:lnTo>
                    <a:pt x="1121" y="99"/>
                  </a:lnTo>
                  <a:lnTo>
                    <a:pt x="1132" y="103"/>
                  </a:lnTo>
                  <a:lnTo>
                    <a:pt x="1136" y="122"/>
                  </a:lnTo>
                  <a:lnTo>
                    <a:pt x="1064" y="137"/>
                  </a:lnTo>
                  <a:lnTo>
                    <a:pt x="1037" y="179"/>
                  </a:lnTo>
                  <a:lnTo>
                    <a:pt x="1064" y="160"/>
                  </a:lnTo>
                  <a:lnTo>
                    <a:pt x="1049" y="186"/>
                  </a:lnTo>
                  <a:lnTo>
                    <a:pt x="1039" y="243"/>
                  </a:lnTo>
                  <a:lnTo>
                    <a:pt x="1039" y="272"/>
                  </a:lnTo>
                  <a:lnTo>
                    <a:pt x="1056" y="289"/>
                  </a:lnTo>
                  <a:lnTo>
                    <a:pt x="1081" y="266"/>
                  </a:lnTo>
                  <a:lnTo>
                    <a:pt x="1079" y="219"/>
                  </a:lnTo>
                  <a:lnTo>
                    <a:pt x="1087" y="179"/>
                  </a:lnTo>
                  <a:lnTo>
                    <a:pt x="1096" y="162"/>
                  </a:lnTo>
                  <a:lnTo>
                    <a:pt x="1106" y="165"/>
                  </a:lnTo>
                  <a:lnTo>
                    <a:pt x="1121" y="137"/>
                  </a:lnTo>
                  <a:lnTo>
                    <a:pt x="1132" y="137"/>
                  </a:lnTo>
                  <a:lnTo>
                    <a:pt x="1159" y="146"/>
                  </a:lnTo>
                  <a:lnTo>
                    <a:pt x="1170" y="156"/>
                  </a:lnTo>
                  <a:lnTo>
                    <a:pt x="1165" y="184"/>
                  </a:lnTo>
                  <a:lnTo>
                    <a:pt x="1155" y="203"/>
                  </a:lnTo>
                  <a:lnTo>
                    <a:pt x="1157" y="215"/>
                  </a:lnTo>
                  <a:lnTo>
                    <a:pt x="1165" y="201"/>
                  </a:lnTo>
                  <a:lnTo>
                    <a:pt x="1178" y="200"/>
                  </a:lnTo>
                  <a:lnTo>
                    <a:pt x="1188" y="228"/>
                  </a:lnTo>
                  <a:lnTo>
                    <a:pt x="1182" y="253"/>
                  </a:lnTo>
                  <a:lnTo>
                    <a:pt x="1176" y="255"/>
                  </a:lnTo>
                  <a:lnTo>
                    <a:pt x="1174" y="272"/>
                  </a:lnTo>
                  <a:lnTo>
                    <a:pt x="1163" y="291"/>
                  </a:lnTo>
                  <a:lnTo>
                    <a:pt x="1195" y="306"/>
                  </a:lnTo>
                  <a:lnTo>
                    <a:pt x="1224" y="298"/>
                  </a:lnTo>
                  <a:lnTo>
                    <a:pt x="1254" y="277"/>
                  </a:lnTo>
                  <a:lnTo>
                    <a:pt x="1284" y="266"/>
                  </a:lnTo>
                  <a:lnTo>
                    <a:pt x="1294" y="257"/>
                  </a:lnTo>
                  <a:lnTo>
                    <a:pt x="1292" y="251"/>
                  </a:lnTo>
                  <a:lnTo>
                    <a:pt x="1294" y="236"/>
                  </a:lnTo>
                  <a:lnTo>
                    <a:pt x="1302" y="230"/>
                  </a:lnTo>
                  <a:lnTo>
                    <a:pt x="1338" y="238"/>
                  </a:lnTo>
                  <a:lnTo>
                    <a:pt x="1366" y="228"/>
                  </a:lnTo>
                  <a:lnTo>
                    <a:pt x="1374" y="213"/>
                  </a:lnTo>
                  <a:lnTo>
                    <a:pt x="1366" y="200"/>
                  </a:lnTo>
                  <a:lnTo>
                    <a:pt x="1402" y="175"/>
                  </a:lnTo>
                  <a:lnTo>
                    <a:pt x="1414" y="171"/>
                  </a:lnTo>
                  <a:lnTo>
                    <a:pt x="1499" y="167"/>
                  </a:lnTo>
                  <a:lnTo>
                    <a:pt x="1530" y="125"/>
                  </a:lnTo>
                  <a:lnTo>
                    <a:pt x="1560" y="69"/>
                  </a:lnTo>
                  <a:lnTo>
                    <a:pt x="1568" y="74"/>
                  </a:lnTo>
                  <a:lnTo>
                    <a:pt x="1590" y="70"/>
                  </a:lnTo>
                  <a:lnTo>
                    <a:pt x="1604" y="146"/>
                  </a:lnTo>
                  <a:lnTo>
                    <a:pt x="1619" y="160"/>
                  </a:lnTo>
                  <a:lnTo>
                    <a:pt x="1625" y="171"/>
                  </a:lnTo>
                  <a:lnTo>
                    <a:pt x="1634" y="171"/>
                  </a:lnTo>
                  <a:lnTo>
                    <a:pt x="1632" y="184"/>
                  </a:lnTo>
                  <a:lnTo>
                    <a:pt x="1598" y="211"/>
                  </a:lnTo>
                  <a:lnTo>
                    <a:pt x="1581" y="196"/>
                  </a:lnTo>
                  <a:lnTo>
                    <a:pt x="1573" y="207"/>
                  </a:lnTo>
                  <a:lnTo>
                    <a:pt x="1547" y="213"/>
                  </a:lnTo>
                  <a:lnTo>
                    <a:pt x="1533" y="228"/>
                  </a:lnTo>
                  <a:lnTo>
                    <a:pt x="1522" y="260"/>
                  </a:lnTo>
                  <a:lnTo>
                    <a:pt x="1530" y="281"/>
                  </a:lnTo>
                  <a:lnTo>
                    <a:pt x="1537" y="285"/>
                  </a:lnTo>
                  <a:lnTo>
                    <a:pt x="1537" y="272"/>
                  </a:lnTo>
                  <a:lnTo>
                    <a:pt x="1543" y="268"/>
                  </a:lnTo>
                  <a:lnTo>
                    <a:pt x="1549" y="287"/>
                  </a:lnTo>
                  <a:lnTo>
                    <a:pt x="1547" y="298"/>
                  </a:lnTo>
                  <a:lnTo>
                    <a:pt x="1522" y="296"/>
                  </a:lnTo>
                  <a:lnTo>
                    <a:pt x="1513" y="308"/>
                  </a:lnTo>
                  <a:lnTo>
                    <a:pt x="1490" y="304"/>
                  </a:lnTo>
                  <a:lnTo>
                    <a:pt x="1427" y="331"/>
                  </a:lnTo>
                  <a:lnTo>
                    <a:pt x="1427" y="342"/>
                  </a:lnTo>
                  <a:lnTo>
                    <a:pt x="1440" y="344"/>
                  </a:lnTo>
                  <a:lnTo>
                    <a:pt x="1435" y="386"/>
                  </a:lnTo>
                  <a:lnTo>
                    <a:pt x="1417" y="390"/>
                  </a:lnTo>
                  <a:lnTo>
                    <a:pt x="1406" y="414"/>
                  </a:lnTo>
                  <a:lnTo>
                    <a:pt x="1402" y="393"/>
                  </a:lnTo>
                  <a:lnTo>
                    <a:pt x="1395" y="391"/>
                  </a:lnTo>
                  <a:lnTo>
                    <a:pt x="1391" y="403"/>
                  </a:lnTo>
                  <a:lnTo>
                    <a:pt x="1395" y="420"/>
                  </a:lnTo>
                  <a:lnTo>
                    <a:pt x="1400" y="431"/>
                  </a:lnTo>
                  <a:lnTo>
                    <a:pt x="1391" y="448"/>
                  </a:lnTo>
                  <a:lnTo>
                    <a:pt x="1387" y="450"/>
                  </a:lnTo>
                  <a:lnTo>
                    <a:pt x="1378" y="473"/>
                  </a:lnTo>
                  <a:lnTo>
                    <a:pt x="1374" y="465"/>
                  </a:lnTo>
                  <a:lnTo>
                    <a:pt x="1378" y="437"/>
                  </a:lnTo>
                  <a:lnTo>
                    <a:pt x="1370" y="429"/>
                  </a:lnTo>
                  <a:lnTo>
                    <a:pt x="1370" y="380"/>
                  </a:lnTo>
                  <a:lnTo>
                    <a:pt x="1360" y="390"/>
                  </a:lnTo>
                  <a:lnTo>
                    <a:pt x="1359" y="439"/>
                  </a:lnTo>
                  <a:lnTo>
                    <a:pt x="1362" y="456"/>
                  </a:lnTo>
                  <a:lnTo>
                    <a:pt x="1355" y="479"/>
                  </a:lnTo>
                  <a:lnTo>
                    <a:pt x="1368" y="477"/>
                  </a:lnTo>
                  <a:lnTo>
                    <a:pt x="1383" y="500"/>
                  </a:lnTo>
                  <a:lnTo>
                    <a:pt x="1360" y="498"/>
                  </a:lnTo>
                  <a:lnTo>
                    <a:pt x="1359" y="502"/>
                  </a:lnTo>
                  <a:lnTo>
                    <a:pt x="1378" y="513"/>
                  </a:lnTo>
                  <a:lnTo>
                    <a:pt x="1376" y="526"/>
                  </a:lnTo>
                  <a:lnTo>
                    <a:pt x="1360" y="526"/>
                  </a:lnTo>
                  <a:lnTo>
                    <a:pt x="1355" y="543"/>
                  </a:lnTo>
                  <a:lnTo>
                    <a:pt x="1372" y="543"/>
                  </a:lnTo>
                  <a:lnTo>
                    <a:pt x="1362" y="557"/>
                  </a:lnTo>
                  <a:lnTo>
                    <a:pt x="1345" y="559"/>
                  </a:lnTo>
                  <a:lnTo>
                    <a:pt x="1340" y="568"/>
                  </a:lnTo>
                  <a:lnTo>
                    <a:pt x="1336" y="566"/>
                  </a:lnTo>
                  <a:lnTo>
                    <a:pt x="1321" y="583"/>
                  </a:lnTo>
                  <a:lnTo>
                    <a:pt x="1296" y="591"/>
                  </a:lnTo>
                  <a:lnTo>
                    <a:pt x="1281" y="612"/>
                  </a:lnTo>
                  <a:lnTo>
                    <a:pt x="1248" y="652"/>
                  </a:lnTo>
                  <a:lnTo>
                    <a:pt x="1239" y="652"/>
                  </a:lnTo>
                  <a:lnTo>
                    <a:pt x="1220" y="690"/>
                  </a:lnTo>
                  <a:lnTo>
                    <a:pt x="1226" y="718"/>
                  </a:lnTo>
                  <a:lnTo>
                    <a:pt x="1231" y="747"/>
                  </a:lnTo>
                  <a:lnTo>
                    <a:pt x="1245" y="771"/>
                  </a:lnTo>
                  <a:lnTo>
                    <a:pt x="1246" y="798"/>
                  </a:lnTo>
                  <a:lnTo>
                    <a:pt x="1258" y="828"/>
                  </a:lnTo>
                  <a:lnTo>
                    <a:pt x="1252" y="872"/>
                  </a:lnTo>
                  <a:lnTo>
                    <a:pt x="1231" y="878"/>
                  </a:lnTo>
                  <a:lnTo>
                    <a:pt x="1227" y="868"/>
                  </a:lnTo>
                  <a:lnTo>
                    <a:pt x="1218" y="849"/>
                  </a:lnTo>
                  <a:lnTo>
                    <a:pt x="1210" y="853"/>
                  </a:lnTo>
                  <a:lnTo>
                    <a:pt x="1184" y="802"/>
                  </a:lnTo>
                  <a:lnTo>
                    <a:pt x="1186" y="790"/>
                  </a:lnTo>
                  <a:lnTo>
                    <a:pt x="1169" y="794"/>
                  </a:lnTo>
                  <a:lnTo>
                    <a:pt x="1186" y="764"/>
                  </a:lnTo>
                  <a:lnTo>
                    <a:pt x="1150" y="716"/>
                  </a:lnTo>
                  <a:lnTo>
                    <a:pt x="1112" y="739"/>
                  </a:lnTo>
                  <a:lnTo>
                    <a:pt x="1094" y="714"/>
                  </a:lnTo>
                  <a:lnTo>
                    <a:pt x="1079" y="707"/>
                  </a:lnTo>
                  <a:lnTo>
                    <a:pt x="1062" y="716"/>
                  </a:lnTo>
                  <a:lnTo>
                    <a:pt x="1053" y="709"/>
                  </a:lnTo>
                  <a:lnTo>
                    <a:pt x="1036" y="716"/>
                  </a:lnTo>
                  <a:lnTo>
                    <a:pt x="973" y="707"/>
                  </a:lnTo>
                  <a:lnTo>
                    <a:pt x="973" y="720"/>
                  </a:lnTo>
                  <a:lnTo>
                    <a:pt x="990" y="714"/>
                  </a:lnTo>
                  <a:lnTo>
                    <a:pt x="1001" y="728"/>
                  </a:lnTo>
                  <a:lnTo>
                    <a:pt x="994" y="737"/>
                  </a:lnTo>
                  <a:lnTo>
                    <a:pt x="1009" y="748"/>
                  </a:lnTo>
                  <a:lnTo>
                    <a:pt x="999" y="758"/>
                  </a:lnTo>
                  <a:lnTo>
                    <a:pt x="980" y="747"/>
                  </a:lnTo>
                  <a:lnTo>
                    <a:pt x="973" y="754"/>
                  </a:lnTo>
                  <a:lnTo>
                    <a:pt x="946" y="750"/>
                  </a:lnTo>
                  <a:lnTo>
                    <a:pt x="885" y="731"/>
                  </a:lnTo>
                  <a:lnTo>
                    <a:pt x="794" y="781"/>
                  </a:lnTo>
                  <a:lnTo>
                    <a:pt x="777" y="811"/>
                  </a:lnTo>
                  <a:lnTo>
                    <a:pt x="785" y="842"/>
                  </a:lnTo>
                  <a:lnTo>
                    <a:pt x="773" y="849"/>
                  </a:lnTo>
                  <a:lnTo>
                    <a:pt x="724" y="836"/>
                  </a:lnTo>
                  <a:lnTo>
                    <a:pt x="709" y="802"/>
                  </a:lnTo>
                  <a:lnTo>
                    <a:pt x="659" y="743"/>
                  </a:lnTo>
                  <a:lnTo>
                    <a:pt x="629" y="731"/>
                  </a:lnTo>
                  <a:lnTo>
                    <a:pt x="606" y="762"/>
                  </a:lnTo>
                  <a:lnTo>
                    <a:pt x="566" y="739"/>
                  </a:lnTo>
                  <a:lnTo>
                    <a:pt x="557" y="697"/>
                  </a:lnTo>
                  <a:lnTo>
                    <a:pt x="515" y="671"/>
                  </a:lnTo>
                  <a:lnTo>
                    <a:pt x="465" y="671"/>
                  </a:lnTo>
                  <a:lnTo>
                    <a:pt x="469" y="688"/>
                  </a:lnTo>
                  <a:lnTo>
                    <a:pt x="380" y="684"/>
                  </a:lnTo>
                  <a:lnTo>
                    <a:pt x="275" y="633"/>
                  </a:lnTo>
                  <a:lnTo>
                    <a:pt x="209" y="638"/>
                  </a:lnTo>
                  <a:lnTo>
                    <a:pt x="196" y="606"/>
                  </a:lnTo>
                  <a:lnTo>
                    <a:pt x="171" y="591"/>
                  </a:lnTo>
                  <a:lnTo>
                    <a:pt x="141" y="568"/>
                  </a:lnTo>
                  <a:lnTo>
                    <a:pt x="116" y="568"/>
                  </a:lnTo>
                  <a:lnTo>
                    <a:pt x="114" y="543"/>
                  </a:lnTo>
                  <a:lnTo>
                    <a:pt x="108" y="543"/>
                  </a:lnTo>
                  <a:lnTo>
                    <a:pt x="106" y="532"/>
                  </a:lnTo>
                  <a:lnTo>
                    <a:pt x="84" y="513"/>
                  </a:lnTo>
                  <a:lnTo>
                    <a:pt x="68" y="492"/>
                  </a:lnTo>
                  <a:lnTo>
                    <a:pt x="61" y="456"/>
                  </a:lnTo>
                  <a:lnTo>
                    <a:pt x="76" y="441"/>
                  </a:lnTo>
                  <a:lnTo>
                    <a:pt x="74" y="431"/>
                  </a:lnTo>
                  <a:lnTo>
                    <a:pt x="61" y="445"/>
                  </a:lnTo>
                  <a:lnTo>
                    <a:pt x="44" y="439"/>
                  </a:lnTo>
                  <a:lnTo>
                    <a:pt x="49" y="433"/>
                  </a:lnTo>
                  <a:lnTo>
                    <a:pt x="21" y="405"/>
                  </a:lnTo>
                  <a:lnTo>
                    <a:pt x="23" y="367"/>
                  </a:lnTo>
                  <a:lnTo>
                    <a:pt x="9" y="353"/>
                  </a:lnTo>
                  <a:lnTo>
                    <a:pt x="7" y="336"/>
                  </a:lnTo>
                  <a:lnTo>
                    <a:pt x="15" y="331"/>
                  </a:lnTo>
                  <a:lnTo>
                    <a:pt x="4" y="236"/>
                  </a:lnTo>
                  <a:lnTo>
                    <a:pt x="11" y="228"/>
                  </a:lnTo>
                  <a:lnTo>
                    <a:pt x="17" y="205"/>
                  </a:lnTo>
                  <a:lnTo>
                    <a:pt x="21" y="148"/>
                  </a:lnTo>
                  <a:lnTo>
                    <a:pt x="21" y="127"/>
                  </a:lnTo>
                  <a:lnTo>
                    <a:pt x="40" y="122"/>
                  </a:lnTo>
                  <a:lnTo>
                    <a:pt x="17" y="112"/>
                  </a:lnTo>
                  <a:lnTo>
                    <a:pt x="13" y="55"/>
                  </a:lnTo>
                  <a:lnTo>
                    <a:pt x="2" y="42"/>
                  </a:lnTo>
                  <a:lnTo>
                    <a:pt x="0" y="23"/>
                  </a:lnTo>
                  <a:lnTo>
                    <a:pt x="23" y="29"/>
                  </a:lnTo>
                  <a:lnTo>
                    <a:pt x="61" y="31"/>
                  </a:lnTo>
                  <a:lnTo>
                    <a:pt x="51" y="19"/>
                  </a:lnTo>
                  <a:lnTo>
                    <a:pt x="59" y="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7" name="Freeform 293"/>
            <p:cNvSpPr>
              <a:spLocks/>
            </p:cNvSpPr>
            <p:nvPr/>
          </p:nvSpPr>
          <p:spPr bwMode="auto">
            <a:xfrm>
              <a:off x="336596" y="2428612"/>
              <a:ext cx="597574" cy="725189"/>
            </a:xfrm>
            <a:custGeom>
              <a:avLst/>
              <a:gdLst>
                <a:gd name="T0" fmla="*/ 2147483647 w 1097"/>
                <a:gd name="T1" fmla="*/ 2147483647 h 1165"/>
                <a:gd name="T2" fmla="*/ 2147483647 w 1097"/>
                <a:gd name="T3" fmla="*/ 2147483647 h 1165"/>
                <a:gd name="T4" fmla="*/ 2147483647 w 1097"/>
                <a:gd name="T5" fmla="*/ 2147483647 h 1165"/>
                <a:gd name="T6" fmla="*/ 2147483647 w 1097"/>
                <a:gd name="T7" fmla="*/ 2147483647 h 1165"/>
                <a:gd name="T8" fmla="*/ 2147483647 w 1097"/>
                <a:gd name="T9" fmla="*/ 2147483647 h 1165"/>
                <a:gd name="T10" fmla="*/ 2147483647 w 1097"/>
                <a:gd name="T11" fmla="*/ 2147483647 h 1165"/>
                <a:gd name="T12" fmla="*/ 2147483647 w 1097"/>
                <a:gd name="T13" fmla="*/ 2147483647 h 1165"/>
                <a:gd name="T14" fmla="*/ 2147483647 w 1097"/>
                <a:gd name="T15" fmla="*/ 2147483647 h 1165"/>
                <a:gd name="T16" fmla="*/ 2147483647 w 1097"/>
                <a:gd name="T17" fmla="*/ 2147483647 h 1165"/>
                <a:gd name="T18" fmla="*/ 2147483647 w 1097"/>
                <a:gd name="T19" fmla="*/ 2147483647 h 1165"/>
                <a:gd name="T20" fmla="*/ 2147483647 w 1097"/>
                <a:gd name="T21" fmla="*/ 2147483647 h 1165"/>
                <a:gd name="T22" fmla="*/ 2147483647 w 1097"/>
                <a:gd name="T23" fmla="*/ 2147483647 h 1165"/>
                <a:gd name="T24" fmla="*/ 2147483647 w 1097"/>
                <a:gd name="T25" fmla="*/ 2147483647 h 1165"/>
                <a:gd name="T26" fmla="*/ 2147483647 w 1097"/>
                <a:gd name="T27" fmla="*/ 2147483647 h 1165"/>
                <a:gd name="T28" fmla="*/ 2147483647 w 1097"/>
                <a:gd name="T29" fmla="*/ 2147483647 h 1165"/>
                <a:gd name="T30" fmla="*/ 2147483647 w 1097"/>
                <a:gd name="T31" fmla="*/ 2147483647 h 1165"/>
                <a:gd name="T32" fmla="*/ 2147483647 w 1097"/>
                <a:gd name="T33" fmla="*/ 2147483647 h 1165"/>
                <a:gd name="T34" fmla="*/ 2147483647 w 1097"/>
                <a:gd name="T35" fmla="*/ 2147483647 h 1165"/>
                <a:gd name="T36" fmla="*/ 2147483647 w 1097"/>
                <a:gd name="T37" fmla="*/ 2147483647 h 1165"/>
                <a:gd name="T38" fmla="*/ 2147483647 w 1097"/>
                <a:gd name="T39" fmla="*/ 2147483647 h 1165"/>
                <a:gd name="T40" fmla="*/ 2147483647 w 1097"/>
                <a:gd name="T41" fmla="*/ 2147483647 h 1165"/>
                <a:gd name="T42" fmla="*/ 2147483647 w 1097"/>
                <a:gd name="T43" fmla="*/ 2147483647 h 1165"/>
                <a:gd name="T44" fmla="*/ 2147483647 w 1097"/>
                <a:gd name="T45" fmla="*/ 2147483647 h 1165"/>
                <a:gd name="T46" fmla="*/ 2147483647 w 1097"/>
                <a:gd name="T47" fmla="*/ 2147483647 h 1165"/>
                <a:gd name="T48" fmla="*/ 2147483647 w 1097"/>
                <a:gd name="T49" fmla="*/ 2147483647 h 1165"/>
                <a:gd name="T50" fmla="*/ 2147483647 w 1097"/>
                <a:gd name="T51" fmla="*/ 2147483647 h 1165"/>
                <a:gd name="T52" fmla="*/ 2147483647 w 1097"/>
                <a:gd name="T53" fmla="*/ 2147483647 h 1165"/>
                <a:gd name="T54" fmla="*/ 2147483647 w 1097"/>
                <a:gd name="T55" fmla="*/ 2147483647 h 1165"/>
                <a:gd name="T56" fmla="*/ 2147483647 w 1097"/>
                <a:gd name="T57" fmla="*/ 2147483647 h 1165"/>
                <a:gd name="T58" fmla="*/ 2147483647 w 1097"/>
                <a:gd name="T59" fmla="*/ 2147483647 h 1165"/>
                <a:gd name="T60" fmla="*/ 2147483647 w 1097"/>
                <a:gd name="T61" fmla="*/ 2147483647 h 1165"/>
                <a:gd name="T62" fmla="*/ 2147483647 w 1097"/>
                <a:gd name="T63" fmla="*/ 2147483647 h 1165"/>
                <a:gd name="T64" fmla="*/ 2147483647 w 1097"/>
                <a:gd name="T65" fmla="*/ 2147483647 h 1165"/>
                <a:gd name="T66" fmla="*/ 2147483647 w 1097"/>
                <a:gd name="T67" fmla="*/ 2147483647 h 1165"/>
                <a:gd name="T68" fmla="*/ 2147483647 w 1097"/>
                <a:gd name="T69" fmla="*/ 2147483647 h 1165"/>
                <a:gd name="T70" fmla="*/ 2147483647 w 1097"/>
                <a:gd name="T71" fmla="*/ 2147483647 h 1165"/>
                <a:gd name="T72" fmla="*/ 2147483647 w 1097"/>
                <a:gd name="T73" fmla="*/ 2147483647 h 1165"/>
                <a:gd name="T74" fmla="*/ 2147483647 w 1097"/>
                <a:gd name="T75" fmla="*/ 2147483647 h 1165"/>
                <a:gd name="T76" fmla="*/ 2147483647 w 1097"/>
                <a:gd name="T77" fmla="*/ 2147483647 h 1165"/>
                <a:gd name="T78" fmla="*/ 2147483647 w 1097"/>
                <a:gd name="T79" fmla="*/ 2147483647 h 1165"/>
                <a:gd name="T80" fmla="*/ 2147483647 w 1097"/>
                <a:gd name="T81" fmla="*/ 2147483647 h 1165"/>
                <a:gd name="T82" fmla="*/ 2147483647 w 1097"/>
                <a:gd name="T83" fmla="*/ 2147483647 h 1165"/>
                <a:gd name="T84" fmla="*/ 2147483647 w 1097"/>
                <a:gd name="T85" fmla="*/ 2147483647 h 1165"/>
                <a:gd name="T86" fmla="*/ 2147483647 w 1097"/>
                <a:gd name="T87" fmla="*/ 2147483647 h 1165"/>
                <a:gd name="T88" fmla="*/ 2147483647 w 1097"/>
                <a:gd name="T89" fmla="*/ 2147483647 h 1165"/>
                <a:gd name="T90" fmla="*/ 2147483647 w 1097"/>
                <a:gd name="T91" fmla="*/ 2147483647 h 1165"/>
                <a:gd name="T92" fmla="*/ 2147483647 w 1097"/>
                <a:gd name="T93" fmla="*/ 2147483647 h 1165"/>
                <a:gd name="T94" fmla="*/ 2147483647 w 1097"/>
                <a:gd name="T95" fmla="*/ 0 h 1165"/>
                <a:gd name="T96" fmla="*/ 2147483647 w 1097"/>
                <a:gd name="T97" fmla="*/ 2147483647 h 1165"/>
                <a:gd name="T98" fmla="*/ 2147483647 w 1097"/>
                <a:gd name="T99" fmla="*/ 2147483647 h 1165"/>
                <a:gd name="T100" fmla="*/ 2147483647 w 1097"/>
                <a:gd name="T101" fmla="*/ 2147483647 h 1165"/>
                <a:gd name="T102" fmla="*/ 2147483647 w 1097"/>
                <a:gd name="T103" fmla="*/ 2147483647 h 1165"/>
                <a:gd name="T104" fmla="*/ 2147483647 w 1097"/>
                <a:gd name="T105" fmla="*/ 2147483647 h 116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97"/>
                <a:gd name="T160" fmla="*/ 0 h 1165"/>
                <a:gd name="T161" fmla="*/ 1097 w 1097"/>
                <a:gd name="T162" fmla="*/ 1165 h 116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97" h="1165">
                  <a:moveTo>
                    <a:pt x="778" y="185"/>
                  </a:moveTo>
                  <a:lnTo>
                    <a:pt x="781" y="851"/>
                  </a:lnTo>
                  <a:lnTo>
                    <a:pt x="789" y="859"/>
                  </a:lnTo>
                  <a:lnTo>
                    <a:pt x="808" y="857"/>
                  </a:lnTo>
                  <a:lnTo>
                    <a:pt x="819" y="844"/>
                  </a:lnTo>
                  <a:lnTo>
                    <a:pt x="831" y="848"/>
                  </a:lnTo>
                  <a:lnTo>
                    <a:pt x="837" y="859"/>
                  </a:lnTo>
                  <a:lnTo>
                    <a:pt x="869" y="897"/>
                  </a:lnTo>
                  <a:lnTo>
                    <a:pt x="873" y="914"/>
                  </a:lnTo>
                  <a:lnTo>
                    <a:pt x="897" y="901"/>
                  </a:lnTo>
                  <a:lnTo>
                    <a:pt x="920" y="880"/>
                  </a:lnTo>
                  <a:lnTo>
                    <a:pt x="945" y="874"/>
                  </a:lnTo>
                  <a:lnTo>
                    <a:pt x="977" y="903"/>
                  </a:lnTo>
                  <a:lnTo>
                    <a:pt x="1015" y="969"/>
                  </a:lnTo>
                  <a:lnTo>
                    <a:pt x="1040" y="1022"/>
                  </a:lnTo>
                  <a:lnTo>
                    <a:pt x="1076" y="1060"/>
                  </a:lnTo>
                  <a:lnTo>
                    <a:pt x="1093" y="1064"/>
                  </a:lnTo>
                  <a:lnTo>
                    <a:pt x="1097" y="1079"/>
                  </a:lnTo>
                  <a:lnTo>
                    <a:pt x="1091" y="1091"/>
                  </a:lnTo>
                  <a:lnTo>
                    <a:pt x="1091" y="1125"/>
                  </a:lnTo>
                  <a:lnTo>
                    <a:pt x="1084" y="1136"/>
                  </a:lnTo>
                  <a:lnTo>
                    <a:pt x="1074" y="1112"/>
                  </a:lnTo>
                  <a:lnTo>
                    <a:pt x="1059" y="1125"/>
                  </a:lnTo>
                  <a:lnTo>
                    <a:pt x="1040" y="1095"/>
                  </a:lnTo>
                  <a:lnTo>
                    <a:pt x="1038" y="1079"/>
                  </a:lnTo>
                  <a:lnTo>
                    <a:pt x="1027" y="1064"/>
                  </a:lnTo>
                  <a:lnTo>
                    <a:pt x="1034" y="1038"/>
                  </a:lnTo>
                  <a:lnTo>
                    <a:pt x="1004" y="1013"/>
                  </a:lnTo>
                  <a:lnTo>
                    <a:pt x="998" y="969"/>
                  </a:lnTo>
                  <a:lnTo>
                    <a:pt x="987" y="954"/>
                  </a:lnTo>
                  <a:lnTo>
                    <a:pt x="979" y="958"/>
                  </a:lnTo>
                  <a:lnTo>
                    <a:pt x="989" y="986"/>
                  </a:lnTo>
                  <a:lnTo>
                    <a:pt x="971" y="1013"/>
                  </a:lnTo>
                  <a:lnTo>
                    <a:pt x="970" y="975"/>
                  </a:lnTo>
                  <a:lnTo>
                    <a:pt x="956" y="954"/>
                  </a:lnTo>
                  <a:lnTo>
                    <a:pt x="962" y="939"/>
                  </a:lnTo>
                  <a:lnTo>
                    <a:pt x="956" y="901"/>
                  </a:lnTo>
                  <a:lnTo>
                    <a:pt x="949" y="901"/>
                  </a:lnTo>
                  <a:lnTo>
                    <a:pt x="954" y="925"/>
                  </a:lnTo>
                  <a:lnTo>
                    <a:pt x="945" y="950"/>
                  </a:lnTo>
                  <a:lnTo>
                    <a:pt x="930" y="944"/>
                  </a:lnTo>
                  <a:lnTo>
                    <a:pt x="932" y="931"/>
                  </a:lnTo>
                  <a:lnTo>
                    <a:pt x="911" y="908"/>
                  </a:lnTo>
                  <a:lnTo>
                    <a:pt x="905" y="912"/>
                  </a:lnTo>
                  <a:lnTo>
                    <a:pt x="920" y="935"/>
                  </a:lnTo>
                  <a:lnTo>
                    <a:pt x="909" y="946"/>
                  </a:lnTo>
                  <a:lnTo>
                    <a:pt x="871" y="924"/>
                  </a:lnTo>
                  <a:lnTo>
                    <a:pt x="819" y="893"/>
                  </a:lnTo>
                  <a:lnTo>
                    <a:pt x="831" y="855"/>
                  </a:lnTo>
                  <a:lnTo>
                    <a:pt x="806" y="874"/>
                  </a:lnTo>
                  <a:lnTo>
                    <a:pt x="766" y="867"/>
                  </a:lnTo>
                  <a:lnTo>
                    <a:pt x="730" y="851"/>
                  </a:lnTo>
                  <a:lnTo>
                    <a:pt x="694" y="859"/>
                  </a:lnTo>
                  <a:lnTo>
                    <a:pt x="679" y="836"/>
                  </a:lnTo>
                  <a:lnTo>
                    <a:pt x="679" y="819"/>
                  </a:lnTo>
                  <a:lnTo>
                    <a:pt x="669" y="836"/>
                  </a:lnTo>
                  <a:lnTo>
                    <a:pt x="648" y="838"/>
                  </a:lnTo>
                  <a:lnTo>
                    <a:pt x="616" y="800"/>
                  </a:lnTo>
                  <a:lnTo>
                    <a:pt x="597" y="810"/>
                  </a:lnTo>
                  <a:lnTo>
                    <a:pt x="580" y="796"/>
                  </a:lnTo>
                  <a:lnTo>
                    <a:pt x="572" y="802"/>
                  </a:lnTo>
                  <a:lnTo>
                    <a:pt x="580" y="829"/>
                  </a:lnTo>
                  <a:lnTo>
                    <a:pt x="595" y="821"/>
                  </a:lnTo>
                  <a:lnTo>
                    <a:pt x="599" y="834"/>
                  </a:lnTo>
                  <a:lnTo>
                    <a:pt x="614" y="838"/>
                  </a:lnTo>
                  <a:lnTo>
                    <a:pt x="608" y="867"/>
                  </a:lnTo>
                  <a:lnTo>
                    <a:pt x="548" y="867"/>
                  </a:lnTo>
                  <a:lnTo>
                    <a:pt x="525" y="897"/>
                  </a:lnTo>
                  <a:lnTo>
                    <a:pt x="515" y="887"/>
                  </a:lnTo>
                  <a:lnTo>
                    <a:pt x="489" y="906"/>
                  </a:lnTo>
                  <a:lnTo>
                    <a:pt x="466" y="906"/>
                  </a:lnTo>
                  <a:lnTo>
                    <a:pt x="487" y="880"/>
                  </a:lnTo>
                  <a:lnTo>
                    <a:pt x="468" y="880"/>
                  </a:lnTo>
                  <a:lnTo>
                    <a:pt x="470" y="859"/>
                  </a:lnTo>
                  <a:lnTo>
                    <a:pt x="489" y="823"/>
                  </a:lnTo>
                  <a:lnTo>
                    <a:pt x="483" y="810"/>
                  </a:lnTo>
                  <a:lnTo>
                    <a:pt x="513" y="785"/>
                  </a:lnTo>
                  <a:lnTo>
                    <a:pt x="550" y="794"/>
                  </a:lnTo>
                  <a:lnTo>
                    <a:pt x="536" y="775"/>
                  </a:lnTo>
                  <a:lnTo>
                    <a:pt x="508" y="770"/>
                  </a:lnTo>
                  <a:lnTo>
                    <a:pt x="483" y="789"/>
                  </a:lnTo>
                  <a:lnTo>
                    <a:pt x="443" y="870"/>
                  </a:lnTo>
                  <a:lnTo>
                    <a:pt x="424" y="874"/>
                  </a:lnTo>
                  <a:lnTo>
                    <a:pt x="413" y="901"/>
                  </a:lnTo>
                  <a:lnTo>
                    <a:pt x="441" y="908"/>
                  </a:lnTo>
                  <a:lnTo>
                    <a:pt x="382" y="988"/>
                  </a:lnTo>
                  <a:lnTo>
                    <a:pt x="354" y="1032"/>
                  </a:lnTo>
                  <a:lnTo>
                    <a:pt x="322" y="1036"/>
                  </a:lnTo>
                  <a:lnTo>
                    <a:pt x="270" y="1081"/>
                  </a:lnTo>
                  <a:lnTo>
                    <a:pt x="263" y="1072"/>
                  </a:lnTo>
                  <a:lnTo>
                    <a:pt x="247" y="1095"/>
                  </a:lnTo>
                  <a:lnTo>
                    <a:pt x="249" y="1074"/>
                  </a:lnTo>
                  <a:lnTo>
                    <a:pt x="187" y="1129"/>
                  </a:lnTo>
                  <a:lnTo>
                    <a:pt x="171" y="1117"/>
                  </a:lnTo>
                  <a:lnTo>
                    <a:pt x="152" y="1123"/>
                  </a:lnTo>
                  <a:lnTo>
                    <a:pt x="162" y="1140"/>
                  </a:lnTo>
                  <a:lnTo>
                    <a:pt x="113" y="1165"/>
                  </a:lnTo>
                  <a:lnTo>
                    <a:pt x="105" y="1144"/>
                  </a:lnTo>
                  <a:lnTo>
                    <a:pt x="122" y="1123"/>
                  </a:lnTo>
                  <a:lnTo>
                    <a:pt x="145" y="1119"/>
                  </a:lnTo>
                  <a:lnTo>
                    <a:pt x="168" y="1089"/>
                  </a:lnTo>
                  <a:lnTo>
                    <a:pt x="185" y="1060"/>
                  </a:lnTo>
                  <a:lnTo>
                    <a:pt x="208" y="1057"/>
                  </a:lnTo>
                  <a:lnTo>
                    <a:pt x="211" y="1087"/>
                  </a:lnTo>
                  <a:lnTo>
                    <a:pt x="227" y="1079"/>
                  </a:lnTo>
                  <a:lnTo>
                    <a:pt x="227" y="1055"/>
                  </a:lnTo>
                  <a:lnTo>
                    <a:pt x="261" y="1032"/>
                  </a:lnTo>
                  <a:lnTo>
                    <a:pt x="282" y="1032"/>
                  </a:lnTo>
                  <a:lnTo>
                    <a:pt x="285" y="1019"/>
                  </a:lnTo>
                  <a:lnTo>
                    <a:pt x="322" y="996"/>
                  </a:lnTo>
                  <a:lnTo>
                    <a:pt x="337" y="969"/>
                  </a:lnTo>
                  <a:lnTo>
                    <a:pt x="339" y="927"/>
                  </a:lnTo>
                  <a:lnTo>
                    <a:pt x="342" y="901"/>
                  </a:lnTo>
                  <a:lnTo>
                    <a:pt x="314" y="943"/>
                  </a:lnTo>
                  <a:lnTo>
                    <a:pt x="291" y="937"/>
                  </a:lnTo>
                  <a:lnTo>
                    <a:pt x="293" y="962"/>
                  </a:lnTo>
                  <a:lnTo>
                    <a:pt x="284" y="967"/>
                  </a:lnTo>
                  <a:lnTo>
                    <a:pt x="257" y="918"/>
                  </a:lnTo>
                  <a:lnTo>
                    <a:pt x="242" y="910"/>
                  </a:lnTo>
                  <a:lnTo>
                    <a:pt x="211" y="920"/>
                  </a:lnTo>
                  <a:lnTo>
                    <a:pt x="198" y="937"/>
                  </a:lnTo>
                  <a:lnTo>
                    <a:pt x="173" y="937"/>
                  </a:lnTo>
                  <a:lnTo>
                    <a:pt x="185" y="924"/>
                  </a:lnTo>
                  <a:lnTo>
                    <a:pt x="189" y="887"/>
                  </a:lnTo>
                  <a:lnTo>
                    <a:pt x="196" y="869"/>
                  </a:lnTo>
                  <a:lnTo>
                    <a:pt x="177" y="844"/>
                  </a:lnTo>
                  <a:lnTo>
                    <a:pt x="171" y="855"/>
                  </a:lnTo>
                  <a:lnTo>
                    <a:pt x="124" y="867"/>
                  </a:lnTo>
                  <a:lnTo>
                    <a:pt x="109" y="823"/>
                  </a:lnTo>
                  <a:lnTo>
                    <a:pt x="101" y="831"/>
                  </a:lnTo>
                  <a:lnTo>
                    <a:pt x="94" y="812"/>
                  </a:lnTo>
                  <a:lnTo>
                    <a:pt x="109" y="787"/>
                  </a:lnTo>
                  <a:lnTo>
                    <a:pt x="97" y="783"/>
                  </a:lnTo>
                  <a:lnTo>
                    <a:pt x="101" y="764"/>
                  </a:lnTo>
                  <a:lnTo>
                    <a:pt x="92" y="774"/>
                  </a:lnTo>
                  <a:lnTo>
                    <a:pt x="75" y="739"/>
                  </a:lnTo>
                  <a:lnTo>
                    <a:pt x="107" y="688"/>
                  </a:lnTo>
                  <a:lnTo>
                    <a:pt x="124" y="652"/>
                  </a:lnTo>
                  <a:lnTo>
                    <a:pt x="139" y="650"/>
                  </a:lnTo>
                  <a:lnTo>
                    <a:pt x="162" y="665"/>
                  </a:lnTo>
                  <a:lnTo>
                    <a:pt x="185" y="644"/>
                  </a:lnTo>
                  <a:lnTo>
                    <a:pt x="196" y="648"/>
                  </a:lnTo>
                  <a:lnTo>
                    <a:pt x="223" y="631"/>
                  </a:lnTo>
                  <a:lnTo>
                    <a:pt x="202" y="580"/>
                  </a:lnTo>
                  <a:lnTo>
                    <a:pt x="223" y="572"/>
                  </a:lnTo>
                  <a:lnTo>
                    <a:pt x="211" y="548"/>
                  </a:lnTo>
                  <a:lnTo>
                    <a:pt x="168" y="574"/>
                  </a:lnTo>
                  <a:lnTo>
                    <a:pt x="158" y="597"/>
                  </a:lnTo>
                  <a:lnTo>
                    <a:pt x="75" y="584"/>
                  </a:lnTo>
                  <a:lnTo>
                    <a:pt x="46" y="542"/>
                  </a:lnTo>
                  <a:lnTo>
                    <a:pt x="69" y="525"/>
                  </a:lnTo>
                  <a:lnTo>
                    <a:pt x="21" y="517"/>
                  </a:lnTo>
                  <a:lnTo>
                    <a:pt x="0" y="500"/>
                  </a:lnTo>
                  <a:lnTo>
                    <a:pt x="54" y="454"/>
                  </a:lnTo>
                  <a:lnTo>
                    <a:pt x="69" y="454"/>
                  </a:lnTo>
                  <a:lnTo>
                    <a:pt x="57" y="468"/>
                  </a:lnTo>
                  <a:lnTo>
                    <a:pt x="86" y="466"/>
                  </a:lnTo>
                  <a:lnTo>
                    <a:pt x="75" y="449"/>
                  </a:lnTo>
                  <a:lnTo>
                    <a:pt x="97" y="437"/>
                  </a:lnTo>
                  <a:lnTo>
                    <a:pt x="139" y="437"/>
                  </a:lnTo>
                  <a:lnTo>
                    <a:pt x="143" y="470"/>
                  </a:lnTo>
                  <a:lnTo>
                    <a:pt x="213" y="470"/>
                  </a:lnTo>
                  <a:lnTo>
                    <a:pt x="200" y="447"/>
                  </a:lnTo>
                  <a:lnTo>
                    <a:pt x="187" y="456"/>
                  </a:lnTo>
                  <a:lnTo>
                    <a:pt x="164" y="401"/>
                  </a:lnTo>
                  <a:lnTo>
                    <a:pt x="175" y="396"/>
                  </a:lnTo>
                  <a:lnTo>
                    <a:pt x="194" y="435"/>
                  </a:lnTo>
                  <a:lnTo>
                    <a:pt x="206" y="437"/>
                  </a:lnTo>
                  <a:lnTo>
                    <a:pt x="230" y="454"/>
                  </a:lnTo>
                  <a:lnTo>
                    <a:pt x="242" y="445"/>
                  </a:lnTo>
                  <a:lnTo>
                    <a:pt x="230" y="428"/>
                  </a:lnTo>
                  <a:lnTo>
                    <a:pt x="204" y="430"/>
                  </a:lnTo>
                  <a:lnTo>
                    <a:pt x="194" y="411"/>
                  </a:lnTo>
                  <a:lnTo>
                    <a:pt x="200" y="392"/>
                  </a:lnTo>
                  <a:lnTo>
                    <a:pt x="135" y="384"/>
                  </a:lnTo>
                  <a:lnTo>
                    <a:pt x="135" y="356"/>
                  </a:lnTo>
                  <a:lnTo>
                    <a:pt x="124" y="331"/>
                  </a:lnTo>
                  <a:lnTo>
                    <a:pt x="78" y="302"/>
                  </a:lnTo>
                  <a:lnTo>
                    <a:pt x="52" y="297"/>
                  </a:lnTo>
                  <a:lnTo>
                    <a:pt x="61" y="253"/>
                  </a:lnTo>
                  <a:lnTo>
                    <a:pt x="84" y="251"/>
                  </a:lnTo>
                  <a:lnTo>
                    <a:pt x="145" y="213"/>
                  </a:lnTo>
                  <a:lnTo>
                    <a:pt x="143" y="185"/>
                  </a:lnTo>
                  <a:lnTo>
                    <a:pt x="158" y="151"/>
                  </a:lnTo>
                  <a:lnTo>
                    <a:pt x="173" y="147"/>
                  </a:lnTo>
                  <a:lnTo>
                    <a:pt x="187" y="111"/>
                  </a:lnTo>
                  <a:lnTo>
                    <a:pt x="194" y="128"/>
                  </a:lnTo>
                  <a:lnTo>
                    <a:pt x="204" y="107"/>
                  </a:lnTo>
                  <a:lnTo>
                    <a:pt x="263" y="63"/>
                  </a:lnTo>
                  <a:lnTo>
                    <a:pt x="274" y="71"/>
                  </a:lnTo>
                  <a:lnTo>
                    <a:pt x="312" y="56"/>
                  </a:lnTo>
                  <a:lnTo>
                    <a:pt x="344" y="0"/>
                  </a:lnTo>
                  <a:lnTo>
                    <a:pt x="377" y="12"/>
                  </a:lnTo>
                  <a:lnTo>
                    <a:pt x="354" y="65"/>
                  </a:lnTo>
                  <a:lnTo>
                    <a:pt x="382" y="61"/>
                  </a:lnTo>
                  <a:lnTo>
                    <a:pt x="379" y="46"/>
                  </a:lnTo>
                  <a:lnTo>
                    <a:pt x="386" y="18"/>
                  </a:lnTo>
                  <a:lnTo>
                    <a:pt x="398" y="18"/>
                  </a:lnTo>
                  <a:lnTo>
                    <a:pt x="401" y="61"/>
                  </a:lnTo>
                  <a:lnTo>
                    <a:pt x="447" y="71"/>
                  </a:lnTo>
                  <a:lnTo>
                    <a:pt x="439" y="97"/>
                  </a:lnTo>
                  <a:lnTo>
                    <a:pt x="466" y="88"/>
                  </a:lnTo>
                  <a:lnTo>
                    <a:pt x="464" y="107"/>
                  </a:lnTo>
                  <a:lnTo>
                    <a:pt x="489" y="116"/>
                  </a:lnTo>
                  <a:lnTo>
                    <a:pt x="491" y="135"/>
                  </a:lnTo>
                  <a:lnTo>
                    <a:pt x="504" y="126"/>
                  </a:lnTo>
                  <a:lnTo>
                    <a:pt x="529" y="118"/>
                  </a:lnTo>
                  <a:lnTo>
                    <a:pt x="565" y="128"/>
                  </a:lnTo>
                  <a:lnTo>
                    <a:pt x="605" y="151"/>
                  </a:lnTo>
                  <a:lnTo>
                    <a:pt x="624" y="143"/>
                  </a:lnTo>
                  <a:lnTo>
                    <a:pt x="666" y="164"/>
                  </a:lnTo>
                  <a:lnTo>
                    <a:pt x="692" y="143"/>
                  </a:lnTo>
                  <a:lnTo>
                    <a:pt x="745" y="175"/>
                  </a:lnTo>
                  <a:lnTo>
                    <a:pt x="778" y="18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8" name="Freeform 294"/>
            <p:cNvSpPr>
              <a:spLocks/>
            </p:cNvSpPr>
            <p:nvPr/>
          </p:nvSpPr>
          <p:spPr bwMode="auto">
            <a:xfrm>
              <a:off x="1799661" y="3497189"/>
              <a:ext cx="33076" cy="18624"/>
            </a:xfrm>
            <a:custGeom>
              <a:avLst/>
              <a:gdLst>
                <a:gd name="T0" fmla="*/ 0 w 60"/>
                <a:gd name="T1" fmla="*/ 2147483647 h 28"/>
                <a:gd name="T2" fmla="*/ 2147483647 w 60"/>
                <a:gd name="T3" fmla="*/ 2147483647 h 28"/>
                <a:gd name="T4" fmla="*/ 2147483647 w 60"/>
                <a:gd name="T5" fmla="*/ 0 h 28"/>
                <a:gd name="T6" fmla="*/ 2147483647 w 60"/>
                <a:gd name="T7" fmla="*/ 2147483647 h 28"/>
                <a:gd name="T8" fmla="*/ 2147483647 w 60"/>
                <a:gd name="T9" fmla="*/ 2147483647 h 28"/>
                <a:gd name="T10" fmla="*/ 2147483647 w 60"/>
                <a:gd name="T11" fmla="*/ 2147483647 h 28"/>
                <a:gd name="T12" fmla="*/ 0 w 60"/>
                <a:gd name="T13" fmla="*/ 2147483647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0"/>
                <a:gd name="T22" fmla="*/ 0 h 28"/>
                <a:gd name="T23" fmla="*/ 60 w 6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0" h="28">
                  <a:moveTo>
                    <a:pt x="0" y="22"/>
                  </a:moveTo>
                  <a:lnTo>
                    <a:pt x="19" y="11"/>
                  </a:lnTo>
                  <a:lnTo>
                    <a:pt x="55" y="0"/>
                  </a:lnTo>
                  <a:lnTo>
                    <a:pt x="60" y="7"/>
                  </a:lnTo>
                  <a:lnTo>
                    <a:pt x="28" y="24"/>
                  </a:lnTo>
                  <a:lnTo>
                    <a:pt x="9" y="28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19" name="Freeform 295"/>
            <p:cNvSpPr>
              <a:spLocks/>
            </p:cNvSpPr>
            <p:nvPr/>
          </p:nvSpPr>
          <p:spPr bwMode="auto">
            <a:xfrm>
              <a:off x="530643" y="3941847"/>
              <a:ext cx="18743" cy="20952"/>
            </a:xfrm>
            <a:custGeom>
              <a:avLst/>
              <a:gdLst>
                <a:gd name="T0" fmla="*/ 2147483647 w 34"/>
                <a:gd name="T1" fmla="*/ 0 h 32"/>
                <a:gd name="T2" fmla="*/ 2147483647 w 34"/>
                <a:gd name="T3" fmla="*/ 2147483647 h 32"/>
                <a:gd name="T4" fmla="*/ 2147483647 w 34"/>
                <a:gd name="T5" fmla="*/ 2147483647 h 32"/>
                <a:gd name="T6" fmla="*/ 2147483647 w 34"/>
                <a:gd name="T7" fmla="*/ 2147483647 h 32"/>
                <a:gd name="T8" fmla="*/ 2147483647 w 34"/>
                <a:gd name="T9" fmla="*/ 2147483647 h 32"/>
                <a:gd name="T10" fmla="*/ 0 w 34"/>
                <a:gd name="T11" fmla="*/ 2147483647 h 32"/>
                <a:gd name="T12" fmla="*/ 2147483647 w 34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2"/>
                <a:gd name="T23" fmla="*/ 34 w 3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2">
                  <a:moveTo>
                    <a:pt x="7" y="0"/>
                  </a:moveTo>
                  <a:lnTo>
                    <a:pt x="26" y="7"/>
                  </a:lnTo>
                  <a:lnTo>
                    <a:pt x="34" y="23"/>
                  </a:lnTo>
                  <a:lnTo>
                    <a:pt x="23" y="32"/>
                  </a:lnTo>
                  <a:lnTo>
                    <a:pt x="13" y="30"/>
                  </a:lnTo>
                  <a:lnTo>
                    <a:pt x="0" y="1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0" name="Freeform 296"/>
            <p:cNvSpPr>
              <a:spLocks/>
            </p:cNvSpPr>
            <p:nvPr/>
          </p:nvSpPr>
          <p:spPr bwMode="auto">
            <a:xfrm>
              <a:off x="493156" y="3918567"/>
              <a:ext cx="12128" cy="13968"/>
            </a:xfrm>
            <a:custGeom>
              <a:avLst/>
              <a:gdLst>
                <a:gd name="T0" fmla="*/ 2147483647 w 23"/>
                <a:gd name="T1" fmla="*/ 0 h 21"/>
                <a:gd name="T2" fmla="*/ 2147483647 w 23"/>
                <a:gd name="T3" fmla="*/ 2147483647 h 21"/>
                <a:gd name="T4" fmla="*/ 2147483647 w 23"/>
                <a:gd name="T5" fmla="*/ 2147483647 h 21"/>
                <a:gd name="T6" fmla="*/ 2147483647 w 23"/>
                <a:gd name="T7" fmla="*/ 2147483647 h 21"/>
                <a:gd name="T8" fmla="*/ 0 w 23"/>
                <a:gd name="T9" fmla="*/ 2147483647 h 21"/>
                <a:gd name="T10" fmla="*/ 2147483647 w 23"/>
                <a:gd name="T11" fmla="*/ 0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21"/>
                <a:gd name="T20" fmla="*/ 23 w 23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21">
                  <a:moveTo>
                    <a:pt x="12" y="0"/>
                  </a:moveTo>
                  <a:lnTo>
                    <a:pt x="23" y="7"/>
                  </a:lnTo>
                  <a:lnTo>
                    <a:pt x="19" y="21"/>
                  </a:lnTo>
                  <a:lnTo>
                    <a:pt x="8" y="21"/>
                  </a:lnTo>
                  <a:lnTo>
                    <a:pt x="0" y="9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1" name="Freeform 297"/>
            <p:cNvSpPr>
              <a:spLocks/>
            </p:cNvSpPr>
            <p:nvPr/>
          </p:nvSpPr>
          <p:spPr bwMode="auto">
            <a:xfrm>
              <a:off x="473311" y="3908090"/>
              <a:ext cx="6615" cy="10476"/>
            </a:xfrm>
            <a:custGeom>
              <a:avLst/>
              <a:gdLst>
                <a:gd name="T0" fmla="*/ 0 w 16"/>
                <a:gd name="T1" fmla="*/ 2147483647 h 17"/>
                <a:gd name="T2" fmla="*/ 2147483647 w 16"/>
                <a:gd name="T3" fmla="*/ 0 h 17"/>
                <a:gd name="T4" fmla="*/ 2147483647 w 16"/>
                <a:gd name="T5" fmla="*/ 2147483647 h 17"/>
                <a:gd name="T6" fmla="*/ 2147483647 w 16"/>
                <a:gd name="T7" fmla="*/ 2147483647 h 17"/>
                <a:gd name="T8" fmla="*/ 0 w 16"/>
                <a:gd name="T9" fmla="*/ 214748364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7"/>
                <a:gd name="T17" fmla="*/ 16 w 1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7">
                  <a:moveTo>
                    <a:pt x="0" y="4"/>
                  </a:moveTo>
                  <a:lnTo>
                    <a:pt x="16" y="0"/>
                  </a:lnTo>
                  <a:lnTo>
                    <a:pt x="16" y="9"/>
                  </a:lnTo>
                  <a:lnTo>
                    <a:pt x="6" y="1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2" name="Freeform 298"/>
            <p:cNvSpPr>
              <a:spLocks/>
            </p:cNvSpPr>
            <p:nvPr/>
          </p:nvSpPr>
          <p:spPr bwMode="auto">
            <a:xfrm>
              <a:off x="876839" y="3083959"/>
              <a:ext cx="27564" cy="55873"/>
            </a:xfrm>
            <a:custGeom>
              <a:avLst/>
              <a:gdLst>
                <a:gd name="T0" fmla="*/ 2147483647 w 52"/>
                <a:gd name="T1" fmla="*/ 2147483647 h 89"/>
                <a:gd name="T2" fmla="*/ 2147483647 w 52"/>
                <a:gd name="T3" fmla="*/ 2147483647 h 89"/>
                <a:gd name="T4" fmla="*/ 2147483647 w 52"/>
                <a:gd name="T5" fmla="*/ 2147483647 h 89"/>
                <a:gd name="T6" fmla="*/ 2147483647 w 52"/>
                <a:gd name="T7" fmla="*/ 2147483647 h 89"/>
                <a:gd name="T8" fmla="*/ 2147483647 w 52"/>
                <a:gd name="T9" fmla="*/ 2147483647 h 89"/>
                <a:gd name="T10" fmla="*/ 2147483647 w 52"/>
                <a:gd name="T11" fmla="*/ 2147483647 h 89"/>
                <a:gd name="T12" fmla="*/ 2147483647 w 52"/>
                <a:gd name="T13" fmla="*/ 2147483647 h 89"/>
                <a:gd name="T14" fmla="*/ 0 w 52"/>
                <a:gd name="T15" fmla="*/ 2147483647 h 89"/>
                <a:gd name="T16" fmla="*/ 2147483647 w 52"/>
                <a:gd name="T17" fmla="*/ 0 h 89"/>
                <a:gd name="T18" fmla="*/ 2147483647 w 52"/>
                <a:gd name="T19" fmla="*/ 2147483647 h 89"/>
                <a:gd name="T20" fmla="*/ 2147483647 w 52"/>
                <a:gd name="T21" fmla="*/ 2147483647 h 89"/>
                <a:gd name="T22" fmla="*/ 2147483647 w 52"/>
                <a:gd name="T23" fmla="*/ 2147483647 h 89"/>
                <a:gd name="T24" fmla="*/ 2147483647 w 52"/>
                <a:gd name="T25" fmla="*/ 2147483647 h 8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2"/>
                <a:gd name="T40" fmla="*/ 0 h 89"/>
                <a:gd name="T41" fmla="*/ 52 w 52"/>
                <a:gd name="T42" fmla="*/ 89 h 8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2" h="89">
                  <a:moveTo>
                    <a:pt x="52" y="64"/>
                  </a:moveTo>
                  <a:lnTo>
                    <a:pt x="50" y="89"/>
                  </a:lnTo>
                  <a:lnTo>
                    <a:pt x="33" y="66"/>
                  </a:lnTo>
                  <a:lnTo>
                    <a:pt x="21" y="89"/>
                  </a:lnTo>
                  <a:lnTo>
                    <a:pt x="14" y="64"/>
                  </a:lnTo>
                  <a:lnTo>
                    <a:pt x="21" y="57"/>
                  </a:lnTo>
                  <a:lnTo>
                    <a:pt x="8" y="21"/>
                  </a:lnTo>
                  <a:lnTo>
                    <a:pt x="0" y="21"/>
                  </a:lnTo>
                  <a:lnTo>
                    <a:pt x="8" y="0"/>
                  </a:lnTo>
                  <a:lnTo>
                    <a:pt x="19" y="5"/>
                  </a:lnTo>
                  <a:lnTo>
                    <a:pt x="42" y="45"/>
                  </a:lnTo>
                  <a:lnTo>
                    <a:pt x="38" y="55"/>
                  </a:lnTo>
                  <a:lnTo>
                    <a:pt x="52" y="6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3" name="Freeform 299"/>
            <p:cNvSpPr>
              <a:spLocks/>
            </p:cNvSpPr>
            <p:nvPr/>
          </p:nvSpPr>
          <p:spPr bwMode="auto">
            <a:xfrm>
              <a:off x="834942" y="3022266"/>
              <a:ext cx="28666" cy="65186"/>
            </a:xfrm>
            <a:custGeom>
              <a:avLst/>
              <a:gdLst>
                <a:gd name="T0" fmla="*/ 2147483647 w 52"/>
                <a:gd name="T1" fmla="*/ 0 h 104"/>
                <a:gd name="T2" fmla="*/ 2147483647 w 52"/>
                <a:gd name="T3" fmla="*/ 0 h 104"/>
                <a:gd name="T4" fmla="*/ 2147483647 w 52"/>
                <a:gd name="T5" fmla="*/ 2147483647 h 104"/>
                <a:gd name="T6" fmla="*/ 2147483647 w 52"/>
                <a:gd name="T7" fmla="*/ 2147483647 h 104"/>
                <a:gd name="T8" fmla="*/ 2147483647 w 52"/>
                <a:gd name="T9" fmla="*/ 2147483647 h 104"/>
                <a:gd name="T10" fmla="*/ 2147483647 w 52"/>
                <a:gd name="T11" fmla="*/ 2147483647 h 104"/>
                <a:gd name="T12" fmla="*/ 2147483647 w 52"/>
                <a:gd name="T13" fmla="*/ 2147483647 h 104"/>
                <a:gd name="T14" fmla="*/ 2147483647 w 52"/>
                <a:gd name="T15" fmla="*/ 2147483647 h 104"/>
                <a:gd name="T16" fmla="*/ 2147483647 w 52"/>
                <a:gd name="T17" fmla="*/ 2147483647 h 104"/>
                <a:gd name="T18" fmla="*/ 2147483647 w 52"/>
                <a:gd name="T19" fmla="*/ 2147483647 h 104"/>
                <a:gd name="T20" fmla="*/ 2147483647 w 52"/>
                <a:gd name="T21" fmla="*/ 2147483647 h 104"/>
                <a:gd name="T22" fmla="*/ 2147483647 w 52"/>
                <a:gd name="T23" fmla="*/ 2147483647 h 104"/>
                <a:gd name="T24" fmla="*/ 0 w 52"/>
                <a:gd name="T25" fmla="*/ 2147483647 h 104"/>
                <a:gd name="T26" fmla="*/ 2147483647 w 52"/>
                <a:gd name="T27" fmla="*/ 0 h 10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104"/>
                <a:gd name="T44" fmla="*/ 52 w 52"/>
                <a:gd name="T45" fmla="*/ 104 h 10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104">
                  <a:moveTo>
                    <a:pt x="2" y="0"/>
                  </a:moveTo>
                  <a:lnTo>
                    <a:pt x="21" y="0"/>
                  </a:lnTo>
                  <a:lnTo>
                    <a:pt x="42" y="11"/>
                  </a:lnTo>
                  <a:lnTo>
                    <a:pt x="46" y="63"/>
                  </a:lnTo>
                  <a:lnTo>
                    <a:pt x="52" y="78"/>
                  </a:lnTo>
                  <a:lnTo>
                    <a:pt x="50" y="104"/>
                  </a:lnTo>
                  <a:lnTo>
                    <a:pt x="31" y="80"/>
                  </a:lnTo>
                  <a:lnTo>
                    <a:pt x="37" y="70"/>
                  </a:lnTo>
                  <a:lnTo>
                    <a:pt x="31" y="51"/>
                  </a:lnTo>
                  <a:lnTo>
                    <a:pt x="23" y="66"/>
                  </a:lnTo>
                  <a:lnTo>
                    <a:pt x="14" y="65"/>
                  </a:lnTo>
                  <a:lnTo>
                    <a:pt x="19" y="46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4" name="Freeform 300"/>
            <p:cNvSpPr>
              <a:spLocks/>
            </p:cNvSpPr>
            <p:nvPr/>
          </p:nvSpPr>
          <p:spPr bwMode="auto">
            <a:xfrm>
              <a:off x="868019" y="3057187"/>
              <a:ext cx="25359" cy="36084"/>
            </a:xfrm>
            <a:custGeom>
              <a:avLst/>
              <a:gdLst>
                <a:gd name="T0" fmla="*/ 0 w 50"/>
                <a:gd name="T1" fmla="*/ 2147483647 h 59"/>
                <a:gd name="T2" fmla="*/ 2147483647 w 50"/>
                <a:gd name="T3" fmla="*/ 2147483647 h 59"/>
                <a:gd name="T4" fmla="*/ 2147483647 w 50"/>
                <a:gd name="T5" fmla="*/ 2147483647 h 59"/>
                <a:gd name="T6" fmla="*/ 2147483647 w 50"/>
                <a:gd name="T7" fmla="*/ 0 h 59"/>
                <a:gd name="T8" fmla="*/ 2147483647 w 50"/>
                <a:gd name="T9" fmla="*/ 2147483647 h 59"/>
                <a:gd name="T10" fmla="*/ 2147483647 w 50"/>
                <a:gd name="T11" fmla="*/ 2147483647 h 59"/>
                <a:gd name="T12" fmla="*/ 2147483647 w 50"/>
                <a:gd name="T13" fmla="*/ 2147483647 h 59"/>
                <a:gd name="T14" fmla="*/ 2147483647 w 50"/>
                <a:gd name="T15" fmla="*/ 2147483647 h 59"/>
                <a:gd name="T16" fmla="*/ 2147483647 w 50"/>
                <a:gd name="T17" fmla="*/ 2147483647 h 59"/>
                <a:gd name="T18" fmla="*/ 0 w 50"/>
                <a:gd name="T19" fmla="*/ 2147483647 h 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59"/>
                <a:gd name="T32" fmla="*/ 50 w 50"/>
                <a:gd name="T33" fmla="*/ 59 h 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59">
                  <a:moveTo>
                    <a:pt x="0" y="59"/>
                  </a:moveTo>
                  <a:lnTo>
                    <a:pt x="4" y="34"/>
                  </a:lnTo>
                  <a:lnTo>
                    <a:pt x="2" y="15"/>
                  </a:lnTo>
                  <a:lnTo>
                    <a:pt x="16" y="0"/>
                  </a:lnTo>
                  <a:lnTo>
                    <a:pt x="50" y="25"/>
                  </a:lnTo>
                  <a:lnTo>
                    <a:pt x="38" y="34"/>
                  </a:lnTo>
                  <a:lnTo>
                    <a:pt x="27" y="34"/>
                  </a:lnTo>
                  <a:lnTo>
                    <a:pt x="16" y="11"/>
                  </a:lnTo>
                  <a:lnTo>
                    <a:pt x="10" y="53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5" name="Freeform 301"/>
            <p:cNvSpPr>
              <a:spLocks/>
            </p:cNvSpPr>
            <p:nvPr/>
          </p:nvSpPr>
          <p:spPr bwMode="auto">
            <a:xfrm>
              <a:off x="349827" y="2940784"/>
              <a:ext cx="26461" cy="25609"/>
            </a:xfrm>
            <a:custGeom>
              <a:avLst/>
              <a:gdLst>
                <a:gd name="T0" fmla="*/ 2147483647 w 52"/>
                <a:gd name="T1" fmla="*/ 2147483647 h 42"/>
                <a:gd name="T2" fmla="*/ 2147483647 w 52"/>
                <a:gd name="T3" fmla="*/ 2147483647 h 42"/>
                <a:gd name="T4" fmla="*/ 2147483647 w 52"/>
                <a:gd name="T5" fmla="*/ 0 h 42"/>
                <a:gd name="T6" fmla="*/ 2147483647 w 52"/>
                <a:gd name="T7" fmla="*/ 0 h 42"/>
                <a:gd name="T8" fmla="*/ 2147483647 w 52"/>
                <a:gd name="T9" fmla="*/ 2147483647 h 42"/>
                <a:gd name="T10" fmla="*/ 2147483647 w 52"/>
                <a:gd name="T11" fmla="*/ 2147483647 h 42"/>
                <a:gd name="T12" fmla="*/ 2147483647 w 52"/>
                <a:gd name="T13" fmla="*/ 2147483647 h 42"/>
                <a:gd name="T14" fmla="*/ 0 w 52"/>
                <a:gd name="T15" fmla="*/ 2147483647 h 42"/>
                <a:gd name="T16" fmla="*/ 2147483647 w 52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42"/>
                <a:gd name="T29" fmla="*/ 52 w 52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42">
                  <a:moveTo>
                    <a:pt x="4" y="9"/>
                  </a:moveTo>
                  <a:lnTo>
                    <a:pt x="23" y="11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52" y="17"/>
                  </a:lnTo>
                  <a:lnTo>
                    <a:pt x="50" y="40"/>
                  </a:lnTo>
                  <a:lnTo>
                    <a:pt x="29" y="42"/>
                  </a:lnTo>
                  <a:lnTo>
                    <a:pt x="0" y="21"/>
                  </a:lnTo>
                  <a:lnTo>
                    <a:pt x="4" y="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6" name="Freeform 302"/>
            <p:cNvSpPr>
              <a:spLocks/>
            </p:cNvSpPr>
            <p:nvPr/>
          </p:nvSpPr>
          <p:spPr bwMode="auto">
            <a:xfrm>
              <a:off x="344314" y="3147981"/>
              <a:ext cx="40794" cy="36084"/>
            </a:xfrm>
            <a:custGeom>
              <a:avLst/>
              <a:gdLst>
                <a:gd name="T0" fmla="*/ 2147483647 w 76"/>
                <a:gd name="T1" fmla="*/ 2147483647 h 57"/>
                <a:gd name="T2" fmla="*/ 2147483647 w 76"/>
                <a:gd name="T3" fmla="*/ 2147483647 h 57"/>
                <a:gd name="T4" fmla="*/ 2147483647 w 76"/>
                <a:gd name="T5" fmla="*/ 2147483647 h 57"/>
                <a:gd name="T6" fmla="*/ 2147483647 w 76"/>
                <a:gd name="T7" fmla="*/ 0 h 57"/>
                <a:gd name="T8" fmla="*/ 2147483647 w 76"/>
                <a:gd name="T9" fmla="*/ 2147483647 h 57"/>
                <a:gd name="T10" fmla="*/ 2147483647 w 76"/>
                <a:gd name="T11" fmla="*/ 2147483647 h 57"/>
                <a:gd name="T12" fmla="*/ 2147483647 w 76"/>
                <a:gd name="T13" fmla="*/ 2147483647 h 57"/>
                <a:gd name="T14" fmla="*/ 2147483647 w 76"/>
                <a:gd name="T15" fmla="*/ 2147483647 h 57"/>
                <a:gd name="T16" fmla="*/ 2147483647 w 76"/>
                <a:gd name="T17" fmla="*/ 2147483647 h 57"/>
                <a:gd name="T18" fmla="*/ 0 w 76"/>
                <a:gd name="T19" fmla="*/ 2147483647 h 57"/>
                <a:gd name="T20" fmla="*/ 2147483647 w 76"/>
                <a:gd name="T21" fmla="*/ 2147483647 h 57"/>
                <a:gd name="T22" fmla="*/ 2147483647 w 76"/>
                <a:gd name="T23" fmla="*/ 2147483647 h 57"/>
                <a:gd name="T24" fmla="*/ 2147483647 w 76"/>
                <a:gd name="T25" fmla="*/ 214748364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6"/>
                <a:gd name="T40" fmla="*/ 0 h 57"/>
                <a:gd name="T41" fmla="*/ 76 w 76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6" h="57">
                  <a:moveTo>
                    <a:pt x="28" y="12"/>
                  </a:moveTo>
                  <a:lnTo>
                    <a:pt x="45" y="14"/>
                  </a:lnTo>
                  <a:lnTo>
                    <a:pt x="59" y="4"/>
                  </a:lnTo>
                  <a:lnTo>
                    <a:pt x="72" y="0"/>
                  </a:lnTo>
                  <a:lnTo>
                    <a:pt x="76" y="6"/>
                  </a:lnTo>
                  <a:lnTo>
                    <a:pt x="55" y="19"/>
                  </a:lnTo>
                  <a:lnTo>
                    <a:pt x="61" y="25"/>
                  </a:lnTo>
                  <a:lnTo>
                    <a:pt x="43" y="40"/>
                  </a:lnTo>
                  <a:lnTo>
                    <a:pt x="9" y="57"/>
                  </a:lnTo>
                  <a:lnTo>
                    <a:pt x="0" y="46"/>
                  </a:lnTo>
                  <a:lnTo>
                    <a:pt x="32" y="25"/>
                  </a:lnTo>
                  <a:lnTo>
                    <a:pt x="19" y="19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7" name="Freeform 303"/>
            <p:cNvSpPr>
              <a:spLocks/>
            </p:cNvSpPr>
            <p:nvPr/>
          </p:nvSpPr>
          <p:spPr bwMode="auto">
            <a:xfrm>
              <a:off x="322263" y="3166605"/>
              <a:ext cx="24256" cy="26772"/>
            </a:xfrm>
            <a:custGeom>
              <a:avLst/>
              <a:gdLst>
                <a:gd name="T0" fmla="*/ 2147483647 w 44"/>
                <a:gd name="T1" fmla="*/ 0 h 43"/>
                <a:gd name="T2" fmla="*/ 2147483647 w 44"/>
                <a:gd name="T3" fmla="*/ 2147483647 h 43"/>
                <a:gd name="T4" fmla="*/ 2147483647 w 44"/>
                <a:gd name="T5" fmla="*/ 2147483647 h 43"/>
                <a:gd name="T6" fmla="*/ 0 w 44"/>
                <a:gd name="T7" fmla="*/ 2147483647 h 43"/>
                <a:gd name="T8" fmla="*/ 2147483647 w 44"/>
                <a:gd name="T9" fmla="*/ 2147483647 h 43"/>
                <a:gd name="T10" fmla="*/ 2147483647 w 44"/>
                <a:gd name="T11" fmla="*/ 2147483647 h 43"/>
                <a:gd name="T12" fmla="*/ 2147483647 w 44"/>
                <a:gd name="T13" fmla="*/ 2147483647 h 43"/>
                <a:gd name="T14" fmla="*/ 2147483647 w 44"/>
                <a:gd name="T15" fmla="*/ 0 h 4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4"/>
                <a:gd name="T25" fmla="*/ 0 h 43"/>
                <a:gd name="T26" fmla="*/ 44 w 44"/>
                <a:gd name="T27" fmla="*/ 43 h 4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4" h="43">
                  <a:moveTo>
                    <a:pt x="30" y="0"/>
                  </a:moveTo>
                  <a:lnTo>
                    <a:pt x="44" y="4"/>
                  </a:lnTo>
                  <a:lnTo>
                    <a:pt x="21" y="30"/>
                  </a:lnTo>
                  <a:lnTo>
                    <a:pt x="0" y="43"/>
                  </a:lnTo>
                  <a:lnTo>
                    <a:pt x="7" y="22"/>
                  </a:lnTo>
                  <a:lnTo>
                    <a:pt x="21" y="13"/>
                  </a:lnTo>
                  <a:lnTo>
                    <a:pt x="19" y="2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8" name="Freeform 304"/>
            <p:cNvSpPr>
              <a:spLocks/>
            </p:cNvSpPr>
            <p:nvPr/>
          </p:nvSpPr>
          <p:spPr bwMode="auto">
            <a:xfrm>
              <a:off x="2024578" y="5385241"/>
              <a:ext cx="30871" cy="37249"/>
            </a:xfrm>
            <a:custGeom>
              <a:avLst/>
              <a:gdLst>
                <a:gd name="T0" fmla="*/ 2147483647 w 57"/>
                <a:gd name="T1" fmla="*/ 0 h 59"/>
                <a:gd name="T2" fmla="*/ 2147483647 w 57"/>
                <a:gd name="T3" fmla="*/ 2147483647 h 59"/>
                <a:gd name="T4" fmla="*/ 2147483647 w 57"/>
                <a:gd name="T5" fmla="*/ 2147483647 h 59"/>
                <a:gd name="T6" fmla="*/ 2147483647 w 57"/>
                <a:gd name="T7" fmla="*/ 2147483647 h 59"/>
                <a:gd name="T8" fmla="*/ 2147483647 w 57"/>
                <a:gd name="T9" fmla="*/ 2147483647 h 59"/>
                <a:gd name="T10" fmla="*/ 2147483647 w 57"/>
                <a:gd name="T11" fmla="*/ 2147483647 h 59"/>
                <a:gd name="T12" fmla="*/ 0 w 57"/>
                <a:gd name="T13" fmla="*/ 2147483647 h 59"/>
                <a:gd name="T14" fmla="*/ 2147483647 w 57"/>
                <a:gd name="T15" fmla="*/ 2147483647 h 59"/>
                <a:gd name="T16" fmla="*/ 2147483647 w 57"/>
                <a:gd name="T17" fmla="*/ 2147483647 h 59"/>
                <a:gd name="T18" fmla="*/ 2147483647 w 57"/>
                <a:gd name="T19" fmla="*/ 0 h 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59"/>
                <a:gd name="T32" fmla="*/ 57 w 57"/>
                <a:gd name="T33" fmla="*/ 59 h 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59">
                  <a:moveTo>
                    <a:pt x="17" y="0"/>
                  </a:moveTo>
                  <a:lnTo>
                    <a:pt x="49" y="10"/>
                  </a:lnTo>
                  <a:lnTo>
                    <a:pt x="57" y="23"/>
                  </a:lnTo>
                  <a:lnTo>
                    <a:pt x="40" y="36"/>
                  </a:lnTo>
                  <a:lnTo>
                    <a:pt x="27" y="53"/>
                  </a:lnTo>
                  <a:lnTo>
                    <a:pt x="13" y="59"/>
                  </a:lnTo>
                  <a:lnTo>
                    <a:pt x="0" y="50"/>
                  </a:lnTo>
                  <a:lnTo>
                    <a:pt x="9" y="25"/>
                  </a:lnTo>
                  <a:lnTo>
                    <a:pt x="11" y="23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29" name="Freeform 305"/>
            <p:cNvSpPr>
              <a:spLocks/>
            </p:cNvSpPr>
            <p:nvPr/>
          </p:nvSpPr>
          <p:spPr bwMode="auto">
            <a:xfrm>
              <a:off x="2006938" y="5387569"/>
              <a:ext cx="22051" cy="30265"/>
            </a:xfrm>
            <a:custGeom>
              <a:avLst/>
              <a:gdLst>
                <a:gd name="T0" fmla="*/ 2147483647 w 40"/>
                <a:gd name="T1" fmla="*/ 2147483647 h 48"/>
                <a:gd name="T2" fmla="*/ 2147483647 w 40"/>
                <a:gd name="T3" fmla="*/ 2147483647 h 48"/>
                <a:gd name="T4" fmla="*/ 2147483647 w 40"/>
                <a:gd name="T5" fmla="*/ 2147483647 h 48"/>
                <a:gd name="T6" fmla="*/ 0 w 40"/>
                <a:gd name="T7" fmla="*/ 2147483647 h 48"/>
                <a:gd name="T8" fmla="*/ 2147483647 w 40"/>
                <a:gd name="T9" fmla="*/ 2147483647 h 48"/>
                <a:gd name="T10" fmla="*/ 2147483647 w 40"/>
                <a:gd name="T11" fmla="*/ 0 h 48"/>
                <a:gd name="T12" fmla="*/ 2147483647 w 40"/>
                <a:gd name="T13" fmla="*/ 2147483647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48"/>
                <a:gd name="T23" fmla="*/ 40 w 40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48">
                  <a:moveTo>
                    <a:pt x="40" y="4"/>
                  </a:moveTo>
                  <a:lnTo>
                    <a:pt x="26" y="32"/>
                  </a:lnTo>
                  <a:lnTo>
                    <a:pt x="11" y="48"/>
                  </a:lnTo>
                  <a:lnTo>
                    <a:pt x="0" y="42"/>
                  </a:lnTo>
                  <a:lnTo>
                    <a:pt x="15" y="19"/>
                  </a:lnTo>
                  <a:lnTo>
                    <a:pt x="7" y="0"/>
                  </a:lnTo>
                  <a:lnTo>
                    <a:pt x="40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0" name="Freeform 306"/>
            <p:cNvSpPr>
              <a:spLocks/>
            </p:cNvSpPr>
            <p:nvPr/>
          </p:nvSpPr>
          <p:spPr bwMode="auto">
            <a:xfrm>
              <a:off x="2096243" y="4211902"/>
              <a:ext cx="44101" cy="67514"/>
            </a:xfrm>
            <a:custGeom>
              <a:avLst/>
              <a:gdLst>
                <a:gd name="T0" fmla="*/ 2147483647 w 82"/>
                <a:gd name="T1" fmla="*/ 2147483647 h 108"/>
                <a:gd name="T2" fmla="*/ 2147483647 w 82"/>
                <a:gd name="T3" fmla="*/ 2147483647 h 108"/>
                <a:gd name="T4" fmla="*/ 2147483647 w 82"/>
                <a:gd name="T5" fmla="*/ 2147483647 h 108"/>
                <a:gd name="T6" fmla="*/ 2147483647 w 82"/>
                <a:gd name="T7" fmla="*/ 2147483647 h 108"/>
                <a:gd name="T8" fmla="*/ 0 w 82"/>
                <a:gd name="T9" fmla="*/ 2147483647 h 108"/>
                <a:gd name="T10" fmla="*/ 2147483647 w 82"/>
                <a:gd name="T11" fmla="*/ 2147483647 h 108"/>
                <a:gd name="T12" fmla="*/ 2147483647 w 82"/>
                <a:gd name="T13" fmla="*/ 2147483647 h 108"/>
                <a:gd name="T14" fmla="*/ 2147483647 w 82"/>
                <a:gd name="T15" fmla="*/ 2147483647 h 108"/>
                <a:gd name="T16" fmla="*/ 2147483647 w 82"/>
                <a:gd name="T17" fmla="*/ 0 h 108"/>
                <a:gd name="T18" fmla="*/ 2147483647 w 82"/>
                <a:gd name="T19" fmla="*/ 2147483647 h 108"/>
                <a:gd name="T20" fmla="*/ 2147483647 w 82"/>
                <a:gd name="T21" fmla="*/ 2147483647 h 108"/>
                <a:gd name="T22" fmla="*/ 2147483647 w 82"/>
                <a:gd name="T23" fmla="*/ 2147483647 h 10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2"/>
                <a:gd name="T37" fmla="*/ 0 h 108"/>
                <a:gd name="T38" fmla="*/ 82 w 82"/>
                <a:gd name="T39" fmla="*/ 108 h 10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2" h="108">
                  <a:moveTo>
                    <a:pt x="82" y="53"/>
                  </a:moveTo>
                  <a:lnTo>
                    <a:pt x="65" y="87"/>
                  </a:lnTo>
                  <a:lnTo>
                    <a:pt x="38" y="108"/>
                  </a:lnTo>
                  <a:lnTo>
                    <a:pt x="17" y="104"/>
                  </a:lnTo>
                  <a:lnTo>
                    <a:pt x="0" y="87"/>
                  </a:lnTo>
                  <a:lnTo>
                    <a:pt x="19" y="61"/>
                  </a:lnTo>
                  <a:lnTo>
                    <a:pt x="4" y="30"/>
                  </a:lnTo>
                  <a:lnTo>
                    <a:pt x="11" y="9"/>
                  </a:lnTo>
                  <a:lnTo>
                    <a:pt x="23" y="0"/>
                  </a:lnTo>
                  <a:lnTo>
                    <a:pt x="55" y="8"/>
                  </a:lnTo>
                  <a:lnTo>
                    <a:pt x="82" y="34"/>
                  </a:lnTo>
                  <a:lnTo>
                    <a:pt x="82" y="5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1" name="Freeform 307"/>
            <p:cNvSpPr>
              <a:spLocks/>
            </p:cNvSpPr>
            <p:nvPr/>
          </p:nvSpPr>
          <p:spPr bwMode="auto">
            <a:xfrm>
              <a:off x="1906607" y="3973276"/>
              <a:ext cx="25359" cy="15132"/>
            </a:xfrm>
            <a:custGeom>
              <a:avLst/>
              <a:gdLst>
                <a:gd name="T0" fmla="*/ 2147483647 w 48"/>
                <a:gd name="T1" fmla="*/ 0 h 25"/>
                <a:gd name="T2" fmla="*/ 2147483647 w 48"/>
                <a:gd name="T3" fmla="*/ 2147483647 h 25"/>
                <a:gd name="T4" fmla="*/ 2147483647 w 48"/>
                <a:gd name="T5" fmla="*/ 2147483647 h 25"/>
                <a:gd name="T6" fmla="*/ 2147483647 w 48"/>
                <a:gd name="T7" fmla="*/ 2147483647 h 25"/>
                <a:gd name="T8" fmla="*/ 2147483647 w 48"/>
                <a:gd name="T9" fmla="*/ 2147483647 h 25"/>
                <a:gd name="T10" fmla="*/ 2147483647 w 48"/>
                <a:gd name="T11" fmla="*/ 2147483647 h 25"/>
                <a:gd name="T12" fmla="*/ 0 w 48"/>
                <a:gd name="T13" fmla="*/ 2147483647 h 25"/>
                <a:gd name="T14" fmla="*/ 2147483647 w 48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25"/>
                <a:gd name="T26" fmla="*/ 48 w 48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25">
                  <a:moveTo>
                    <a:pt x="4" y="0"/>
                  </a:moveTo>
                  <a:lnTo>
                    <a:pt x="31" y="4"/>
                  </a:lnTo>
                  <a:lnTo>
                    <a:pt x="48" y="2"/>
                  </a:lnTo>
                  <a:lnTo>
                    <a:pt x="48" y="13"/>
                  </a:lnTo>
                  <a:lnTo>
                    <a:pt x="36" y="25"/>
                  </a:lnTo>
                  <a:lnTo>
                    <a:pt x="29" y="19"/>
                  </a:lnTo>
                  <a:lnTo>
                    <a:pt x="0" y="2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2" name="Freeform 308"/>
            <p:cNvSpPr>
              <a:spLocks/>
            </p:cNvSpPr>
            <p:nvPr/>
          </p:nvSpPr>
          <p:spPr bwMode="auto">
            <a:xfrm>
              <a:off x="4679484" y="4509893"/>
              <a:ext cx="624035" cy="578521"/>
            </a:xfrm>
            <a:custGeom>
              <a:avLst/>
              <a:gdLst>
                <a:gd name="T0" fmla="*/ 2147483647 w 1144"/>
                <a:gd name="T1" fmla="*/ 2147483647 h 927"/>
                <a:gd name="T2" fmla="*/ 2147483647 w 1144"/>
                <a:gd name="T3" fmla="*/ 2147483647 h 927"/>
                <a:gd name="T4" fmla="*/ 2147483647 w 1144"/>
                <a:gd name="T5" fmla="*/ 2147483647 h 927"/>
                <a:gd name="T6" fmla="*/ 2147483647 w 1144"/>
                <a:gd name="T7" fmla="*/ 2147483647 h 927"/>
                <a:gd name="T8" fmla="*/ 2147483647 w 1144"/>
                <a:gd name="T9" fmla="*/ 2147483647 h 927"/>
                <a:gd name="T10" fmla="*/ 2147483647 w 1144"/>
                <a:gd name="T11" fmla="*/ 2147483647 h 927"/>
                <a:gd name="T12" fmla="*/ 2147483647 w 1144"/>
                <a:gd name="T13" fmla="*/ 2147483647 h 927"/>
                <a:gd name="T14" fmla="*/ 2147483647 w 1144"/>
                <a:gd name="T15" fmla="*/ 2147483647 h 927"/>
                <a:gd name="T16" fmla="*/ 2147483647 w 1144"/>
                <a:gd name="T17" fmla="*/ 2147483647 h 927"/>
                <a:gd name="T18" fmla="*/ 2147483647 w 1144"/>
                <a:gd name="T19" fmla="*/ 2147483647 h 927"/>
                <a:gd name="T20" fmla="*/ 2147483647 w 1144"/>
                <a:gd name="T21" fmla="*/ 2147483647 h 927"/>
                <a:gd name="T22" fmla="*/ 2147483647 w 1144"/>
                <a:gd name="T23" fmla="*/ 2147483647 h 927"/>
                <a:gd name="T24" fmla="*/ 2147483647 w 1144"/>
                <a:gd name="T25" fmla="*/ 0 h 927"/>
                <a:gd name="T26" fmla="*/ 2147483647 w 1144"/>
                <a:gd name="T27" fmla="*/ 2147483647 h 927"/>
                <a:gd name="T28" fmla="*/ 2147483647 w 1144"/>
                <a:gd name="T29" fmla="*/ 2147483647 h 927"/>
                <a:gd name="T30" fmla="*/ 2147483647 w 1144"/>
                <a:gd name="T31" fmla="*/ 2147483647 h 927"/>
                <a:gd name="T32" fmla="*/ 2147483647 w 1144"/>
                <a:gd name="T33" fmla="*/ 2147483647 h 927"/>
                <a:gd name="T34" fmla="*/ 2147483647 w 1144"/>
                <a:gd name="T35" fmla="*/ 2147483647 h 927"/>
                <a:gd name="T36" fmla="*/ 2147483647 w 1144"/>
                <a:gd name="T37" fmla="*/ 2147483647 h 927"/>
                <a:gd name="T38" fmla="*/ 2147483647 w 1144"/>
                <a:gd name="T39" fmla="*/ 2147483647 h 927"/>
                <a:gd name="T40" fmla="*/ 2147483647 w 1144"/>
                <a:gd name="T41" fmla="*/ 2147483647 h 927"/>
                <a:gd name="T42" fmla="*/ 2147483647 w 1144"/>
                <a:gd name="T43" fmla="*/ 2147483647 h 927"/>
                <a:gd name="T44" fmla="*/ 2147483647 w 1144"/>
                <a:gd name="T45" fmla="*/ 2147483647 h 927"/>
                <a:gd name="T46" fmla="*/ 2147483647 w 1144"/>
                <a:gd name="T47" fmla="*/ 2147483647 h 927"/>
                <a:gd name="T48" fmla="*/ 2147483647 w 1144"/>
                <a:gd name="T49" fmla="*/ 2147483647 h 927"/>
                <a:gd name="T50" fmla="*/ 2147483647 w 1144"/>
                <a:gd name="T51" fmla="*/ 2147483647 h 927"/>
                <a:gd name="T52" fmla="*/ 2147483647 w 1144"/>
                <a:gd name="T53" fmla="*/ 2147483647 h 927"/>
                <a:gd name="T54" fmla="*/ 2147483647 w 1144"/>
                <a:gd name="T55" fmla="*/ 2147483647 h 927"/>
                <a:gd name="T56" fmla="*/ 2147483647 w 1144"/>
                <a:gd name="T57" fmla="*/ 2147483647 h 927"/>
                <a:gd name="T58" fmla="*/ 2147483647 w 1144"/>
                <a:gd name="T59" fmla="*/ 2147483647 h 927"/>
                <a:gd name="T60" fmla="*/ 2147483647 w 1144"/>
                <a:gd name="T61" fmla="*/ 2147483647 h 927"/>
                <a:gd name="T62" fmla="*/ 2147483647 w 1144"/>
                <a:gd name="T63" fmla="*/ 2147483647 h 927"/>
                <a:gd name="T64" fmla="*/ 2147483647 w 1144"/>
                <a:gd name="T65" fmla="*/ 2147483647 h 927"/>
                <a:gd name="T66" fmla="*/ 2147483647 w 1144"/>
                <a:gd name="T67" fmla="*/ 2147483647 h 927"/>
                <a:gd name="T68" fmla="*/ 2147483647 w 1144"/>
                <a:gd name="T69" fmla="*/ 2147483647 h 927"/>
                <a:gd name="T70" fmla="*/ 2147483647 w 1144"/>
                <a:gd name="T71" fmla="*/ 2147483647 h 927"/>
                <a:gd name="T72" fmla="*/ 2147483647 w 1144"/>
                <a:gd name="T73" fmla="*/ 2147483647 h 927"/>
                <a:gd name="T74" fmla="*/ 2147483647 w 1144"/>
                <a:gd name="T75" fmla="*/ 2147483647 h 927"/>
                <a:gd name="T76" fmla="*/ 2147483647 w 1144"/>
                <a:gd name="T77" fmla="*/ 2147483647 h 927"/>
                <a:gd name="T78" fmla="*/ 2147483647 w 1144"/>
                <a:gd name="T79" fmla="*/ 2147483647 h 927"/>
                <a:gd name="T80" fmla="*/ 2147483647 w 1144"/>
                <a:gd name="T81" fmla="*/ 2147483647 h 927"/>
                <a:gd name="T82" fmla="*/ 0 w 1144"/>
                <a:gd name="T83" fmla="*/ 2147483647 h 927"/>
                <a:gd name="T84" fmla="*/ 2147483647 w 1144"/>
                <a:gd name="T85" fmla="*/ 2147483647 h 927"/>
                <a:gd name="T86" fmla="*/ 2147483647 w 1144"/>
                <a:gd name="T87" fmla="*/ 2147483647 h 927"/>
                <a:gd name="T88" fmla="*/ 2147483647 w 1144"/>
                <a:gd name="T89" fmla="*/ 2147483647 h 927"/>
                <a:gd name="T90" fmla="*/ 2147483647 w 1144"/>
                <a:gd name="T91" fmla="*/ 2147483647 h 927"/>
                <a:gd name="T92" fmla="*/ 2147483647 w 1144"/>
                <a:gd name="T93" fmla="*/ 2147483647 h 9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144"/>
                <a:gd name="T142" fmla="*/ 0 h 927"/>
                <a:gd name="T143" fmla="*/ 1144 w 1144"/>
                <a:gd name="T144" fmla="*/ 927 h 9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144" h="927">
                  <a:moveTo>
                    <a:pt x="251" y="207"/>
                  </a:moveTo>
                  <a:lnTo>
                    <a:pt x="251" y="182"/>
                  </a:lnTo>
                  <a:lnTo>
                    <a:pt x="272" y="159"/>
                  </a:lnTo>
                  <a:lnTo>
                    <a:pt x="291" y="197"/>
                  </a:lnTo>
                  <a:lnTo>
                    <a:pt x="289" y="157"/>
                  </a:lnTo>
                  <a:lnTo>
                    <a:pt x="299" y="157"/>
                  </a:lnTo>
                  <a:lnTo>
                    <a:pt x="314" y="167"/>
                  </a:lnTo>
                  <a:lnTo>
                    <a:pt x="327" y="133"/>
                  </a:lnTo>
                  <a:lnTo>
                    <a:pt x="350" y="106"/>
                  </a:lnTo>
                  <a:lnTo>
                    <a:pt x="363" y="110"/>
                  </a:lnTo>
                  <a:lnTo>
                    <a:pt x="365" y="87"/>
                  </a:lnTo>
                  <a:lnTo>
                    <a:pt x="403" y="89"/>
                  </a:lnTo>
                  <a:lnTo>
                    <a:pt x="424" y="110"/>
                  </a:lnTo>
                  <a:lnTo>
                    <a:pt x="419" y="138"/>
                  </a:lnTo>
                  <a:lnTo>
                    <a:pt x="432" y="123"/>
                  </a:lnTo>
                  <a:lnTo>
                    <a:pt x="453" y="125"/>
                  </a:lnTo>
                  <a:lnTo>
                    <a:pt x="474" y="140"/>
                  </a:lnTo>
                  <a:lnTo>
                    <a:pt x="457" y="98"/>
                  </a:lnTo>
                  <a:lnTo>
                    <a:pt x="504" y="43"/>
                  </a:lnTo>
                  <a:lnTo>
                    <a:pt x="542" y="51"/>
                  </a:lnTo>
                  <a:lnTo>
                    <a:pt x="553" y="43"/>
                  </a:lnTo>
                  <a:lnTo>
                    <a:pt x="538" y="26"/>
                  </a:lnTo>
                  <a:lnTo>
                    <a:pt x="472" y="32"/>
                  </a:lnTo>
                  <a:lnTo>
                    <a:pt x="477" y="17"/>
                  </a:lnTo>
                  <a:lnTo>
                    <a:pt x="542" y="17"/>
                  </a:lnTo>
                  <a:lnTo>
                    <a:pt x="580" y="36"/>
                  </a:lnTo>
                  <a:lnTo>
                    <a:pt x="628" y="38"/>
                  </a:lnTo>
                  <a:lnTo>
                    <a:pt x="652" y="28"/>
                  </a:lnTo>
                  <a:lnTo>
                    <a:pt x="671" y="47"/>
                  </a:lnTo>
                  <a:lnTo>
                    <a:pt x="645" y="85"/>
                  </a:lnTo>
                  <a:lnTo>
                    <a:pt x="635" y="117"/>
                  </a:lnTo>
                  <a:lnTo>
                    <a:pt x="667" y="150"/>
                  </a:lnTo>
                  <a:lnTo>
                    <a:pt x="753" y="199"/>
                  </a:lnTo>
                  <a:lnTo>
                    <a:pt x="783" y="191"/>
                  </a:lnTo>
                  <a:lnTo>
                    <a:pt x="804" y="136"/>
                  </a:lnTo>
                  <a:lnTo>
                    <a:pt x="800" y="76"/>
                  </a:lnTo>
                  <a:lnTo>
                    <a:pt x="810" y="11"/>
                  </a:lnTo>
                  <a:lnTo>
                    <a:pt x="819" y="2"/>
                  </a:lnTo>
                  <a:lnTo>
                    <a:pt x="833" y="0"/>
                  </a:lnTo>
                  <a:lnTo>
                    <a:pt x="840" y="30"/>
                  </a:lnTo>
                  <a:lnTo>
                    <a:pt x="859" y="57"/>
                  </a:lnTo>
                  <a:lnTo>
                    <a:pt x="858" y="77"/>
                  </a:lnTo>
                  <a:lnTo>
                    <a:pt x="871" y="106"/>
                  </a:lnTo>
                  <a:lnTo>
                    <a:pt x="890" y="98"/>
                  </a:lnTo>
                  <a:lnTo>
                    <a:pt x="915" y="123"/>
                  </a:lnTo>
                  <a:lnTo>
                    <a:pt x="915" y="171"/>
                  </a:lnTo>
                  <a:lnTo>
                    <a:pt x="930" y="176"/>
                  </a:lnTo>
                  <a:lnTo>
                    <a:pt x="932" y="224"/>
                  </a:lnTo>
                  <a:lnTo>
                    <a:pt x="949" y="254"/>
                  </a:lnTo>
                  <a:lnTo>
                    <a:pt x="1006" y="286"/>
                  </a:lnTo>
                  <a:lnTo>
                    <a:pt x="1002" y="298"/>
                  </a:lnTo>
                  <a:lnTo>
                    <a:pt x="1025" y="321"/>
                  </a:lnTo>
                  <a:lnTo>
                    <a:pt x="1032" y="359"/>
                  </a:lnTo>
                  <a:lnTo>
                    <a:pt x="1046" y="359"/>
                  </a:lnTo>
                  <a:lnTo>
                    <a:pt x="1046" y="338"/>
                  </a:lnTo>
                  <a:lnTo>
                    <a:pt x="1067" y="349"/>
                  </a:lnTo>
                  <a:lnTo>
                    <a:pt x="1063" y="374"/>
                  </a:lnTo>
                  <a:lnTo>
                    <a:pt x="1053" y="379"/>
                  </a:lnTo>
                  <a:lnTo>
                    <a:pt x="1076" y="398"/>
                  </a:lnTo>
                  <a:lnTo>
                    <a:pt x="1099" y="398"/>
                  </a:lnTo>
                  <a:lnTo>
                    <a:pt x="1131" y="459"/>
                  </a:lnTo>
                  <a:lnTo>
                    <a:pt x="1144" y="539"/>
                  </a:lnTo>
                  <a:lnTo>
                    <a:pt x="1124" y="672"/>
                  </a:lnTo>
                  <a:lnTo>
                    <a:pt x="1093" y="693"/>
                  </a:lnTo>
                  <a:lnTo>
                    <a:pt x="1072" y="769"/>
                  </a:lnTo>
                  <a:lnTo>
                    <a:pt x="1046" y="828"/>
                  </a:lnTo>
                  <a:lnTo>
                    <a:pt x="1044" y="854"/>
                  </a:lnTo>
                  <a:lnTo>
                    <a:pt x="1019" y="873"/>
                  </a:lnTo>
                  <a:lnTo>
                    <a:pt x="998" y="870"/>
                  </a:lnTo>
                  <a:lnTo>
                    <a:pt x="947" y="902"/>
                  </a:lnTo>
                  <a:lnTo>
                    <a:pt x="941" y="923"/>
                  </a:lnTo>
                  <a:lnTo>
                    <a:pt x="932" y="927"/>
                  </a:lnTo>
                  <a:lnTo>
                    <a:pt x="926" y="911"/>
                  </a:lnTo>
                  <a:lnTo>
                    <a:pt x="907" y="900"/>
                  </a:lnTo>
                  <a:lnTo>
                    <a:pt x="907" y="890"/>
                  </a:lnTo>
                  <a:lnTo>
                    <a:pt x="877" y="887"/>
                  </a:lnTo>
                  <a:lnTo>
                    <a:pt x="861" y="900"/>
                  </a:lnTo>
                  <a:lnTo>
                    <a:pt x="800" y="887"/>
                  </a:lnTo>
                  <a:lnTo>
                    <a:pt x="751" y="854"/>
                  </a:lnTo>
                  <a:lnTo>
                    <a:pt x="751" y="835"/>
                  </a:lnTo>
                  <a:lnTo>
                    <a:pt x="728" y="794"/>
                  </a:lnTo>
                  <a:lnTo>
                    <a:pt x="736" y="790"/>
                  </a:lnTo>
                  <a:lnTo>
                    <a:pt x="730" y="778"/>
                  </a:lnTo>
                  <a:lnTo>
                    <a:pt x="705" y="795"/>
                  </a:lnTo>
                  <a:lnTo>
                    <a:pt x="692" y="803"/>
                  </a:lnTo>
                  <a:lnTo>
                    <a:pt x="664" y="799"/>
                  </a:lnTo>
                  <a:lnTo>
                    <a:pt x="681" y="786"/>
                  </a:lnTo>
                  <a:lnTo>
                    <a:pt x="704" y="786"/>
                  </a:lnTo>
                  <a:lnTo>
                    <a:pt x="715" y="769"/>
                  </a:lnTo>
                  <a:lnTo>
                    <a:pt x="704" y="738"/>
                  </a:lnTo>
                  <a:lnTo>
                    <a:pt x="694" y="767"/>
                  </a:lnTo>
                  <a:lnTo>
                    <a:pt x="671" y="775"/>
                  </a:lnTo>
                  <a:lnTo>
                    <a:pt x="664" y="769"/>
                  </a:lnTo>
                  <a:lnTo>
                    <a:pt x="681" y="756"/>
                  </a:lnTo>
                  <a:lnTo>
                    <a:pt x="688" y="733"/>
                  </a:lnTo>
                  <a:lnTo>
                    <a:pt x="705" y="702"/>
                  </a:lnTo>
                  <a:lnTo>
                    <a:pt x="702" y="672"/>
                  </a:lnTo>
                  <a:lnTo>
                    <a:pt x="692" y="704"/>
                  </a:lnTo>
                  <a:lnTo>
                    <a:pt x="666" y="721"/>
                  </a:lnTo>
                  <a:lnTo>
                    <a:pt x="654" y="750"/>
                  </a:lnTo>
                  <a:lnTo>
                    <a:pt x="658" y="765"/>
                  </a:lnTo>
                  <a:lnTo>
                    <a:pt x="645" y="765"/>
                  </a:lnTo>
                  <a:lnTo>
                    <a:pt x="629" y="748"/>
                  </a:lnTo>
                  <a:lnTo>
                    <a:pt x="637" y="740"/>
                  </a:lnTo>
                  <a:lnTo>
                    <a:pt x="609" y="682"/>
                  </a:lnTo>
                  <a:lnTo>
                    <a:pt x="595" y="695"/>
                  </a:lnTo>
                  <a:lnTo>
                    <a:pt x="571" y="664"/>
                  </a:lnTo>
                  <a:lnTo>
                    <a:pt x="540" y="661"/>
                  </a:lnTo>
                  <a:lnTo>
                    <a:pt x="512" y="645"/>
                  </a:lnTo>
                  <a:lnTo>
                    <a:pt x="445" y="647"/>
                  </a:lnTo>
                  <a:lnTo>
                    <a:pt x="310" y="691"/>
                  </a:lnTo>
                  <a:lnTo>
                    <a:pt x="289" y="719"/>
                  </a:lnTo>
                  <a:lnTo>
                    <a:pt x="196" y="721"/>
                  </a:lnTo>
                  <a:lnTo>
                    <a:pt x="183" y="742"/>
                  </a:lnTo>
                  <a:lnTo>
                    <a:pt x="162" y="744"/>
                  </a:lnTo>
                  <a:lnTo>
                    <a:pt x="151" y="761"/>
                  </a:lnTo>
                  <a:lnTo>
                    <a:pt x="105" y="767"/>
                  </a:lnTo>
                  <a:lnTo>
                    <a:pt x="61" y="737"/>
                  </a:lnTo>
                  <a:lnTo>
                    <a:pt x="54" y="708"/>
                  </a:lnTo>
                  <a:lnTo>
                    <a:pt x="67" y="706"/>
                  </a:lnTo>
                  <a:lnTo>
                    <a:pt x="82" y="647"/>
                  </a:lnTo>
                  <a:lnTo>
                    <a:pt x="57" y="606"/>
                  </a:lnTo>
                  <a:lnTo>
                    <a:pt x="57" y="571"/>
                  </a:lnTo>
                  <a:lnTo>
                    <a:pt x="29" y="530"/>
                  </a:lnTo>
                  <a:lnTo>
                    <a:pt x="4" y="478"/>
                  </a:lnTo>
                  <a:lnTo>
                    <a:pt x="0" y="450"/>
                  </a:lnTo>
                  <a:lnTo>
                    <a:pt x="12" y="452"/>
                  </a:lnTo>
                  <a:lnTo>
                    <a:pt x="31" y="471"/>
                  </a:lnTo>
                  <a:lnTo>
                    <a:pt x="31" y="454"/>
                  </a:lnTo>
                  <a:lnTo>
                    <a:pt x="6" y="414"/>
                  </a:lnTo>
                  <a:lnTo>
                    <a:pt x="16" y="385"/>
                  </a:lnTo>
                  <a:lnTo>
                    <a:pt x="14" y="351"/>
                  </a:lnTo>
                  <a:lnTo>
                    <a:pt x="25" y="326"/>
                  </a:lnTo>
                  <a:lnTo>
                    <a:pt x="29" y="359"/>
                  </a:lnTo>
                  <a:lnTo>
                    <a:pt x="48" y="326"/>
                  </a:lnTo>
                  <a:lnTo>
                    <a:pt x="105" y="294"/>
                  </a:lnTo>
                  <a:lnTo>
                    <a:pt x="120" y="302"/>
                  </a:lnTo>
                  <a:lnTo>
                    <a:pt x="160" y="279"/>
                  </a:lnTo>
                  <a:lnTo>
                    <a:pt x="229" y="264"/>
                  </a:lnTo>
                  <a:lnTo>
                    <a:pt x="261" y="212"/>
                  </a:lnTo>
                  <a:lnTo>
                    <a:pt x="251" y="20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3" name="Freeform 310"/>
            <p:cNvSpPr>
              <a:spLocks/>
            </p:cNvSpPr>
            <p:nvPr/>
          </p:nvSpPr>
          <p:spPr bwMode="auto">
            <a:xfrm>
              <a:off x="5597897" y="4973175"/>
              <a:ext cx="90408" cy="166456"/>
            </a:xfrm>
            <a:custGeom>
              <a:avLst/>
              <a:gdLst>
                <a:gd name="T0" fmla="*/ 2147483647 w 165"/>
                <a:gd name="T1" fmla="*/ 2147483647 h 266"/>
                <a:gd name="T2" fmla="*/ 2147483647 w 165"/>
                <a:gd name="T3" fmla="*/ 2147483647 h 266"/>
                <a:gd name="T4" fmla="*/ 2147483647 w 165"/>
                <a:gd name="T5" fmla="*/ 2147483647 h 266"/>
                <a:gd name="T6" fmla="*/ 2147483647 w 165"/>
                <a:gd name="T7" fmla="*/ 2147483647 h 266"/>
                <a:gd name="T8" fmla="*/ 2147483647 w 165"/>
                <a:gd name="T9" fmla="*/ 2147483647 h 266"/>
                <a:gd name="T10" fmla="*/ 2147483647 w 165"/>
                <a:gd name="T11" fmla="*/ 2147483647 h 266"/>
                <a:gd name="T12" fmla="*/ 2147483647 w 165"/>
                <a:gd name="T13" fmla="*/ 2147483647 h 266"/>
                <a:gd name="T14" fmla="*/ 2147483647 w 165"/>
                <a:gd name="T15" fmla="*/ 2147483647 h 266"/>
                <a:gd name="T16" fmla="*/ 2147483647 w 165"/>
                <a:gd name="T17" fmla="*/ 2147483647 h 266"/>
                <a:gd name="T18" fmla="*/ 2147483647 w 165"/>
                <a:gd name="T19" fmla="*/ 2147483647 h 266"/>
                <a:gd name="T20" fmla="*/ 2147483647 w 165"/>
                <a:gd name="T21" fmla="*/ 2147483647 h 266"/>
                <a:gd name="T22" fmla="*/ 2147483647 w 165"/>
                <a:gd name="T23" fmla="*/ 2147483647 h 266"/>
                <a:gd name="T24" fmla="*/ 2147483647 w 165"/>
                <a:gd name="T25" fmla="*/ 2147483647 h 266"/>
                <a:gd name="T26" fmla="*/ 2147483647 w 165"/>
                <a:gd name="T27" fmla="*/ 2147483647 h 266"/>
                <a:gd name="T28" fmla="*/ 2147483647 w 165"/>
                <a:gd name="T29" fmla="*/ 2147483647 h 266"/>
                <a:gd name="T30" fmla="*/ 2147483647 w 165"/>
                <a:gd name="T31" fmla="*/ 2147483647 h 266"/>
                <a:gd name="T32" fmla="*/ 2147483647 w 165"/>
                <a:gd name="T33" fmla="*/ 2147483647 h 266"/>
                <a:gd name="T34" fmla="*/ 0 w 165"/>
                <a:gd name="T35" fmla="*/ 0 h 266"/>
                <a:gd name="T36" fmla="*/ 2147483647 w 165"/>
                <a:gd name="T37" fmla="*/ 2147483647 h 266"/>
                <a:gd name="T38" fmla="*/ 2147483647 w 165"/>
                <a:gd name="T39" fmla="*/ 2147483647 h 266"/>
                <a:gd name="T40" fmla="*/ 2147483647 w 165"/>
                <a:gd name="T41" fmla="*/ 2147483647 h 266"/>
                <a:gd name="T42" fmla="*/ 2147483647 w 165"/>
                <a:gd name="T43" fmla="*/ 2147483647 h 266"/>
                <a:gd name="T44" fmla="*/ 2147483647 w 165"/>
                <a:gd name="T45" fmla="*/ 2147483647 h 266"/>
                <a:gd name="T46" fmla="*/ 2147483647 w 165"/>
                <a:gd name="T47" fmla="*/ 2147483647 h 266"/>
                <a:gd name="T48" fmla="*/ 2147483647 w 165"/>
                <a:gd name="T49" fmla="*/ 2147483647 h 266"/>
                <a:gd name="T50" fmla="*/ 2147483647 w 165"/>
                <a:gd name="T51" fmla="*/ 2147483647 h 266"/>
                <a:gd name="T52" fmla="*/ 2147483647 w 165"/>
                <a:gd name="T53" fmla="*/ 2147483647 h 266"/>
                <a:gd name="T54" fmla="*/ 2147483647 w 165"/>
                <a:gd name="T55" fmla="*/ 2147483647 h 266"/>
                <a:gd name="T56" fmla="*/ 2147483647 w 165"/>
                <a:gd name="T57" fmla="*/ 2147483647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65"/>
                <a:gd name="T88" fmla="*/ 0 h 266"/>
                <a:gd name="T89" fmla="*/ 165 w 165"/>
                <a:gd name="T90" fmla="*/ 266 h 2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65" h="266">
                  <a:moveTo>
                    <a:pt x="165" y="110"/>
                  </a:moveTo>
                  <a:lnTo>
                    <a:pt x="156" y="156"/>
                  </a:lnTo>
                  <a:lnTo>
                    <a:pt x="146" y="166"/>
                  </a:lnTo>
                  <a:lnTo>
                    <a:pt x="145" y="181"/>
                  </a:lnTo>
                  <a:lnTo>
                    <a:pt x="133" y="173"/>
                  </a:lnTo>
                  <a:lnTo>
                    <a:pt x="116" y="177"/>
                  </a:lnTo>
                  <a:lnTo>
                    <a:pt x="122" y="194"/>
                  </a:lnTo>
                  <a:lnTo>
                    <a:pt x="69" y="266"/>
                  </a:lnTo>
                  <a:lnTo>
                    <a:pt x="42" y="257"/>
                  </a:lnTo>
                  <a:lnTo>
                    <a:pt x="53" y="240"/>
                  </a:lnTo>
                  <a:lnTo>
                    <a:pt x="63" y="207"/>
                  </a:lnTo>
                  <a:lnTo>
                    <a:pt x="19" y="173"/>
                  </a:lnTo>
                  <a:lnTo>
                    <a:pt x="27" y="158"/>
                  </a:lnTo>
                  <a:lnTo>
                    <a:pt x="44" y="160"/>
                  </a:lnTo>
                  <a:lnTo>
                    <a:pt x="50" y="109"/>
                  </a:lnTo>
                  <a:lnTo>
                    <a:pt x="36" y="74"/>
                  </a:lnTo>
                  <a:lnTo>
                    <a:pt x="2" y="23"/>
                  </a:lnTo>
                  <a:lnTo>
                    <a:pt x="0" y="0"/>
                  </a:lnTo>
                  <a:lnTo>
                    <a:pt x="12" y="12"/>
                  </a:lnTo>
                  <a:lnTo>
                    <a:pt x="40" y="29"/>
                  </a:lnTo>
                  <a:lnTo>
                    <a:pt x="55" y="78"/>
                  </a:lnTo>
                  <a:lnTo>
                    <a:pt x="72" y="101"/>
                  </a:lnTo>
                  <a:lnTo>
                    <a:pt x="65" y="72"/>
                  </a:lnTo>
                  <a:lnTo>
                    <a:pt x="74" y="72"/>
                  </a:lnTo>
                  <a:lnTo>
                    <a:pt x="84" y="93"/>
                  </a:lnTo>
                  <a:lnTo>
                    <a:pt x="84" y="112"/>
                  </a:lnTo>
                  <a:lnTo>
                    <a:pt x="129" y="124"/>
                  </a:lnTo>
                  <a:lnTo>
                    <a:pt x="143" y="109"/>
                  </a:lnTo>
                  <a:lnTo>
                    <a:pt x="165" y="11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4" name="Freeform 311"/>
            <p:cNvSpPr>
              <a:spLocks/>
            </p:cNvSpPr>
            <p:nvPr/>
          </p:nvSpPr>
          <p:spPr bwMode="auto">
            <a:xfrm>
              <a:off x="5498669" y="5108203"/>
              <a:ext cx="114664" cy="154815"/>
            </a:xfrm>
            <a:custGeom>
              <a:avLst/>
              <a:gdLst>
                <a:gd name="T0" fmla="*/ 2147483647 w 213"/>
                <a:gd name="T1" fmla="*/ 0 h 249"/>
                <a:gd name="T2" fmla="*/ 2147483647 w 213"/>
                <a:gd name="T3" fmla="*/ 2147483647 h 249"/>
                <a:gd name="T4" fmla="*/ 2147483647 w 213"/>
                <a:gd name="T5" fmla="*/ 2147483647 h 249"/>
                <a:gd name="T6" fmla="*/ 2147483647 w 213"/>
                <a:gd name="T7" fmla="*/ 2147483647 h 249"/>
                <a:gd name="T8" fmla="*/ 2147483647 w 213"/>
                <a:gd name="T9" fmla="*/ 2147483647 h 249"/>
                <a:gd name="T10" fmla="*/ 2147483647 w 213"/>
                <a:gd name="T11" fmla="*/ 2147483647 h 249"/>
                <a:gd name="T12" fmla="*/ 2147483647 w 213"/>
                <a:gd name="T13" fmla="*/ 2147483647 h 249"/>
                <a:gd name="T14" fmla="*/ 2147483647 w 213"/>
                <a:gd name="T15" fmla="*/ 2147483647 h 249"/>
                <a:gd name="T16" fmla="*/ 2147483647 w 213"/>
                <a:gd name="T17" fmla="*/ 2147483647 h 249"/>
                <a:gd name="T18" fmla="*/ 2147483647 w 213"/>
                <a:gd name="T19" fmla="*/ 2147483647 h 249"/>
                <a:gd name="T20" fmla="*/ 2147483647 w 213"/>
                <a:gd name="T21" fmla="*/ 2147483647 h 249"/>
                <a:gd name="T22" fmla="*/ 2147483647 w 213"/>
                <a:gd name="T23" fmla="*/ 2147483647 h 249"/>
                <a:gd name="T24" fmla="*/ 2147483647 w 213"/>
                <a:gd name="T25" fmla="*/ 2147483647 h 249"/>
                <a:gd name="T26" fmla="*/ 2147483647 w 213"/>
                <a:gd name="T27" fmla="*/ 2147483647 h 249"/>
                <a:gd name="T28" fmla="*/ 2147483647 w 213"/>
                <a:gd name="T29" fmla="*/ 2147483647 h 249"/>
                <a:gd name="T30" fmla="*/ 0 w 213"/>
                <a:gd name="T31" fmla="*/ 2147483647 h 249"/>
                <a:gd name="T32" fmla="*/ 2147483647 w 213"/>
                <a:gd name="T33" fmla="*/ 2147483647 h 249"/>
                <a:gd name="T34" fmla="*/ 2147483647 w 213"/>
                <a:gd name="T35" fmla="*/ 2147483647 h 249"/>
                <a:gd name="T36" fmla="*/ 2147483647 w 213"/>
                <a:gd name="T37" fmla="*/ 2147483647 h 249"/>
                <a:gd name="T38" fmla="*/ 2147483647 w 213"/>
                <a:gd name="T39" fmla="*/ 2147483647 h 249"/>
                <a:gd name="T40" fmla="*/ 2147483647 w 213"/>
                <a:gd name="T41" fmla="*/ 2147483647 h 249"/>
                <a:gd name="T42" fmla="*/ 2147483647 w 213"/>
                <a:gd name="T43" fmla="*/ 2147483647 h 249"/>
                <a:gd name="T44" fmla="*/ 2147483647 w 213"/>
                <a:gd name="T45" fmla="*/ 0 h 24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13"/>
                <a:gd name="T70" fmla="*/ 0 h 249"/>
                <a:gd name="T71" fmla="*/ 213 w 213"/>
                <a:gd name="T72" fmla="*/ 249 h 24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13" h="249">
                  <a:moveTo>
                    <a:pt x="167" y="0"/>
                  </a:moveTo>
                  <a:lnTo>
                    <a:pt x="184" y="4"/>
                  </a:lnTo>
                  <a:lnTo>
                    <a:pt x="173" y="11"/>
                  </a:lnTo>
                  <a:lnTo>
                    <a:pt x="194" y="34"/>
                  </a:lnTo>
                  <a:lnTo>
                    <a:pt x="203" y="25"/>
                  </a:lnTo>
                  <a:lnTo>
                    <a:pt x="213" y="42"/>
                  </a:lnTo>
                  <a:lnTo>
                    <a:pt x="194" y="85"/>
                  </a:lnTo>
                  <a:lnTo>
                    <a:pt x="178" y="99"/>
                  </a:lnTo>
                  <a:lnTo>
                    <a:pt x="188" y="123"/>
                  </a:lnTo>
                  <a:lnTo>
                    <a:pt x="146" y="142"/>
                  </a:lnTo>
                  <a:lnTo>
                    <a:pt x="125" y="216"/>
                  </a:lnTo>
                  <a:lnTo>
                    <a:pt x="99" y="239"/>
                  </a:lnTo>
                  <a:lnTo>
                    <a:pt x="81" y="249"/>
                  </a:lnTo>
                  <a:lnTo>
                    <a:pt x="34" y="224"/>
                  </a:lnTo>
                  <a:lnTo>
                    <a:pt x="11" y="228"/>
                  </a:lnTo>
                  <a:lnTo>
                    <a:pt x="0" y="214"/>
                  </a:lnTo>
                  <a:lnTo>
                    <a:pt x="2" y="195"/>
                  </a:lnTo>
                  <a:lnTo>
                    <a:pt x="55" y="137"/>
                  </a:lnTo>
                  <a:lnTo>
                    <a:pt x="121" y="93"/>
                  </a:lnTo>
                  <a:lnTo>
                    <a:pt x="140" y="47"/>
                  </a:lnTo>
                  <a:lnTo>
                    <a:pt x="154" y="47"/>
                  </a:lnTo>
                  <a:lnTo>
                    <a:pt x="156" y="19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5" name="Freeform 312"/>
            <p:cNvSpPr>
              <a:spLocks/>
            </p:cNvSpPr>
            <p:nvPr/>
          </p:nvSpPr>
          <p:spPr bwMode="auto">
            <a:xfrm>
              <a:off x="5660741" y="4629787"/>
              <a:ext cx="26461" cy="22116"/>
            </a:xfrm>
            <a:custGeom>
              <a:avLst/>
              <a:gdLst>
                <a:gd name="T0" fmla="*/ 2147483647 w 48"/>
                <a:gd name="T1" fmla="*/ 0 h 37"/>
                <a:gd name="T2" fmla="*/ 2147483647 w 48"/>
                <a:gd name="T3" fmla="*/ 0 h 37"/>
                <a:gd name="T4" fmla="*/ 2147483647 w 48"/>
                <a:gd name="T5" fmla="*/ 2147483647 h 37"/>
                <a:gd name="T6" fmla="*/ 2147483647 w 48"/>
                <a:gd name="T7" fmla="*/ 2147483647 h 37"/>
                <a:gd name="T8" fmla="*/ 2147483647 w 48"/>
                <a:gd name="T9" fmla="*/ 2147483647 h 37"/>
                <a:gd name="T10" fmla="*/ 2147483647 w 48"/>
                <a:gd name="T11" fmla="*/ 2147483647 h 37"/>
                <a:gd name="T12" fmla="*/ 2147483647 w 48"/>
                <a:gd name="T13" fmla="*/ 2147483647 h 37"/>
                <a:gd name="T14" fmla="*/ 0 w 48"/>
                <a:gd name="T15" fmla="*/ 2147483647 h 37"/>
                <a:gd name="T16" fmla="*/ 2147483647 w 48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8"/>
                <a:gd name="T28" fmla="*/ 0 h 37"/>
                <a:gd name="T29" fmla="*/ 48 w 48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8" h="37">
                  <a:moveTo>
                    <a:pt x="13" y="0"/>
                  </a:moveTo>
                  <a:lnTo>
                    <a:pt x="32" y="0"/>
                  </a:lnTo>
                  <a:lnTo>
                    <a:pt x="46" y="4"/>
                  </a:lnTo>
                  <a:lnTo>
                    <a:pt x="48" y="21"/>
                  </a:lnTo>
                  <a:lnTo>
                    <a:pt x="40" y="37"/>
                  </a:lnTo>
                  <a:lnTo>
                    <a:pt x="23" y="27"/>
                  </a:lnTo>
                  <a:lnTo>
                    <a:pt x="10" y="29"/>
                  </a:lnTo>
                  <a:lnTo>
                    <a:pt x="0" y="16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6" name="Freeform 313"/>
            <p:cNvSpPr>
              <a:spLocks/>
            </p:cNvSpPr>
            <p:nvPr/>
          </p:nvSpPr>
          <p:spPr bwMode="auto">
            <a:xfrm>
              <a:off x="5684997" y="4599522"/>
              <a:ext cx="22051" cy="20952"/>
            </a:xfrm>
            <a:custGeom>
              <a:avLst/>
              <a:gdLst>
                <a:gd name="T0" fmla="*/ 2147483647 w 40"/>
                <a:gd name="T1" fmla="*/ 0 h 32"/>
                <a:gd name="T2" fmla="*/ 2147483647 w 40"/>
                <a:gd name="T3" fmla="*/ 2147483647 h 32"/>
                <a:gd name="T4" fmla="*/ 2147483647 w 40"/>
                <a:gd name="T5" fmla="*/ 2147483647 h 32"/>
                <a:gd name="T6" fmla="*/ 2147483647 w 40"/>
                <a:gd name="T7" fmla="*/ 2147483647 h 32"/>
                <a:gd name="T8" fmla="*/ 2147483647 w 40"/>
                <a:gd name="T9" fmla="*/ 2147483647 h 32"/>
                <a:gd name="T10" fmla="*/ 0 w 40"/>
                <a:gd name="T11" fmla="*/ 2147483647 h 32"/>
                <a:gd name="T12" fmla="*/ 2147483647 w 40"/>
                <a:gd name="T13" fmla="*/ 2147483647 h 32"/>
                <a:gd name="T14" fmla="*/ 2147483647 w 40"/>
                <a:gd name="T15" fmla="*/ 0 h 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32"/>
                <a:gd name="T26" fmla="*/ 40 w 40"/>
                <a:gd name="T27" fmla="*/ 32 h 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32">
                  <a:moveTo>
                    <a:pt x="40" y="0"/>
                  </a:moveTo>
                  <a:lnTo>
                    <a:pt x="30" y="17"/>
                  </a:lnTo>
                  <a:lnTo>
                    <a:pt x="38" y="17"/>
                  </a:lnTo>
                  <a:lnTo>
                    <a:pt x="40" y="27"/>
                  </a:lnTo>
                  <a:lnTo>
                    <a:pt x="7" y="32"/>
                  </a:lnTo>
                  <a:lnTo>
                    <a:pt x="0" y="25"/>
                  </a:lnTo>
                  <a:lnTo>
                    <a:pt x="5" y="1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7" name="Freeform 314"/>
            <p:cNvSpPr>
              <a:spLocks/>
            </p:cNvSpPr>
            <p:nvPr/>
          </p:nvSpPr>
          <p:spPr bwMode="auto">
            <a:xfrm>
              <a:off x="5363057" y="4186293"/>
              <a:ext cx="5513" cy="6984"/>
            </a:xfrm>
            <a:custGeom>
              <a:avLst/>
              <a:gdLst>
                <a:gd name="T0" fmla="*/ 0 w 9"/>
                <a:gd name="T1" fmla="*/ 2147483647 h 10"/>
                <a:gd name="T2" fmla="*/ 2147483647 w 9"/>
                <a:gd name="T3" fmla="*/ 0 h 10"/>
                <a:gd name="T4" fmla="*/ 2147483647 w 9"/>
                <a:gd name="T5" fmla="*/ 2147483647 h 10"/>
                <a:gd name="T6" fmla="*/ 0 w 9"/>
                <a:gd name="T7" fmla="*/ 2147483647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0"/>
                <a:gd name="T14" fmla="*/ 9 w 9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0">
                  <a:moveTo>
                    <a:pt x="0" y="4"/>
                  </a:moveTo>
                  <a:lnTo>
                    <a:pt x="9" y="0"/>
                  </a:lnTo>
                  <a:lnTo>
                    <a:pt x="5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8" name="Freeform 315"/>
            <p:cNvSpPr>
              <a:spLocks/>
            </p:cNvSpPr>
            <p:nvPr/>
          </p:nvSpPr>
          <p:spPr bwMode="auto">
            <a:xfrm>
              <a:off x="5446849" y="4215393"/>
              <a:ext cx="5513" cy="3492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0 h 5"/>
                <a:gd name="T4" fmla="*/ 2147483647 w 9"/>
                <a:gd name="T5" fmla="*/ 2147483647 h 5"/>
                <a:gd name="T6" fmla="*/ 0 w 9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5"/>
                <a:gd name="T14" fmla="*/ 9 w 9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5">
                  <a:moveTo>
                    <a:pt x="0" y="5"/>
                  </a:moveTo>
                  <a:lnTo>
                    <a:pt x="3" y="0"/>
                  </a:lnTo>
                  <a:lnTo>
                    <a:pt x="9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39" name="Freeform 316"/>
            <p:cNvSpPr>
              <a:spLocks/>
            </p:cNvSpPr>
            <p:nvPr/>
          </p:nvSpPr>
          <p:spPr bwMode="auto">
            <a:xfrm>
              <a:off x="5360852" y="4291056"/>
              <a:ext cx="3308" cy="2328"/>
            </a:xfrm>
            <a:custGeom>
              <a:avLst/>
              <a:gdLst>
                <a:gd name="T0" fmla="*/ 0 w 6"/>
                <a:gd name="T1" fmla="*/ 0 h 4"/>
                <a:gd name="T2" fmla="*/ 2147483647 w 6"/>
                <a:gd name="T3" fmla="*/ 0 h 4"/>
                <a:gd name="T4" fmla="*/ 0 w 6"/>
                <a:gd name="T5" fmla="*/ 2147483647 h 4"/>
                <a:gd name="T6" fmla="*/ 0 w 6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4"/>
                <a:gd name="T14" fmla="*/ 6 w 6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4">
                  <a:moveTo>
                    <a:pt x="0" y="0"/>
                  </a:moveTo>
                  <a:lnTo>
                    <a:pt x="6" y="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0" name="Freeform 317"/>
            <p:cNvSpPr>
              <a:spLocks/>
            </p:cNvSpPr>
            <p:nvPr/>
          </p:nvSpPr>
          <p:spPr bwMode="auto">
            <a:xfrm>
              <a:off x="5310135" y="4302696"/>
              <a:ext cx="7718" cy="4656"/>
            </a:xfrm>
            <a:custGeom>
              <a:avLst/>
              <a:gdLst>
                <a:gd name="T0" fmla="*/ 0 w 15"/>
                <a:gd name="T1" fmla="*/ 2147483647 h 8"/>
                <a:gd name="T2" fmla="*/ 2147483647 w 15"/>
                <a:gd name="T3" fmla="*/ 2147483647 h 8"/>
                <a:gd name="T4" fmla="*/ 2147483647 w 15"/>
                <a:gd name="T5" fmla="*/ 0 h 8"/>
                <a:gd name="T6" fmla="*/ 2147483647 w 15"/>
                <a:gd name="T7" fmla="*/ 2147483647 h 8"/>
                <a:gd name="T8" fmla="*/ 2147483647 w 15"/>
                <a:gd name="T9" fmla="*/ 2147483647 h 8"/>
                <a:gd name="T10" fmla="*/ 2147483647 w 15"/>
                <a:gd name="T11" fmla="*/ 2147483647 h 8"/>
                <a:gd name="T12" fmla="*/ 0 w 15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8"/>
                <a:gd name="T23" fmla="*/ 15 w 15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8">
                  <a:moveTo>
                    <a:pt x="0" y="8"/>
                  </a:moveTo>
                  <a:lnTo>
                    <a:pt x="6" y="6"/>
                  </a:lnTo>
                  <a:lnTo>
                    <a:pt x="4" y="0"/>
                  </a:lnTo>
                  <a:lnTo>
                    <a:pt x="7" y="4"/>
                  </a:lnTo>
                  <a:lnTo>
                    <a:pt x="15" y="8"/>
                  </a:lnTo>
                  <a:lnTo>
                    <a:pt x="6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1" name="Freeform 318"/>
            <p:cNvSpPr>
              <a:spLocks/>
            </p:cNvSpPr>
            <p:nvPr/>
          </p:nvSpPr>
          <p:spPr bwMode="auto">
            <a:xfrm>
              <a:off x="5058757" y="4145552"/>
              <a:ext cx="4410" cy="3492"/>
            </a:xfrm>
            <a:custGeom>
              <a:avLst/>
              <a:gdLst>
                <a:gd name="T0" fmla="*/ 2147483647 w 8"/>
                <a:gd name="T1" fmla="*/ 0 h 5"/>
                <a:gd name="T2" fmla="*/ 2147483647 w 8"/>
                <a:gd name="T3" fmla="*/ 2147483647 h 5"/>
                <a:gd name="T4" fmla="*/ 0 w 8"/>
                <a:gd name="T5" fmla="*/ 2147483647 h 5"/>
                <a:gd name="T6" fmla="*/ 2147483647 w 8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8" y="0"/>
                  </a:moveTo>
                  <a:lnTo>
                    <a:pt x="8" y="5"/>
                  </a:lnTo>
                  <a:lnTo>
                    <a:pt x="0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2" name="Freeform 319"/>
            <p:cNvSpPr>
              <a:spLocks/>
            </p:cNvSpPr>
            <p:nvPr/>
          </p:nvSpPr>
          <p:spPr bwMode="auto">
            <a:xfrm>
              <a:off x="5106166" y="4363225"/>
              <a:ext cx="151048" cy="150159"/>
            </a:xfrm>
            <a:custGeom>
              <a:avLst/>
              <a:gdLst>
                <a:gd name="T0" fmla="*/ 2147483647 w 280"/>
                <a:gd name="T1" fmla="*/ 2147483647 h 239"/>
                <a:gd name="T2" fmla="*/ 0 w 280"/>
                <a:gd name="T3" fmla="*/ 0 h 239"/>
                <a:gd name="T4" fmla="*/ 2147483647 w 280"/>
                <a:gd name="T5" fmla="*/ 2147483647 h 239"/>
                <a:gd name="T6" fmla="*/ 2147483647 w 280"/>
                <a:gd name="T7" fmla="*/ 2147483647 h 239"/>
                <a:gd name="T8" fmla="*/ 2147483647 w 280"/>
                <a:gd name="T9" fmla="*/ 2147483647 h 239"/>
                <a:gd name="T10" fmla="*/ 2147483647 w 280"/>
                <a:gd name="T11" fmla="*/ 2147483647 h 239"/>
                <a:gd name="T12" fmla="*/ 2147483647 w 280"/>
                <a:gd name="T13" fmla="*/ 2147483647 h 239"/>
                <a:gd name="T14" fmla="*/ 2147483647 w 280"/>
                <a:gd name="T15" fmla="*/ 2147483647 h 239"/>
                <a:gd name="T16" fmla="*/ 2147483647 w 280"/>
                <a:gd name="T17" fmla="*/ 2147483647 h 239"/>
                <a:gd name="T18" fmla="*/ 2147483647 w 280"/>
                <a:gd name="T19" fmla="*/ 2147483647 h 239"/>
                <a:gd name="T20" fmla="*/ 2147483647 w 280"/>
                <a:gd name="T21" fmla="*/ 2147483647 h 239"/>
                <a:gd name="T22" fmla="*/ 2147483647 w 280"/>
                <a:gd name="T23" fmla="*/ 2147483647 h 239"/>
                <a:gd name="T24" fmla="*/ 2147483647 w 280"/>
                <a:gd name="T25" fmla="*/ 2147483647 h 239"/>
                <a:gd name="T26" fmla="*/ 2147483647 w 280"/>
                <a:gd name="T27" fmla="*/ 2147483647 h 239"/>
                <a:gd name="T28" fmla="*/ 2147483647 w 280"/>
                <a:gd name="T29" fmla="*/ 2147483647 h 239"/>
                <a:gd name="T30" fmla="*/ 2147483647 w 280"/>
                <a:gd name="T31" fmla="*/ 2147483647 h 239"/>
                <a:gd name="T32" fmla="*/ 2147483647 w 280"/>
                <a:gd name="T33" fmla="*/ 2147483647 h 239"/>
                <a:gd name="T34" fmla="*/ 2147483647 w 280"/>
                <a:gd name="T35" fmla="*/ 2147483647 h 239"/>
                <a:gd name="T36" fmla="*/ 2147483647 w 280"/>
                <a:gd name="T37" fmla="*/ 2147483647 h 239"/>
                <a:gd name="T38" fmla="*/ 2147483647 w 280"/>
                <a:gd name="T39" fmla="*/ 2147483647 h 239"/>
                <a:gd name="T40" fmla="*/ 2147483647 w 280"/>
                <a:gd name="T41" fmla="*/ 2147483647 h 239"/>
                <a:gd name="T42" fmla="*/ 2147483647 w 280"/>
                <a:gd name="T43" fmla="*/ 2147483647 h 239"/>
                <a:gd name="T44" fmla="*/ 2147483647 w 280"/>
                <a:gd name="T45" fmla="*/ 2147483647 h 239"/>
                <a:gd name="T46" fmla="*/ 2147483647 w 280"/>
                <a:gd name="T47" fmla="*/ 2147483647 h 239"/>
                <a:gd name="T48" fmla="*/ 2147483647 w 280"/>
                <a:gd name="T49" fmla="*/ 2147483647 h 239"/>
                <a:gd name="T50" fmla="*/ 2147483647 w 280"/>
                <a:gd name="T51" fmla="*/ 2147483647 h 239"/>
                <a:gd name="T52" fmla="*/ 2147483647 w 280"/>
                <a:gd name="T53" fmla="*/ 2147483647 h 239"/>
                <a:gd name="T54" fmla="*/ 2147483647 w 280"/>
                <a:gd name="T55" fmla="*/ 2147483647 h 239"/>
                <a:gd name="T56" fmla="*/ 2147483647 w 280"/>
                <a:gd name="T57" fmla="*/ 2147483647 h 239"/>
                <a:gd name="T58" fmla="*/ 2147483647 w 280"/>
                <a:gd name="T59" fmla="*/ 2147483647 h 239"/>
                <a:gd name="T60" fmla="*/ 2147483647 w 280"/>
                <a:gd name="T61" fmla="*/ 2147483647 h 239"/>
                <a:gd name="T62" fmla="*/ 2147483647 w 280"/>
                <a:gd name="T63" fmla="*/ 2147483647 h 239"/>
                <a:gd name="T64" fmla="*/ 2147483647 w 280"/>
                <a:gd name="T65" fmla="*/ 2147483647 h 23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0"/>
                <a:gd name="T100" fmla="*/ 0 h 239"/>
                <a:gd name="T101" fmla="*/ 280 w 280"/>
                <a:gd name="T102" fmla="*/ 239 h 23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0" h="239">
                  <a:moveTo>
                    <a:pt x="2" y="184"/>
                  </a:moveTo>
                  <a:lnTo>
                    <a:pt x="0" y="0"/>
                  </a:lnTo>
                  <a:lnTo>
                    <a:pt x="27" y="8"/>
                  </a:lnTo>
                  <a:lnTo>
                    <a:pt x="58" y="30"/>
                  </a:lnTo>
                  <a:lnTo>
                    <a:pt x="99" y="34"/>
                  </a:lnTo>
                  <a:lnTo>
                    <a:pt x="135" y="59"/>
                  </a:lnTo>
                  <a:lnTo>
                    <a:pt x="132" y="80"/>
                  </a:lnTo>
                  <a:lnTo>
                    <a:pt x="187" y="93"/>
                  </a:lnTo>
                  <a:lnTo>
                    <a:pt x="196" y="116"/>
                  </a:lnTo>
                  <a:lnTo>
                    <a:pt x="187" y="122"/>
                  </a:lnTo>
                  <a:lnTo>
                    <a:pt x="168" y="120"/>
                  </a:lnTo>
                  <a:lnTo>
                    <a:pt x="202" y="173"/>
                  </a:lnTo>
                  <a:lnTo>
                    <a:pt x="219" y="188"/>
                  </a:lnTo>
                  <a:lnTo>
                    <a:pt x="236" y="188"/>
                  </a:lnTo>
                  <a:lnTo>
                    <a:pt x="234" y="199"/>
                  </a:lnTo>
                  <a:lnTo>
                    <a:pt x="255" y="203"/>
                  </a:lnTo>
                  <a:lnTo>
                    <a:pt x="253" y="215"/>
                  </a:lnTo>
                  <a:lnTo>
                    <a:pt x="280" y="224"/>
                  </a:lnTo>
                  <a:lnTo>
                    <a:pt x="267" y="239"/>
                  </a:lnTo>
                  <a:lnTo>
                    <a:pt x="255" y="237"/>
                  </a:lnTo>
                  <a:lnTo>
                    <a:pt x="253" y="226"/>
                  </a:lnTo>
                  <a:lnTo>
                    <a:pt x="204" y="224"/>
                  </a:lnTo>
                  <a:lnTo>
                    <a:pt x="175" y="213"/>
                  </a:lnTo>
                  <a:lnTo>
                    <a:pt x="147" y="184"/>
                  </a:lnTo>
                  <a:lnTo>
                    <a:pt x="137" y="150"/>
                  </a:lnTo>
                  <a:lnTo>
                    <a:pt x="111" y="141"/>
                  </a:lnTo>
                  <a:lnTo>
                    <a:pt x="78" y="137"/>
                  </a:lnTo>
                  <a:lnTo>
                    <a:pt x="59" y="163"/>
                  </a:lnTo>
                  <a:lnTo>
                    <a:pt x="61" y="177"/>
                  </a:lnTo>
                  <a:lnTo>
                    <a:pt x="42" y="190"/>
                  </a:lnTo>
                  <a:lnTo>
                    <a:pt x="12" y="180"/>
                  </a:lnTo>
                  <a:lnTo>
                    <a:pt x="8" y="184"/>
                  </a:lnTo>
                  <a:lnTo>
                    <a:pt x="2" y="18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3" name="Freeform 320"/>
            <p:cNvSpPr>
              <a:spLocks/>
            </p:cNvSpPr>
            <p:nvPr/>
          </p:nvSpPr>
          <p:spPr bwMode="auto">
            <a:xfrm>
              <a:off x="5216420" y="4392326"/>
              <a:ext cx="66152" cy="41905"/>
            </a:xfrm>
            <a:custGeom>
              <a:avLst/>
              <a:gdLst>
                <a:gd name="T0" fmla="*/ 0 w 119"/>
                <a:gd name="T1" fmla="*/ 2147483647 h 68"/>
                <a:gd name="T2" fmla="*/ 2147483647 w 119"/>
                <a:gd name="T3" fmla="*/ 2147483647 h 68"/>
                <a:gd name="T4" fmla="*/ 2147483647 w 119"/>
                <a:gd name="T5" fmla="*/ 2147483647 h 68"/>
                <a:gd name="T6" fmla="*/ 2147483647 w 119"/>
                <a:gd name="T7" fmla="*/ 2147483647 h 68"/>
                <a:gd name="T8" fmla="*/ 2147483647 w 119"/>
                <a:gd name="T9" fmla="*/ 2147483647 h 68"/>
                <a:gd name="T10" fmla="*/ 2147483647 w 119"/>
                <a:gd name="T11" fmla="*/ 2147483647 h 68"/>
                <a:gd name="T12" fmla="*/ 2147483647 w 119"/>
                <a:gd name="T13" fmla="*/ 2147483647 h 68"/>
                <a:gd name="T14" fmla="*/ 2147483647 w 119"/>
                <a:gd name="T15" fmla="*/ 0 h 68"/>
                <a:gd name="T16" fmla="*/ 2147483647 w 119"/>
                <a:gd name="T17" fmla="*/ 2147483647 h 68"/>
                <a:gd name="T18" fmla="*/ 2147483647 w 119"/>
                <a:gd name="T19" fmla="*/ 2147483647 h 68"/>
                <a:gd name="T20" fmla="*/ 2147483647 w 119"/>
                <a:gd name="T21" fmla="*/ 2147483647 h 68"/>
                <a:gd name="T22" fmla="*/ 2147483647 w 119"/>
                <a:gd name="T23" fmla="*/ 2147483647 h 68"/>
                <a:gd name="T24" fmla="*/ 2147483647 w 119"/>
                <a:gd name="T25" fmla="*/ 2147483647 h 68"/>
                <a:gd name="T26" fmla="*/ 2147483647 w 119"/>
                <a:gd name="T27" fmla="*/ 2147483647 h 68"/>
                <a:gd name="T28" fmla="*/ 2147483647 w 119"/>
                <a:gd name="T29" fmla="*/ 2147483647 h 68"/>
                <a:gd name="T30" fmla="*/ 2147483647 w 119"/>
                <a:gd name="T31" fmla="*/ 2147483647 h 68"/>
                <a:gd name="T32" fmla="*/ 0 w 119"/>
                <a:gd name="T33" fmla="*/ 2147483647 h 68"/>
                <a:gd name="T34" fmla="*/ 0 w 119"/>
                <a:gd name="T35" fmla="*/ 2147483647 h 6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9"/>
                <a:gd name="T55" fmla="*/ 0 h 68"/>
                <a:gd name="T56" fmla="*/ 119 w 119"/>
                <a:gd name="T57" fmla="*/ 68 h 6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9" h="68">
                  <a:moveTo>
                    <a:pt x="0" y="38"/>
                  </a:moveTo>
                  <a:lnTo>
                    <a:pt x="43" y="38"/>
                  </a:lnTo>
                  <a:lnTo>
                    <a:pt x="53" y="26"/>
                  </a:lnTo>
                  <a:lnTo>
                    <a:pt x="57" y="38"/>
                  </a:lnTo>
                  <a:lnTo>
                    <a:pt x="78" y="41"/>
                  </a:lnTo>
                  <a:lnTo>
                    <a:pt x="91" y="24"/>
                  </a:lnTo>
                  <a:lnTo>
                    <a:pt x="93" y="3"/>
                  </a:lnTo>
                  <a:lnTo>
                    <a:pt x="110" y="0"/>
                  </a:lnTo>
                  <a:lnTo>
                    <a:pt x="119" y="9"/>
                  </a:lnTo>
                  <a:lnTo>
                    <a:pt x="110" y="43"/>
                  </a:lnTo>
                  <a:lnTo>
                    <a:pt x="93" y="43"/>
                  </a:lnTo>
                  <a:lnTo>
                    <a:pt x="83" y="64"/>
                  </a:lnTo>
                  <a:lnTo>
                    <a:pt x="51" y="68"/>
                  </a:lnTo>
                  <a:lnTo>
                    <a:pt x="38" y="55"/>
                  </a:lnTo>
                  <a:lnTo>
                    <a:pt x="23" y="60"/>
                  </a:lnTo>
                  <a:lnTo>
                    <a:pt x="17" y="53"/>
                  </a:lnTo>
                  <a:lnTo>
                    <a:pt x="0" y="51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4" name="Freeform 321"/>
            <p:cNvSpPr>
              <a:spLocks/>
            </p:cNvSpPr>
            <p:nvPr/>
          </p:nvSpPr>
          <p:spPr bwMode="auto">
            <a:xfrm>
              <a:off x="5242881" y="4357405"/>
              <a:ext cx="49614" cy="47725"/>
            </a:xfrm>
            <a:custGeom>
              <a:avLst/>
              <a:gdLst>
                <a:gd name="T0" fmla="*/ 2147483647 w 90"/>
                <a:gd name="T1" fmla="*/ 2147483647 h 76"/>
                <a:gd name="T2" fmla="*/ 2147483647 w 90"/>
                <a:gd name="T3" fmla="*/ 2147483647 h 76"/>
                <a:gd name="T4" fmla="*/ 2147483647 w 90"/>
                <a:gd name="T5" fmla="*/ 2147483647 h 76"/>
                <a:gd name="T6" fmla="*/ 2147483647 w 90"/>
                <a:gd name="T7" fmla="*/ 2147483647 h 76"/>
                <a:gd name="T8" fmla="*/ 2147483647 w 90"/>
                <a:gd name="T9" fmla="*/ 2147483647 h 76"/>
                <a:gd name="T10" fmla="*/ 0 w 90"/>
                <a:gd name="T11" fmla="*/ 2147483647 h 76"/>
                <a:gd name="T12" fmla="*/ 2147483647 w 90"/>
                <a:gd name="T13" fmla="*/ 0 h 76"/>
                <a:gd name="T14" fmla="*/ 2147483647 w 90"/>
                <a:gd name="T15" fmla="*/ 2147483647 h 76"/>
                <a:gd name="T16" fmla="*/ 2147483647 w 90"/>
                <a:gd name="T17" fmla="*/ 2147483647 h 76"/>
                <a:gd name="T18" fmla="*/ 2147483647 w 90"/>
                <a:gd name="T19" fmla="*/ 2147483647 h 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0"/>
                <a:gd name="T31" fmla="*/ 0 h 76"/>
                <a:gd name="T32" fmla="*/ 90 w 90"/>
                <a:gd name="T33" fmla="*/ 76 h 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0" h="76">
                  <a:moveTo>
                    <a:pt x="90" y="62"/>
                  </a:moveTo>
                  <a:lnTo>
                    <a:pt x="80" y="76"/>
                  </a:lnTo>
                  <a:lnTo>
                    <a:pt x="76" y="60"/>
                  </a:lnTo>
                  <a:lnTo>
                    <a:pt x="69" y="45"/>
                  </a:lnTo>
                  <a:lnTo>
                    <a:pt x="25" y="17"/>
                  </a:lnTo>
                  <a:lnTo>
                    <a:pt x="0" y="7"/>
                  </a:lnTo>
                  <a:lnTo>
                    <a:pt x="12" y="0"/>
                  </a:lnTo>
                  <a:lnTo>
                    <a:pt x="33" y="9"/>
                  </a:lnTo>
                  <a:lnTo>
                    <a:pt x="76" y="41"/>
                  </a:lnTo>
                  <a:lnTo>
                    <a:pt x="90" y="6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5" name="Freeform 322"/>
            <p:cNvSpPr>
              <a:spLocks/>
            </p:cNvSpPr>
            <p:nvPr/>
          </p:nvSpPr>
          <p:spPr bwMode="auto">
            <a:xfrm>
              <a:off x="5186651" y="4351585"/>
              <a:ext cx="15436" cy="8148"/>
            </a:xfrm>
            <a:custGeom>
              <a:avLst/>
              <a:gdLst>
                <a:gd name="T0" fmla="*/ 0 w 28"/>
                <a:gd name="T1" fmla="*/ 2147483647 h 13"/>
                <a:gd name="T2" fmla="*/ 2147483647 w 28"/>
                <a:gd name="T3" fmla="*/ 0 h 13"/>
                <a:gd name="T4" fmla="*/ 2147483647 w 28"/>
                <a:gd name="T5" fmla="*/ 2147483647 h 13"/>
                <a:gd name="T6" fmla="*/ 2147483647 w 28"/>
                <a:gd name="T7" fmla="*/ 2147483647 h 13"/>
                <a:gd name="T8" fmla="*/ 2147483647 w 28"/>
                <a:gd name="T9" fmla="*/ 2147483647 h 13"/>
                <a:gd name="T10" fmla="*/ 2147483647 w 28"/>
                <a:gd name="T11" fmla="*/ 2147483647 h 13"/>
                <a:gd name="T12" fmla="*/ 0 w 28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3"/>
                <a:gd name="T23" fmla="*/ 28 w 28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3">
                  <a:moveTo>
                    <a:pt x="0" y="2"/>
                  </a:moveTo>
                  <a:lnTo>
                    <a:pt x="15" y="0"/>
                  </a:lnTo>
                  <a:lnTo>
                    <a:pt x="28" y="2"/>
                  </a:lnTo>
                  <a:lnTo>
                    <a:pt x="28" y="6"/>
                  </a:lnTo>
                  <a:lnTo>
                    <a:pt x="13" y="13"/>
                  </a:lnTo>
                  <a:lnTo>
                    <a:pt x="4" y="1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6" name="Freeform 323"/>
            <p:cNvSpPr>
              <a:spLocks/>
            </p:cNvSpPr>
            <p:nvPr/>
          </p:nvSpPr>
          <p:spPr bwMode="auto">
            <a:xfrm>
              <a:off x="5315648" y="4414442"/>
              <a:ext cx="18743" cy="25609"/>
            </a:xfrm>
            <a:custGeom>
              <a:avLst/>
              <a:gdLst>
                <a:gd name="T0" fmla="*/ 0 w 34"/>
                <a:gd name="T1" fmla="*/ 0 h 40"/>
                <a:gd name="T2" fmla="*/ 2147483647 w 34"/>
                <a:gd name="T3" fmla="*/ 2147483647 h 40"/>
                <a:gd name="T4" fmla="*/ 2147483647 w 34"/>
                <a:gd name="T5" fmla="*/ 2147483647 h 40"/>
                <a:gd name="T6" fmla="*/ 2147483647 w 34"/>
                <a:gd name="T7" fmla="*/ 2147483647 h 40"/>
                <a:gd name="T8" fmla="*/ 2147483647 w 34"/>
                <a:gd name="T9" fmla="*/ 2147483647 h 40"/>
                <a:gd name="T10" fmla="*/ 2147483647 w 34"/>
                <a:gd name="T11" fmla="*/ 2147483647 h 40"/>
                <a:gd name="T12" fmla="*/ 0 w 34"/>
                <a:gd name="T13" fmla="*/ 0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40"/>
                <a:gd name="T23" fmla="*/ 34 w 34"/>
                <a:gd name="T24" fmla="*/ 40 h 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40">
                  <a:moveTo>
                    <a:pt x="0" y="0"/>
                  </a:moveTo>
                  <a:lnTo>
                    <a:pt x="12" y="2"/>
                  </a:lnTo>
                  <a:lnTo>
                    <a:pt x="34" y="28"/>
                  </a:lnTo>
                  <a:lnTo>
                    <a:pt x="33" y="36"/>
                  </a:lnTo>
                  <a:lnTo>
                    <a:pt x="15" y="40"/>
                  </a:lnTo>
                  <a:lnTo>
                    <a:pt x="2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7" name="Freeform 324"/>
            <p:cNvSpPr>
              <a:spLocks/>
            </p:cNvSpPr>
            <p:nvPr/>
          </p:nvSpPr>
          <p:spPr bwMode="auto">
            <a:xfrm>
              <a:off x="5385107" y="4481956"/>
              <a:ext cx="24256" cy="16296"/>
            </a:xfrm>
            <a:custGeom>
              <a:avLst/>
              <a:gdLst>
                <a:gd name="T0" fmla="*/ 2147483647 w 43"/>
                <a:gd name="T1" fmla="*/ 0 h 25"/>
                <a:gd name="T2" fmla="*/ 2147483647 w 43"/>
                <a:gd name="T3" fmla="*/ 2147483647 h 25"/>
                <a:gd name="T4" fmla="*/ 2147483647 w 43"/>
                <a:gd name="T5" fmla="*/ 2147483647 h 25"/>
                <a:gd name="T6" fmla="*/ 2147483647 w 43"/>
                <a:gd name="T7" fmla="*/ 2147483647 h 25"/>
                <a:gd name="T8" fmla="*/ 2147483647 w 43"/>
                <a:gd name="T9" fmla="*/ 2147483647 h 25"/>
                <a:gd name="T10" fmla="*/ 0 w 43"/>
                <a:gd name="T11" fmla="*/ 2147483647 h 25"/>
                <a:gd name="T12" fmla="*/ 2147483647 w 43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3"/>
                <a:gd name="T22" fmla="*/ 0 h 25"/>
                <a:gd name="T23" fmla="*/ 43 w 43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3" h="25">
                  <a:moveTo>
                    <a:pt x="3" y="0"/>
                  </a:moveTo>
                  <a:lnTo>
                    <a:pt x="26" y="4"/>
                  </a:lnTo>
                  <a:lnTo>
                    <a:pt x="43" y="15"/>
                  </a:lnTo>
                  <a:lnTo>
                    <a:pt x="38" y="25"/>
                  </a:lnTo>
                  <a:lnTo>
                    <a:pt x="20" y="25"/>
                  </a:lnTo>
                  <a:lnTo>
                    <a:pt x="0" y="9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8" name="Freeform 325"/>
            <p:cNvSpPr>
              <a:spLocks/>
            </p:cNvSpPr>
            <p:nvPr/>
          </p:nvSpPr>
          <p:spPr bwMode="auto">
            <a:xfrm>
              <a:off x="5413773" y="4499416"/>
              <a:ext cx="17641" cy="16296"/>
            </a:xfrm>
            <a:custGeom>
              <a:avLst/>
              <a:gdLst>
                <a:gd name="T0" fmla="*/ 2147483647 w 32"/>
                <a:gd name="T1" fmla="*/ 0 h 26"/>
                <a:gd name="T2" fmla="*/ 2147483647 w 32"/>
                <a:gd name="T3" fmla="*/ 2147483647 h 26"/>
                <a:gd name="T4" fmla="*/ 2147483647 w 32"/>
                <a:gd name="T5" fmla="*/ 2147483647 h 26"/>
                <a:gd name="T6" fmla="*/ 2147483647 w 32"/>
                <a:gd name="T7" fmla="*/ 2147483647 h 26"/>
                <a:gd name="T8" fmla="*/ 0 w 32"/>
                <a:gd name="T9" fmla="*/ 2147483647 h 26"/>
                <a:gd name="T10" fmla="*/ 2147483647 w 32"/>
                <a:gd name="T11" fmla="*/ 0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26"/>
                <a:gd name="T20" fmla="*/ 32 w 32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26">
                  <a:moveTo>
                    <a:pt x="4" y="0"/>
                  </a:moveTo>
                  <a:lnTo>
                    <a:pt x="24" y="9"/>
                  </a:lnTo>
                  <a:lnTo>
                    <a:pt x="32" y="22"/>
                  </a:lnTo>
                  <a:lnTo>
                    <a:pt x="24" y="26"/>
                  </a:lnTo>
                  <a:lnTo>
                    <a:pt x="0" y="9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49" name="Freeform 326"/>
            <p:cNvSpPr>
              <a:spLocks/>
            </p:cNvSpPr>
            <p:nvPr/>
          </p:nvSpPr>
          <p:spPr bwMode="auto">
            <a:xfrm>
              <a:off x="5407158" y="4467988"/>
              <a:ext cx="13230" cy="26772"/>
            </a:xfrm>
            <a:custGeom>
              <a:avLst/>
              <a:gdLst>
                <a:gd name="T0" fmla="*/ 0 w 25"/>
                <a:gd name="T1" fmla="*/ 0 h 42"/>
                <a:gd name="T2" fmla="*/ 2147483647 w 25"/>
                <a:gd name="T3" fmla="*/ 2147483647 h 42"/>
                <a:gd name="T4" fmla="*/ 2147483647 w 25"/>
                <a:gd name="T5" fmla="*/ 2147483647 h 42"/>
                <a:gd name="T6" fmla="*/ 2147483647 w 25"/>
                <a:gd name="T7" fmla="*/ 2147483647 h 42"/>
                <a:gd name="T8" fmla="*/ 2147483647 w 25"/>
                <a:gd name="T9" fmla="*/ 2147483647 h 42"/>
                <a:gd name="T10" fmla="*/ 0 w 25"/>
                <a:gd name="T11" fmla="*/ 0 h 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42"/>
                <a:gd name="T20" fmla="*/ 25 w 25"/>
                <a:gd name="T21" fmla="*/ 42 h 4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42">
                  <a:moveTo>
                    <a:pt x="0" y="0"/>
                  </a:moveTo>
                  <a:lnTo>
                    <a:pt x="18" y="29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10" y="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0" name="Freeform 327"/>
            <p:cNvSpPr>
              <a:spLocks/>
            </p:cNvSpPr>
            <p:nvPr/>
          </p:nvSpPr>
          <p:spPr bwMode="auto">
            <a:xfrm>
              <a:off x="5368570" y="4454019"/>
              <a:ext cx="25359" cy="23281"/>
            </a:xfrm>
            <a:custGeom>
              <a:avLst/>
              <a:gdLst>
                <a:gd name="T0" fmla="*/ 2147483647 w 46"/>
                <a:gd name="T1" fmla="*/ 0 h 38"/>
                <a:gd name="T2" fmla="*/ 2147483647 w 46"/>
                <a:gd name="T3" fmla="*/ 2147483647 h 38"/>
                <a:gd name="T4" fmla="*/ 2147483647 w 46"/>
                <a:gd name="T5" fmla="*/ 2147483647 h 38"/>
                <a:gd name="T6" fmla="*/ 2147483647 w 46"/>
                <a:gd name="T7" fmla="*/ 2147483647 h 38"/>
                <a:gd name="T8" fmla="*/ 2147483647 w 46"/>
                <a:gd name="T9" fmla="*/ 2147483647 h 38"/>
                <a:gd name="T10" fmla="*/ 0 w 46"/>
                <a:gd name="T11" fmla="*/ 2147483647 h 38"/>
                <a:gd name="T12" fmla="*/ 2147483647 w 46"/>
                <a:gd name="T13" fmla="*/ 0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6"/>
                <a:gd name="T22" fmla="*/ 0 h 38"/>
                <a:gd name="T23" fmla="*/ 46 w 46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6" h="38">
                  <a:moveTo>
                    <a:pt x="8" y="0"/>
                  </a:moveTo>
                  <a:lnTo>
                    <a:pt x="42" y="23"/>
                  </a:lnTo>
                  <a:lnTo>
                    <a:pt x="46" y="38"/>
                  </a:lnTo>
                  <a:lnTo>
                    <a:pt x="38" y="27"/>
                  </a:lnTo>
                  <a:lnTo>
                    <a:pt x="15" y="21"/>
                  </a:lnTo>
                  <a:lnTo>
                    <a:pt x="0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1" name="Freeform 328"/>
            <p:cNvSpPr>
              <a:spLocks/>
            </p:cNvSpPr>
            <p:nvPr/>
          </p:nvSpPr>
          <p:spPr bwMode="auto">
            <a:xfrm>
              <a:off x="5355339" y="4461003"/>
              <a:ext cx="16538" cy="16296"/>
            </a:xfrm>
            <a:custGeom>
              <a:avLst/>
              <a:gdLst>
                <a:gd name="T0" fmla="*/ 2147483647 w 31"/>
                <a:gd name="T1" fmla="*/ 0 h 24"/>
                <a:gd name="T2" fmla="*/ 2147483647 w 31"/>
                <a:gd name="T3" fmla="*/ 2147483647 h 24"/>
                <a:gd name="T4" fmla="*/ 2147483647 w 31"/>
                <a:gd name="T5" fmla="*/ 2147483647 h 24"/>
                <a:gd name="T6" fmla="*/ 2147483647 w 31"/>
                <a:gd name="T7" fmla="*/ 2147483647 h 24"/>
                <a:gd name="T8" fmla="*/ 2147483647 w 31"/>
                <a:gd name="T9" fmla="*/ 2147483647 h 24"/>
                <a:gd name="T10" fmla="*/ 0 w 31"/>
                <a:gd name="T11" fmla="*/ 2147483647 h 24"/>
                <a:gd name="T12" fmla="*/ 2147483647 w 31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24"/>
                <a:gd name="T23" fmla="*/ 31 w 31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24">
                  <a:moveTo>
                    <a:pt x="10" y="0"/>
                  </a:moveTo>
                  <a:lnTo>
                    <a:pt x="21" y="17"/>
                  </a:lnTo>
                  <a:lnTo>
                    <a:pt x="31" y="17"/>
                  </a:lnTo>
                  <a:lnTo>
                    <a:pt x="21" y="24"/>
                  </a:lnTo>
                  <a:lnTo>
                    <a:pt x="10" y="11"/>
                  </a:lnTo>
                  <a:lnTo>
                    <a:pt x="0" y="9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2" name="Freeform 329"/>
            <p:cNvSpPr>
              <a:spLocks/>
            </p:cNvSpPr>
            <p:nvPr/>
          </p:nvSpPr>
          <p:spPr bwMode="auto">
            <a:xfrm>
              <a:off x="5808481" y="4699629"/>
              <a:ext cx="3308" cy="5820"/>
            </a:xfrm>
            <a:custGeom>
              <a:avLst/>
              <a:gdLst>
                <a:gd name="T0" fmla="*/ 0 w 6"/>
                <a:gd name="T1" fmla="*/ 0 h 9"/>
                <a:gd name="T2" fmla="*/ 2147483647 w 6"/>
                <a:gd name="T3" fmla="*/ 2147483647 h 9"/>
                <a:gd name="T4" fmla="*/ 0 w 6"/>
                <a:gd name="T5" fmla="*/ 2147483647 h 9"/>
                <a:gd name="T6" fmla="*/ 0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0" y="0"/>
                  </a:moveTo>
                  <a:lnTo>
                    <a:pt x="6" y="1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3" name="Freeform 330"/>
            <p:cNvSpPr>
              <a:spLocks/>
            </p:cNvSpPr>
            <p:nvPr/>
          </p:nvSpPr>
          <p:spPr bwMode="auto">
            <a:xfrm>
              <a:off x="5808481" y="4684497"/>
              <a:ext cx="4410" cy="4656"/>
            </a:xfrm>
            <a:custGeom>
              <a:avLst/>
              <a:gdLst>
                <a:gd name="T0" fmla="*/ 0 w 7"/>
                <a:gd name="T1" fmla="*/ 0 h 7"/>
                <a:gd name="T2" fmla="*/ 2147483647 w 7"/>
                <a:gd name="T3" fmla="*/ 0 h 7"/>
                <a:gd name="T4" fmla="*/ 2147483647 w 7"/>
                <a:gd name="T5" fmla="*/ 2147483647 h 7"/>
                <a:gd name="T6" fmla="*/ 0 w 7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7"/>
                <a:gd name="T14" fmla="*/ 7 w 7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7">
                  <a:moveTo>
                    <a:pt x="0" y="0"/>
                  </a:moveTo>
                  <a:lnTo>
                    <a:pt x="7" y="0"/>
                  </a:lnTo>
                  <a:lnTo>
                    <a:pt x="2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4" name="Freeform 331"/>
            <p:cNvSpPr>
              <a:spLocks/>
            </p:cNvSpPr>
            <p:nvPr/>
          </p:nvSpPr>
          <p:spPr bwMode="auto">
            <a:xfrm>
              <a:off x="5818404" y="4684497"/>
              <a:ext cx="4410" cy="2328"/>
            </a:xfrm>
            <a:custGeom>
              <a:avLst/>
              <a:gdLst>
                <a:gd name="T0" fmla="*/ 2147483647 w 7"/>
                <a:gd name="T1" fmla="*/ 0 h 4"/>
                <a:gd name="T2" fmla="*/ 2147483647 w 7"/>
                <a:gd name="T3" fmla="*/ 2147483647 h 4"/>
                <a:gd name="T4" fmla="*/ 0 w 7"/>
                <a:gd name="T5" fmla="*/ 2147483647 h 4"/>
                <a:gd name="T6" fmla="*/ 2147483647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4" y="0"/>
                  </a:moveTo>
                  <a:lnTo>
                    <a:pt x="7" y="2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5" name="Freeform 332"/>
            <p:cNvSpPr>
              <a:spLocks/>
            </p:cNvSpPr>
            <p:nvPr/>
          </p:nvSpPr>
          <p:spPr bwMode="auto">
            <a:xfrm>
              <a:off x="5522925" y="4632115"/>
              <a:ext cx="6615" cy="8148"/>
            </a:xfrm>
            <a:custGeom>
              <a:avLst/>
              <a:gdLst>
                <a:gd name="T0" fmla="*/ 2147483647 w 14"/>
                <a:gd name="T1" fmla="*/ 0 h 14"/>
                <a:gd name="T2" fmla="*/ 2147483647 w 14"/>
                <a:gd name="T3" fmla="*/ 0 h 14"/>
                <a:gd name="T4" fmla="*/ 2147483647 w 14"/>
                <a:gd name="T5" fmla="*/ 2147483647 h 14"/>
                <a:gd name="T6" fmla="*/ 0 w 14"/>
                <a:gd name="T7" fmla="*/ 2147483647 h 14"/>
                <a:gd name="T8" fmla="*/ 2147483647 w 14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4"/>
                <a:gd name="T17" fmla="*/ 14 w 14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4">
                  <a:moveTo>
                    <a:pt x="4" y="0"/>
                  </a:moveTo>
                  <a:lnTo>
                    <a:pt x="12" y="0"/>
                  </a:lnTo>
                  <a:lnTo>
                    <a:pt x="14" y="14"/>
                  </a:lnTo>
                  <a:lnTo>
                    <a:pt x="0" y="1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6" name="Freeform 333"/>
            <p:cNvSpPr>
              <a:spLocks/>
            </p:cNvSpPr>
            <p:nvPr/>
          </p:nvSpPr>
          <p:spPr bwMode="auto">
            <a:xfrm>
              <a:off x="5497566" y="4578570"/>
              <a:ext cx="12128" cy="20952"/>
            </a:xfrm>
            <a:custGeom>
              <a:avLst/>
              <a:gdLst>
                <a:gd name="T0" fmla="*/ 2147483647 w 23"/>
                <a:gd name="T1" fmla="*/ 0 h 32"/>
                <a:gd name="T2" fmla="*/ 2147483647 w 23"/>
                <a:gd name="T3" fmla="*/ 2147483647 h 32"/>
                <a:gd name="T4" fmla="*/ 2147483647 w 23"/>
                <a:gd name="T5" fmla="*/ 2147483647 h 32"/>
                <a:gd name="T6" fmla="*/ 2147483647 w 23"/>
                <a:gd name="T7" fmla="*/ 2147483647 h 32"/>
                <a:gd name="T8" fmla="*/ 2147483647 w 23"/>
                <a:gd name="T9" fmla="*/ 2147483647 h 32"/>
                <a:gd name="T10" fmla="*/ 0 w 23"/>
                <a:gd name="T11" fmla="*/ 2147483647 h 32"/>
                <a:gd name="T12" fmla="*/ 2147483647 w 23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32"/>
                <a:gd name="T23" fmla="*/ 23 w 23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32">
                  <a:moveTo>
                    <a:pt x="6" y="0"/>
                  </a:moveTo>
                  <a:lnTo>
                    <a:pt x="13" y="15"/>
                  </a:lnTo>
                  <a:lnTo>
                    <a:pt x="23" y="11"/>
                  </a:lnTo>
                  <a:lnTo>
                    <a:pt x="23" y="30"/>
                  </a:lnTo>
                  <a:lnTo>
                    <a:pt x="9" y="32"/>
                  </a:lnTo>
                  <a:lnTo>
                    <a:pt x="0" y="15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7" name="Freeform 334"/>
            <p:cNvSpPr>
              <a:spLocks/>
            </p:cNvSpPr>
            <p:nvPr/>
          </p:nvSpPr>
          <p:spPr bwMode="auto">
            <a:xfrm>
              <a:off x="5509694" y="4603015"/>
              <a:ext cx="9923" cy="12804"/>
            </a:xfrm>
            <a:custGeom>
              <a:avLst/>
              <a:gdLst>
                <a:gd name="T0" fmla="*/ 2147483647 w 19"/>
                <a:gd name="T1" fmla="*/ 0 h 19"/>
                <a:gd name="T2" fmla="*/ 2147483647 w 19"/>
                <a:gd name="T3" fmla="*/ 2147483647 h 19"/>
                <a:gd name="T4" fmla="*/ 2147483647 w 19"/>
                <a:gd name="T5" fmla="*/ 2147483647 h 19"/>
                <a:gd name="T6" fmla="*/ 0 w 19"/>
                <a:gd name="T7" fmla="*/ 2147483647 h 19"/>
                <a:gd name="T8" fmla="*/ 2147483647 w 19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5" y="0"/>
                  </a:moveTo>
                  <a:lnTo>
                    <a:pt x="19" y="11"/>
                  </a:lnTo>
                  <a:lnTo>
                    <a:pt x="13" y="19"/>
                  </a:lnTo>
                  <a:lnTo>
                    <a:pt x="0" y="7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8" name="Freeform 335"/>
            <p:cNvSpPr>
              <a:spLocks/>
            </p:cNvSpPr>
            <p:nvPr/>
          </p:nvSpPr>
          <p:spPr bwMode="auto">
            <a:xfrm>
              <a:off x="5834942" y="4556454"/>
              <a:ext cx="8820" cy="9312"/>
            </a:xfrm>
            <a:custGeom>
              <a:avLst/>
              <a:gdLst>
                <a:gd name="T0" fmla="*/ 0 w 17"/>
                <a:gd name="T1" fmla="*/ 2147483647 h 13"/>
                <a:gd name="T2" fmla="*/ 2147483647 w 17"/>
                <a:gd name="T3" fmla="*/ 0 h 13"/>
                <a:gd name="T4" fmla="*/ 2147483647 w 17"/>
                <a:gd name="T5" fmla="*/ 2147483647 h 13"/>
                <a:gd name="T6" fmla="*/ 2147483647 w 17"/>
                <a:gd name="T7" fmla="*/ 2147483647 h 13"/>
                <a:gd name="T8" fmla="*/ 0 w 17"/>
                <a:gd name="T9" fmla="*/ 2147483647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3"/>
                <a:gd name="T17" fmla="*/ 17 w 17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3">
                  <a:moveTo>
                    <a:pt x="0" y="1"/>
                  </a:moveTo>
                  <a:lnTo>
                    <a:pt x="12" y="0"/>
                  </a:lnTo>
                  <a:lnTo>
                    <a:pt x="17" y="5"/>
                  </a:lnTo>
                  <a:lnTo>
                    <a:pt x="10" y="1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59" name="Freeform 336"/>
            <p:cNvSpPr>
              <a:spLocks/>
            </p:cNvSpPr>
            <p:nvPr/>
          </p:nvSpPr>
          <p:spPr bwMode="auto">
            <a:xfrm>
              <a:off x="5822814" y="4551798"/>
              <a:ext cx="8820" cy="8148"/>
            </a:xfrm>
            <a:custGeom>
              <a:avLst/>
              <a:gdLst>
                <a:gd name="T0" fmla="*/ 0 w 16"/>
                <a:gd name="T1" fmla="*/ 2147483647 h 13"/>
                <a:gd name="T2" fmla="*/ 2147483647 w 16"/>
                <a:gd name="T3" fmla="*/ 0 h 13"/>
                <a:gd name="T4" fmla="*/ 2147483647 w 16"/>
                <a:gd name="T5" fmla="*/ 2147483647 h 13"/>
                <a:gd name="T6" fmla="*/ 2147483647 w 16"/>
                <a:gd name="T7" fmla="*/ 2147483647 h 13"/>
                <a:gd name="T8" fmla="*/ 0 w 16"/>
                <a:gd name="T9" fmla="*/ 2147483647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3"/>
                <a:gd name="T17" fmla="*/ 16 w 16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3">
                  <a:moveTo>
                    <a:pt x="0" y="2"/>
                  </a:moveTo>
                  <a:lnTo>
                    <a:pt x="10" y="0"/>
                  </a:lnTo>
                  <a:lnTo>
                    <a:pt x="16" y="4"/>
                  </a:lnTo>
                  <a:lnTo>
                    <a:pt x="8" y="1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0" name="Freeform 337"/>
            <p:cNvSpPr>
              <a:spLocks/>
            </p:cNvSpPr>
            <p:nvPr/>
          </p:nvSpPr>
          <p:spPr bwMode="auto">
            <a:xfrm>
              <a:off x="5162395" y="4071054"/>
              <a:ext cx="4410" cy="8148"/>
            </a:xfrm>
            <a:custGeom>
              <a:avLst/>
              <a:gdLst>
                <a:gd name="T0" fmla="*/ 2147483647 w 8"/>
                <a:gd name="T1" fmla="*/ 0 h 13"/>
                <a:gd name="T2" fmla="*/ 2147483647 w 8"/>
                <a:gd name="T3" fmla="*/ 2147483647 h 13"/>
                <a:gd name="T4" fmla="*/ 2147483647 w 8"/>
                <a:gd name="T5" fmla="*/ 2147483647 h 13"/>
                <a:gd name="T6" fmla="*/ 0 w 8"/>
                <a:gd name="T7" fmla="*/ 2147483647 h 13"/>
                <a:gd name="T8" fmla="*/ 2147483647 w 8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3"/>
                <a:gd name="T17" fmla="*/ 8 w 8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3">
                  <a:moveTo>
                    <a:pt x="4" y="0"/>
                  </a:moveTo>
                  <a:lnTo>
                    <a:pt x="8" y="4"/>
                  </a:lnTo>
                  <a:lnTo>
                    <a:pt x="4" y="13"/>
                  </a:lnTo>
                  <a:lnTo>
                    <a:pt x="0" y="9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1" name="Freeform 338"/>
            <p:cNvSpPr>
              <a:spLocks/>
            </p:cNvSpPr>
            <p:nvPr/>
          </p:nvSpPr>
          <p:spPr bwMode="auto">
            <a:xfrm>
              <a:off x="3604512" y="3506501"/>
              <a:ext cx="51820" cy="58201"/>
            </a:xfrm>
            <a:custGeom>
              <a:avLst/>
              <a:gdLst>
                <a:gd name="T0" fmla="*/ 2147483647 w 95"/>
                <a:gd name="T1" fmla="*/ 2147483647 h 91"/>
                <a:gd name="T2" fmla="*/ 2147483647 w 95"/>
                <a:gd name="T3" fmla="*/ 2147483647 h 91"/>
                <a:gd name="T4" fmla="*/ 2147483647 w 95"/>
                <a:gd name="T5" fmla="*/ 2147483647 h 91"/>
                <a:gd name="T6" fmla="*/ 0 w 95"/>
                <a:gd name="T7" fmla="*/ 0 h 91"/>
                <a:gd name="T8" fmla="*/ 2147483647 w 95"/>
                <a:gd name="T9" fmla="*/ 2147483647 h 91"/>
                <a:gd name="T10" fmla="*/ 2147483647 w 95"/>
                <a:gd name="T11" fmla="*/ 2147483647 h 91"/>
                <a:gd name="T12" fmla="*/ 2147483647 w 95"/>
                <a:gd name="T13" fmla="*/ 2147483647 h 91"/>
                <a:gd name="T14" fmla="*/ 2147483647 w 95"/>
                <a:gd name="T15" fmla="*/ 2147483647 h 91"/>
                <a:gd name="T16" fmla="*/ 2147483647 w 95"/>
                <a:gd name="T17" fmla="*/ 2147483647 h 91"/>
                <a:gd name="T18" fmla="*/ 2147483647 w 95"/>
                <a:gd name="T19" fmla="*/ 2147483647 h 91"/>
                <a:gd name="T20" fmla="*/ 2147483647 w 95"/>
                <a:gd name="T21" fmla="*/ 2147483647 h 91"/>
                <a:gd name="T22" fmla="*/ 2147483647 w 95"/>
                <a:gd name="T23" fmla="*/ 2147483647 h 91"/>
                <a:gd name="T24" fmla="*/ 2147483647 w 95"/>
                <a:gd name="T25" fmla="*/ 2147483647 h 91"/>
                <a:gd name="T26" fmla="*/ 2147483647 w 95"/>
                <a:gd name="T27" fmla="*/ 2147483647 h 91"/>
                <a:gd name="T28" fmla="*/ 2147483647 w 95"/>
                <a:gd name="T29" fmla="*/ 2147483647 h 91"/>
                <a:gd name="T30" fmla="*/ 2147483647 w 95"/>
                <a:gd name="T31" fmla="*/ 2147483647 h 91"/>
                <a:gd name="T32" fmla="*/ 2147483647 w 95"/>
                <a:gd name="T33" fmla="*/ 2147483647 h 91"/>
                <a:gd name="T34" fmla="*/ 2147483647 w 95"/>
                <a:gd name="T35" fmla="*/ 2147483647 h 91"/>
                <a:gd name="T36" fmla="*/ 2147483647 w 95"/>
                <a:gd name="T37" fmla="*/ 2147483647 h 91"/>
                <a:gd name="T38" fmla="*/ 2147483647 w 95"/>
                <a:gd name="T39" fmla="*/ 2147483647 h 91"/>
                <a:gd name="T40" fmla="*/ 2147483647 w 95"/>
                <a:gd name="T41" fmla="*/ 2147483647 h 91"/>
                <a:gd name="T42" fmla="*/ 2147483647 w 95"/>
                <a:gd name="T43" fmla="*/ 2147483647 h 91"/>
                <a:gd name="T44" fmla="*/ 2147483647 w 95"/>
                <a:gd name="T45" fmla="*/ 2147483647 h 91"/>
                <a:gd name="T46" fmla="*/ 2147483647 w 95"/>
                <a:gd name="T47" fmla="*/ 2147483647 h 91"/>
                <a:gd name="T48" fmla="*/ 2147483647 w 95"/>
                <a:gd name="T49" fmla="*/ 2147483647 h 91"/>
                <a:gd name="T50" fmla="*/ 2147483647 w 95"/>
                <a:gd name="T51" fmla="*/ 2147483647 h 91"/>
                <a:gd name="T52" fmla="*/ 2147483647 w 95"/>
                <a:gd name="T53" fmla="*/ 2147483647 h 91"/>
                <a:gd name="T54" fmla="*/ 2147483647 w 95"/>
                <a:gd name="T55" fmla="*/ 2147483647 h 91"/>
                <a:gd name="T56" fmla="*/ 2147483647 w 95"/>
                <a:gd name="T57" fmla="*/ 2147483647 h 9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5"/>
                <a:gd name="T88" fmla="*/ 0 h 91"/>
                <a:gd name="T89" fmla="*/ 95 w 95"/>
                <a:gd name="T90" fmla="*/ 91 h 9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5" h="91">
                  <a:moveTo>
                    <a:pt x="28" y="59"/>
                  </a:moveTo>
                  <a:lnTo>
                    <a:pt x="26" y="45"/>
                  </a:lnTo>
                  <a:lnTo>
                    <a:pt x="2" y="38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5" y="2"/>
                  </a:lnTo>
                  <a:lnTo>
                    <a:pt x="40" y="4"/>
                  </a:lnTo>
                  <a:lnTo>
                    <a:pt x="47" y="6"/>
                  </a:lnTo>
                  <a:lnTo>
                    <a:pt x="38" y="11"/>
                  </a:lnTo>
                  <a:lnTo>
                    <a:pt x="45" y="17"/>
                  </a:lnTo>
                  <a:lnTo>
                    <a:pt x="55" y="9"/>
                  </a:lnTo>
                  <a:lnTo>
                    <a:pt x="61" y="19"/>
                  </a:lnTo>
                  <a:lnTo>
                    <a:pt x="59" y="25"/>
                  </a:lnTo>
                  <a:lnTo>
                    <a:pt x="51" y="26"/>
                  </a:lnTo>
                  <a:lnTo>
                    <a:pt x="72" y="42"/>
                  </a:lnTo>
                  <a:lnTo>
                    <a:pt x="68" y="51"/>
                  </a:lnTo>
                  <a:lnTo>
                    <a:pt x="82" y="63"/>
                  </a:lnTo>
                  <a:lnTo>
                    <a:pt x="82" y="68"/>
                  </a:lnTo>
                  <a:lnTo>
                    <a:pt x="91" y="68"/>
                  </a:lnTo>
                  <a:lnTo>
                    <a:pt x="95" y="78"/>
                  </a:lnTo>
                  <a:lnTo>
                    <a:pt x="87" y="78"/>
                  </a:lnTo>
                  <a:lnTo>
                    <a:pt x="87" y="87"/>
                  </a:lnTo>
                  <a:lnTo>
                    <a:pt x="82" y="91"/>
                  </a:lnTo>
                  <a:lnTo>
                    <a:pt x="78" y="91"/>
                  </a:lnTo>
                  <a:lnTo>
                    <a:pt x="76" y="72"/>
                  </a:lnTo>
                  <a:lnTo>
                    <a:pt x="68" y="64"/>
                  </a:lnTo>
                  <a:lnTo>
                    <a:pt x="57" y="68"/>
                  </a:lnTo>
                  <a:lnTo>
                    <a:pt x="44" y="57"/>
                  </a:lnTo>
                  <a:lnTo>
                    <a:pt x="28" y="5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2" name="Freeform 339"/>
            <p:cNvSpPr>
              <a:spLocks/>
            </p:cNvSpPr>
            <p:nvPr/>
          </p:nvSpPr>
          <p:spPr bwMode="auto">
            <a:xfrm>
              <a:off x="3621050" y="3542586"/>
              <a:ext cx="27564" cy="22116"/>
            </a:xfrm>
            <a:custGeom>
              <a:avLst/>
              <a:gdLst>
                <a:gd name="T0" fmla="*/ 2147483647 w 50"/>
                <a:gd name="T1" fmla="*/ 2147483647 h 32"/>
                <a:gd name="T2" fmla="*/ 2147483647 w 50"/>
                <a:gd name="T3" fmla="*/ 2147483647 h 32"/>
                <a:gd name="T4" fmla="*/ 0 w 50"/>
                <a:gd name="T5" fmla="*/ 0 h 32"/>
                <a:gd name="T6" fmla="*/ 2147483647 w 50"/>
                <a:gd name="T7" fmla="*/ 0 h 32"/>
                <a:gd name="T8" fmla="*/ 2147483647 w 50"/>
                <a:gd name="T9" fmla="*/ 2147483647 h 32"/>
                <a:gd name="T10" fmla="*/ 2147483647 w 50"/>
                <a:gd name="T11" fmla="*/ 2147483647 h 32"/>
                <a:gd name="T12" fmla="*/ 2147483647 w 50"/>
                <a:gd name="T13" fmla="*/ 2147483647 h 32"/>
                <a:gd name="T14" fmla="*/ 2147483647 w 50"/>
                <a:gd name="T15" fmla="*/ 2147483647 h 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0"/>
                <a:gd name="T25" fmla="*/ 0 h 32"/>
                <a:gd name="T26" fmla="*/ 50 w 50"/>
                <a:gd name="T27" fmla="*/ 32 h 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0" h="32">
                  <a:moveTo>
                    <a:pt x="50" y="32"/>
                  </a:moveTo>
                  <a:lnTo>
                    <a:pt x="33" y="28"/>
                  </a:lnTo>
                  <a:lnTo>
                    <a:pt x="0" y="0"/>
                  </a:lnTo>
                  <a:lnTo>
                    <a:pt x="15" y="0"/>
                  </a:lnTo>
                  <a:lnTo>
                    <a:pt x="29" y="11"/>
                  </a:lnTo>
                  <a:lnTo>
                    <a:pt x="40" y="5"/>
                  </a:lnTo>
                  <a:lnTo>
                    <a:pt x="48" y="13"/>
                  </a:lnTo>
                  <a:lnTo>
                    <a:pt x="50" y="3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3" name="Freeform 340"/>
            <p:cNvSpPr>
              <a:spLocks/>
            </p:cNvSpPr>
            <p:nvPr/>
          </p:nvSpPr>
          <p:spPr bwMode="auto">
            <a:xfrm>
              <a:off x="3626563" y="3485549"/>
              <a:ext cx="88203" cy="89630"/>
            </a:xfrm>
            <a:custGeom>
              <a:avLst/>
              <a:gdLst>
                <a:gd name="T0" fmla="*/ 2147483647 w 161"/>
                <a:gd name="T1" fmla="*/ 2147483647 h 144"/>
                <a:gd name="T2" fmla="*/ 2147483647 w 161"/>
                <a:gd name="T3" fmla="*/ 2147483647 h 144"/>
                <a:gd name="T4" fmla="*/ 2147483647 w 161"/>
                <a:gd name="T5" fmla="*/ 2147483647 h 144"/>
                <a:gd name="T6" fmla="*/ 2147483647 w 161"/>
                <a:gd name="T7" fmla="*/ 2147483647 h 144"/>
                <a:gd name="T8" fmla="*/ 2147483647 w 161"/>
                <a:gd name="T9" fmla="*/ 2147483647 h 144"/>
                <a:gd name="T10" fmla="*/ 2147483647 w 161"/>
                <a:gd name="T11" fmla="*/ 2147483647 h 144"/>
                <a:gd name="T12" fmla="*/ 2147483647 w 161"/>
                <a:gd name="T13" fmla="*/ 2147483647 h 144"/>
                <a:gd name="T14" fmla="*/ 2147483647 w 161"/>
                <a:gd name="T15" fmla="*/ 2147483647 h 144"/>
                <a:gd name="T16" fmla="*/ 2147483647 w 161"/>
                <a:gd name="T17" fmla="*/ 2147483647 h 144"/>
                <a:gd name="T18" fmla="*/ 2147483647 w 161"/>
                <a:gd name="T19" fmla="*/ 2147483647 h 144"/>
                <a:gd name="T20" fmla="*/ 2147483647 w 161"/>
                <a:gd name="T21" fmla="*/ 2147483647 h 144"/>
                <a:gd name="T22" fmla="*/ 2147483647 w 161"/>
                <a:gd name="T23" fmla="*/ 2147483647 h 144"/>
                <a:gd name="T24" fmla="*/ 2147483647 w 161"/>
                <a:gd name="T25" fmla="*/ 2147483647 h 144"/>
                <a:gd name="T26" fmla="*/ 2147483647 w 161"/>
                <a:gd name="T27" fmla="*/ 2147483647 h 144"/>
                <a:gd name="T28" fmla="*/ 2147483647 w 161"/>
                <a:gd name="T29" fmla="*/ 2147483647 h 144"/>
                <a:gd name="T30" fmla="*/ 2147483647 w 161"/>
                <a:gd name="T31" fmla="*/ 2147483647 h 144"/>
                <a:gd name="T32" fmla="*/ 2147483647 w 161"/>
                <a:gd name="T33" fmla="*/ 2147483647 h 144"/>
                <a:gd name="T34" fmla="*/ 0 w 161"/>
                <a:gd name="T35" fmla="*/ 2147483647 h 144"/>
                <a:gd name="T36" fmla="*/ 2147483647 w 161"/>
                <a:gd name="T37" fmla="*/ 2147483647 h 144"/>
                <a:gd name="T38" fmla="*/ 2147483647 w 161"/>
                <a:gd name="T39" fmla="*/ 2147483647 h 144"/>
                <a:gd name="T40" fmla="*/ 2147483647 w 161"/>
                <a:gd name="T41" fmla="*/ 2147483647 h 144"/>
                <a:gd name="T42" fmla="*/ 2147483647 w 161"/>
                <a:gd name="T43" fmla="*/ 2147483647 h 144"/>
                <a:gd name="T44" fmla="*/ 2147483647 w 161"/>
                <a:gd name="T45" fmla="*/ 2147483647 h 144"/>
                <a:gd name="T46" fmla="*/ 2147483647 w 161"/>
                <a:gd name="T47" fmla="*/ 2147483647 h 144"/>
                <a:gd name="T48" fmla="*/ 2147483647 w 161"/>
                <a:gd name="T49" fmla="*/ 2147483647 h 144"/>
                <a:gd name="T50" fmla="*/ 2147483647 w 161"/>
                <a:gd name="T51" fmla="*/ 2147483647 h 144"/>
                <a:gd name="T52" fmla="*/ 2147483647 w 161"/>
                <a:gd name="T53" fmla="*/ 2147483647 h 144"/>
                <a:gd name="T54" fmla="*/ 2147483647 w 161"/>
                <a:gd name="T55" fmla="*/ 0 h 144"/>
                <a:gd name="T56" fmla="*/ 2147483647 w 161"/>
                <a:gd name="T57" fmla="*/ 2147483647 h 144"/>
                <a:gd name="T58" fmla="*/ 2147483647 w 161"/>
                <a:gd name="T59" fmla="*/ 2147483647 h 144"/>
                <a:gd name="T60" fmla="*/ 2147483647 w 161"/>
                <a:gd name="T61" fmla="*/ 2147483647 h 144"/>
                <a:gd name="T62" fmla="*/ 2147483647 w 161"/>
                <a:gd name="T63" fmla="*/ 2147483647 h 144"/>
                <a:gd name="T64" fmla="*/ 2147483647 w 161"/>
                <a:gd name="T65" fmla="*/ 2147483647 h 144"/>
                <a:gd name="T66" fmla="*/ 2147483647 w 161"/>
                <a:gd name="T67" fmla="*/ 2147483647 h 144"/>
                <a:gd name="T68" fmla="*/ 2147483647 w 161"/>
                <a:gd name="T69" fmla="*/ 2147483647 h 144"/>
                <a:gd name="T70" fmla="*/ 2147483647 w 161"/>
                <a:gd name="T71" fmla="*/ 2147483647 h 144"/>
                <a:gd name="T72" fmla="*/ 2147483647 w 161"/>
                <a:gd name="T73" fmla="*/ 2147483647 h 144"/>
                <a:gd name="T74" fmla="*/ 2147483647 w 161"/>
                <a:gd name="T75" fmla="*/ 2147483647 h 144"/>
                <a:gd name="T76" fmla="*/ 2147483647 w 161"/>
                <a:gd name="T77" fmla="*/ 2147483647 h 144"/>
                <a:gd name="T78" fmla="*/ 2147483647 w 161"/>
                <a:gd name="T79" fmla="*/ 2147483647 h 144"/>
                <a:gd name="T80" fmla="*/ 2147483647 w 161"/>
                <a:gd name="T81" fmla="*/ 2147483647 h 144"/>
                <a:gd name="T82" fmla="*/ 2147483647 w 161"/>
                <a:gd name="T83" fmla="*/ 2147483647 h 144"/>
                <a:gd name="T84" fmla="*/ 2147483647 w 161"/>
                <a:gd name="T85" fmla="*/ 2147483647 h 144"/>
                <a:gd name="T86" fmla="*/ 2147483647 w 161"/>
                <a:gd name="T87" fmla="*/ 2147483647 h 144"/>
                <a:gd name="T88" fmla="*/ 2147483647 w 161"/>
                <a:gd name="T89" fmla="*/ 2147483647 h 14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1"/>
                <a:gd name="T136" fmla="*/ 0 h 144"/>
                <a:gd name="T137" fmla="*/ 161 w 161"/>
                <a:gd name="T138" fmla="*/ 144 h 14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1" h="144">
                  <a:moveTo>
                    <a:pt x="121" y="144"/>
                  </a:moveTo>
                  <a:lnTo>
                    <a:pt x="93" y="131"/>
                  </a:lnTo>
                  <a:lnTo>
                    <a:pt x="97" y="100"/>
                  </a:lnTo>
                  <a:lnTo>
                    <a:pt x="91" y="95"/>
                  </a:lnTo>
                  <a:lnTo>
                    <a:pt x="47" y="121"/>
                  </a:lnTo>
                  <a:lnTo>
                    <a:pt x="47" y="112"/>
                  </a:lnTo>
                  <a:lnTo>
                    <a:pt x="55" y="112"/>
                  </a:lnTo>
                  <a:lnTo>
                    <a:pt x="51" y="102"/>
                  </a:lnTo>
                  <a:lnTo>
                    <a:pt x="42" y="102"/>
                  </a:lnTo>
                  <a:lnTo>
                    <a:pt x="42" y="97"/>
                  </a:lnTo>
                  <a:lnTo>
                    <a:pt x="30" y="87"/>
                  </a:lnTo>
                  <a:lnTo>
                    <a:pt x="32" y="76"/>
                  </a:lnTo>
                  <a:lnTo>
                    <a:pt x="13" y="60"/>
                  </a:lnTo>
                  <a:lnTo>
                    <a:pt x="21" y="59"/>
                  </a:lnTo>
                  <a:lnTo>
                    <a:pt x="21" y="53"/>
                  </a:lnTo>
                  <a:lnTo>
                    <a:pt x="15" y="43"/>
                  </a:lnTo>
                  <a:lnTo>
                    <a:pt x="5" y="51"/>
                  </a:lnTo>
                  <a:lnTo>
                    <a:pt x="0" y="45"/>
                  </a:lnTo>
                  <a:lnTo>
                    <a:pt x="7" y="41"/>
                  </a:lnTo>
                  <a:lnTo>
                    <a:pt x="2" y="38"/>
                  </a:lnTo>
                  <a:lnTo>
                    <a:pt x="7" y="30"/>
                  </a:lnTo>
                  <a:lnTo>
                    <a:pt x="26" y="38"/>
                  </a:lnTo>
                  <a:lnTo>
                    <a:pt x="42" y="36"/>
                  </a:lnTo>
                  <a:lnTo>
                    <a:pt x="51" y="43"/>
                  </a:lnTo>
                  <a:lnTo>
                    <a:pt x="61" y="34"/>
                  </a:lnTo>
                  <a:lnTo>
                    <a:pt x="42" y="21"/>
                  </a:lnTo>
                  <a:lnTo>
                    <a:pt x="38" y="11"/>
                  </a:lnTo>
                  <a:lnTo>
                    <a:pt x="45" y="0"/>
                  </a:lnTo>
                  <a:lnTo>
                    <a:pt x="57" y="2"/>
                  </a:lnTo>
                  <a:lnTo>
                    <a:pt x="63" y="7"/>
                  </a:lnTo>
                  <a:lnTo>
                    <a:pt x="80" y="30"/>
                  </a:lnTo>
                  <a:lnTo>
                    <a:pt x="91" y="34"/>
                  </a:lnTo>
                  <a:lnTo>
                    <a:pt x="99" y="26"/>
                  </a:lnTo>
                  <a:lnTo>
                    <a:pt x="101" y="21"/>
                  </a:lnTo>
                  <a:lnTo>
                    <a:pt x="112" y="13"/>
                  </a:lnTo>
                  <a:lnTo>
                    <a:pt x="121" y="38"/>
                  </a:lnTo>
                  <a:lnTo>
                    <a:pt x="139" y="55"/>
                  </a:lnTo>
                  <a:lnTo>
                    <a:pt x="148" y="55"/>
                  </a:lnTo>
                  <a:lnTo>
                    <a:pt x="161" y="70"/>
                  </a:lnTo>
                  <a:lnTo>
                    <a:pt x="137" y="74"/>
                  </a:lnTo>
                  <a:lnTo>
                    <a:pt x="133" y="108"/>
                  </a:lnTo>
                  <a:lnTo>
                    <a:pt x="120" y="98"/>
                  </a:lnTo>
                  <a:lnTo>
                    <a:pt x="114" y="104"/>
                  </a:lnTo>
                  <a:lnTo>
                    <a:pt x="120" y="123"/>
                  </a:lnTo>
                  <a:lnTo>
                    <a:pt x="121" y="14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4" name="Freeform 341"/>
            <p:cNvSpPr>
              <a:spLocks/>
            </p:cNvSpPr>
            <p:nvPr/>
          </p:nvSpPr>
          <p:spPr bwMode="auto">
            <a:xfrm>
              <a:off x="3551591" y="3447135"/>
              <a:ext cx="108049" cy="66349"/>
            </a:xfrm>
            <a:custGeom>
              <a:avLst/>
              <a:gdLst>
                <a:gd name="T0" fmla="*/ 2147483647 w 200"/>
                <a:gd name="T1" fmla="*/ 2147483647 h 104"/>
                <a:gd name="T2" fmla="*/ 2147483647 w 200"/>
                <a:gd name="T3" fmla="*/ 2147483647 h 104"/>
                <a:gd name="T4" fmla="*/ 2147483647 w 200"/>
                <a:gd name="T5" fmla="*/ 2147483647 h 104"/>
                <a:gd name="T6" fmla="*/ 2147483647 w 200"/>
                <a:gd name="T7" fmla="*/ 2147483647 h 104"/>
                <a:gd name="T8" fmla="*/ 2147483647 w 200"/>
                <a:gd name="T9" fmla="*/ 2147483647 h 104"/>
                <a:gd name="T10" fmla="*/ 2147483647 w 200"/>
                <a:gd name="T11" fmla="*/ 2147483647 h 104"/>
                <a:gd name="T12" fmla="*/ 0 w 200"/>
                <a:gd name="T13" fmla="*/ 0 h 104"/>
                <a:gd name="T14" fmla="*/ 2147483647 w 200"/>
                <a:gd name="T15" fmla="*/ 0 h 104"/>
                <a:gd name="T16" fmla="*/ 2147483647 w 200"/>
                <a:gd name="T17" fmla="*/ 0 h 104"/>
                <a:gd name="T18" fmla="*/ 2147483647 w 200"/>
                <a:gd name="T19" fmla="*/ 2147483647 h 104"/>
                <a:gd name="T20" fmla="*/ 2147483647 w 200"/>
                <a:gd name="T21" fmla="*/ 2147483647 h 104"/>
                <a:gd name="T22" fmla="*/ 2147483647 w 200"/>
                <a:gd name="T23" fmla="*/ 2147483647 h 104"/>
                <a:gd name="T24" fmla="*/ 2147483647 w 200"/>
                <a:gd name="T25" fmla="*/ 2147483647 h 104"/>
                <a:gd name="T26" fmla="*/ 2147483647 w 200"/>
                <a:gd name="T27" fmla="*/ 2147483647 h 104"/>
                <a:gd name="T28" fmla="*/ 2147483647 w 200"/>
                <a:gd name="T29" fmla="*/ 2147483647 h 104"/>
                <a:gd name="T30" fmla="*/ 2147483647 w 200"/>
                <a:gd name="T31" fmla="*/ 2147483647 h 104"/>
                <a:gd name="T32" fmla="*/ 2147483647 w 200"/>
                <a:gd name="T33" fmla="*/ 2147483647 h 104"/>
                <a:gd name="T34" fmla="*/ 2147483647 w 200"/>
                <a:gd name="T35" fmla="*/ 2147483647 h 104"/>
                <a:gd name="T36" fmla="*/ 2147483647 w 200"/>
                <a:gd name="T37" fmla="*/ 2147483647 h 104"/>
                <a:gd name="T38" fmla="*/ 2147483647 w 200"/>
                <a:gd name="T39" fmla="*/ 2147483647 h 104"/>
                <a:gd name="T40" fmla="*/ 2147483647 w 200"/>
                <a:gd name="T41" fmla="*/ 2147483647 h 104"/>
                <a:gd name="T42" fmla="*/ 2147483647 w 200"/>
                <a:gd name="T43" fmla="*/ 2147483647 h 104"/>
                <a:gd name="T44" fmla="*/ 2147483647 w 200"/>
                <a:gd name="T45" fmla="*/ 2147483647 h 104"/>
                <a:gd name="T46" fmla="*/ 2147483647 w 200"/>
                <a:gd name="T47" fmla="*/ 2147483647 h 104"/>
                <a:gd name="T48" fmla="*/ 2147483647 w 200"/>
                <a:gd name="T49" fmla="*/ 2147483647 h 104"/>
                <a:gd name="T50" fmla="*/ 2147483647 w 200"/>
                <a:gd name="T51" fmla="*/ 2147483647 h 104"/>
                <a:gd name="T52" fmla="*/ 2147483647 w 200"/>
                <a:gd name="T53" fmla="*/ 2147483647 h 104"/>
                <a:gd name="T54" fmla="*/ 2147483647 w 200"/>
                <a:gd name="T55" fmla="*/ 2147483647 h 104"/>
                <a:gd name="T56" fmla="*/ 2147483647 w 200"/>
                <a:gd name="T57" fmla="*/ 2147483647 h 104"/>
                <a:gd name="T58" fmla="*/ 2147483647 w 200"/>
                <a:gd name="T59" fmla="*/ 2147483647 h 104"/>
                <a:gd name="T60" fmla="*/ 2147483647 w 200"/>
                <a:gd name="T61" fmla="*/ 2147483647 h 104"/>
                <a:gd name="T62" fmla="*/ 2147483647 w 200"/>
                <a:gd name="T63" fmla="*/ 2147483647 h 104"/>
                <a:gd name="T64" fmla="*/ 2147483647 w 200"/>
                <a:gd name="T65" fmla="*/ 2147483647 h 104"/>
                <a:gd name="T66" fmla="*/ 2147483647 w 200"/>
                <a:gd name="T67" fmla="*/ 2147483647 h 10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0"/>
                <a:gd name="T103" fmla="*/ 0 h 104"/>
                <a:gd name="T104" fmla="*/ 200 w 200"/>
                <a:gd name="T105" fmla="*/ 104 h 10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0" h="104">
                  <a:moveTo>
                    <a:pt x="99" y="95"/>
                  </a:moveTo>
                  <a:lnTo>
                    <a:pt x="80" y="82"/>
                  </a:lnTo>
                  <a:lnTo>
                    <a:pt x="34" y="78"/>
                  </a:lnTo>
                  <a:lnTo>
                    <a:pt x="40" y="68"/>
                  </a:lnTo>
                  <a:lnTo>
                    <a:pt x="46" y="42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10" y="0"/>
                  </a:lnTo>
                  <a:lnTo>
                    <a:pt x="30" y="0"/>
                  </a:lnTo>
                  <a:lnTo>
                    <a:pt x="53" y="9"/>
                  </a:lnTo>
                  <a:lnTo>
                    <a:pt x="87" y="13"/>
                  </a:lnTo>
                  <a:lnTo>
                    <a:pt x="95" y="26"/>
                  </a:lnTo>
                  <a:lnTo>
                    <a:pt x="105" y="23"/>
                  </a:lnTo>
                  <a:lnTo>
                    <a:pt x="112" y="40"/>
                  </a:lnTo>
                  <a:lnTo>
                    <a:pt x="122" y="32"/>
                  </a:lnTo>
                  <a:lnTo>
                    <a:pt x="127" y="38"/>
                  </a:lnTo>
                  <a:lnTo>
                    <a:pt x="133" y="26"/>
                  </a:lnTo>
                  <a:lnTo>
                    <a:pt x="146" y="28"/>
                  </a:lnTo>
                  <a:lnTo>
                    <a:pt x="152" y="40"/>
                  </a:lnTo>
                  <a:lnTo>
                    <a:pt x="171" y="40"/>
                  </a:lnTo>
                  <a:lnTo>
                    <a:pt x="169" y="51"/>
                  </a:lnTo>
                  <a:lnTo>
                    <a:pt x="184" y="59"/>
                  </a:lnTo>
                  <a:lnTo>
                    <a:pt x="184" y="61"/>
                  </a:lnTo>
                  <a:lnTo>
                    <a:pt x="177" y="72"/>
                  </a:lnTo>
                  <a:lnTo>
                    <a:pt x="181" y="82"/>
                  </a:lnTo>
                  <a:lnTo>
                    <a:pt x="200" y="97"/>
                  </a:lnTo>
                  <a:lnTo>
                    <a:pt x="190" y="104"/>
                  </a:lnTo>
                  <a:lnTo>
                    <a:pt x="181" y="99"/>
                  </a:lnTo>
                  <a:lnTo>
                    <a:pt x="165" y="99"/>
                  </a:lnTo>
                  <a:lnTo>
                    <a:pt x="146" y="91"/>
                  </a:lnTo>
                  <a:lnTo>
                    <a:pt x="139" y="99"/>
                  </a:lnTo>
                  <a:lnTo>
                    <a:pt x="124" y="99"/>
                  </a:lnTo>
                  <a:lnTo>
                    <a:pt x="112" y="101"/>
                  </a:lnTo>
                  <a:lnTo>
                    <a:pt x="99" y="9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5" name="Freeform 342"/>
            <p:cNvSpPr>
              <a:spLocks/>
            </p:cNvSpPr>
            <p:nvPr/>
          </p:nvSpPr>
          <p:spPr bwMode="auto">
            <a:xfrm>
              <a:off x="3651921" y="3117716"/>
              <a:ext cx="628445" cy="389949"/>
            </a:xfrm>
            <a:custGeom>
              <a:avLst/>
              <a:gdLst>
                <a:gd name="T0" fmla="*/ 2147483647 w 1154"/>
                <a:gd name="T1" fmla="*/ 2147483647 h 625"/>
                <a:gd name="T2" fmla="*/ 2147483647 w 1154"/>
                <a:gd name="T3" fmla="*/ 2147483647 h 625"/>
                <a:gd name="T4" fmla="*/ 2147483647 w 1154"/>
                <a:gd name="T5" fmla="*/ 2147483647 h 625"/>
                <a:gd name="T6" fmla="*/ 2147483647 w 1154"/>
                <a:gd name="T7" fmla="*/ 2147483647 h 625"/>
                <a:gd name="T8" fmla="*/ 2147483647 w 1154"/>
                <a:gd name="T9" fmla="*/ 2147483647 h 625"/>
                <a:gd name="T10" fmla="*/ 2147483647 w 1154"/>
                <a:gd name="T11" fmla="*/ 2147483647 h 625"/>
                <a:gd name="T12" fmla="*/ 2147483647 w 1154"/>
                <a:gd name="T13" fmla="*/ 2147483647 h 625"/>
                <a:gd name="T14" fmla="*/ 2147483647 w 1154"/>
                <a:gd name="T15" fmla="*/ 2147483647 h 625"/>
                <a:gd name="T16" fmla="*/ 2147483647 w 1154"/>
                <a:gd name="T17" fmla="*/ 2147483647 h 625"/>
                <a:gd name="T18" fmla="*/ 2147483647 w 1154"/>
                <a:gd name="T19" fmla="*/ 2147483647 h 625"/>
                <a:gd name="T20" fmla="*/ 2147483647 w 1154"/>
                <a:gd name="T21" fmla="*/ 2147483647 h 625"/>
                <a:gd name="T22" fmla="*/ 2147483647 w 1154"/>
                <a:gd name="T23" fmla="*/ 2147483647 h 625"/>
                <a:gd name="T24" fmla="*/ 2147483647 w 1154"/>
                <a:gd name="T25" fmla="*/ 2147483647 h 625"/>
                <a:gd name="T26" fmla="*/ 2147483647 w 1154"/>
                <a:gd name="T27" fmla="*/ 2147483647 h 625"/>
                <a:gd name="T28" fmla="*/ 2147483647 w 1154"/>
                <a:gd name="T29" fmla="*/ 2147483647 h 625"/>
                <a:gd name="T30" fmla="*/ 2147483647 w 1154"/>
                <a:gd name="T31" fmla="*/ 2147483647 h 625"/>
                <a:gd name="T32" fmla="*/ 2147483647 w 1154"/>
                <a:gd name="T33" fmla="*/ 2147483647 h 625"/>
                <a:gd name="T34" fmla="*/ 2147483647 w 1154"/>
                <a:gd name="T35" fmla="*/ 2147483647 h 625"/>
                <a:gd name="T36" fmla="*/ 2147483647 w 1154"/>
                <a:gd name="T37" fmla="*/ 2147483647 h 625"/>
                <a:gd name="T38" fmla="*/ 2147483647 w 1154"/>
                <a:gd name="T39" fmla="*/ 2147483647 h 625"/>
                <a:gd name="T40" fmla="*/ 2147483647 w 1154"/>
                <a:gd name="T41" fmla="*/ 2147483647 h 625"/>
                <a:gd name="T42" fmla="*/ 2147483647 w 1154"/>
                <a:gd name="T43" fmla="*/ 2147483647 h 625"/>
                <a:gd name="T44" fmla="*/ 2147483647 w 1154"/>
                <a:gd name="T45" fmla="*/ 2147483647 h 625"/>
                <a:gd name="T46" fmla="*/ 2147483647 w 1154"/>
                <a:gd name="T47" fmla="*/ 2147483647 h 625"/>
                <a:gd name="T48" fmla="*/ 0 w 1154"/>
                <a:gd name="T49" fmla="*/ 2147483647 h 625"/>
                <a:gd name="T50" fmla="*/ 2147483647 w 1154"/>
                <a:gd name="T51" fmla="*/ 2147483647 h 625"/>
                <a:gd name="T52" fmla="*/ 2147483647 w 1154"/>
                <a:gd name="T53" fmla="*/ 2147483647 h 625"/>
                <a:gd name="T54" fmla="*/ 2147483647 w 1154"/>
                <a:gd name="T55" fmla="*/ 2147483647 h 625"/>
                <a:gd name="T56" fmla="*/ 2147483647 w 1154"/>
                <a:gd name="T57" fmla="*/ 2147483647 h 625"/>
                <a:gd name="T58" fmla="*/ 2147483647 w 1154"/>
                <a:gd name="T59" fmla="*/ 2147483647 h 625"/>
                <a:gd name="T60" fmla="*/ 2147483647 w 1154"/>
                <a:gd name="T61" fmla="*/ 2147483647 h 625"/>
                <a:gd name="T62" fmla="*/ 2147483647 w 1154"/>
                <a:gd name="T63" fmla="*/ 2147483647 h 625"/>
                <a:gd name="T64" fmla="*/ 2147483647 w 1154"/>
                <a:gd name="T65" fmla="*/ 2147483647 h 625"/>
                <a:gd name="T66" fmla="*/ 2147483647 w 1154"/>
                <a:gd name="T67" fmla="*/ 2147483647 h 625"/>
                <a:gd name="T68" fmla="*/ 2147483647 w 1154"/>
                <a:gd name="T69" fmla="*/ 2147483647 h 625"/>
                <a:gd name="T70" fmla="*/ 2147483647 w 1154"/>
                <a:gd name="T71" fmla="*/ 2147483647 h 625"/>
                <a:gd name="T72" fmla="*/ 2147483647 w 1154"/>
                <a:gd name="T73" fmla="*/ 2147483647 h 625"/>
                <a:gd name="T74" fmla="*/ 2147483647 w 1154"/>
                <a:gd name="T75" fmla="*/ 2147483647 h 625"/>
                <a:gd name="T76" fmla="*/ 2147483647 w 1154"/>
                <a:gd name="T77" fmla="*/ 2147483647 h 625"/>
                <a:gd name="T78" fmla="*/ 2147483647 w 1154"/>
                <a:gd name="T79" fmla="*/ 2147483647 h 625"/>
                <a:gd name="T80" fmla="*/ 2147483647 w 1154"/>
                <a:gd name="T81" fmla="*/ 2147483647 h 625"/>
                <a:gd name="T82" fmla="*/ 2147483647 w 1154"/>
                <a:gd name="T83" fmla="*/ 2147483647 h 625"/>
                <a:gd name="T84" fmla="*/ 2147483647 w 1154"/>
                <a:gd name="T85" fmla="*/ 2147483647 h 625"/>
                <a:gd name="T86" fmla="*/ 2147483647 w 1154"/>
                <a:gd name="T87" fmla="*/ 2147483647 h 625"/>
                <a:gd name="T88" fmla="*/ 2147483647 w 1154"/>
                <a:gd name="T89" fmla="*/ 2147483647 h 625"/>
                <a:gd name="T90" fmla="*/ 2147483647 w 1154"/>
                <a:gd name="T91" fmla="*/ 2147483647 h 625"/>
                <a:gd name="T92" fmla="*/ 2147483647 w 1154"/>
                <a:gd name="T93" fmla="*/ 2147483647 h 625"/>
                <a:gd name="T94" fmla="*/ 2147483647 w 1154"/>
                <a:gd name="T95" fmla="*/ 2147483647 h 625"/>
                <a:gd name="T96" fmla="*/ 2147483647 w 1154"/>
                <a:gd name="T97" fmla="*/ 2147483647 h 625"/>
                <a:gd name="T98" fmla="*/ 2147483647 w 1154"/>
                <a:gd name="T99" fmla="*/ 2147483647 h 62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54"/>
                <a:gd name="T151" fmla="*/ 0 h 625"/>
                <a:gd name="T152" fmla="*/ 1154 w 1154"/>
                <a:gd name="T153" fmla="*/ 625 h 62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54" h="625">
                  <a:moveTo>
                    <a:pt x="1154" y="298"/>
                  </a:moveTo>
                  <a:lnTo>
                    <a:pt x="1142" y="298"/>
                  </a:lnTo>
                  <a:lnTo>
                    <a:pt x="1131" y="325"/>
                  </a:lnTo>
                  <a:lnTo>
                    <a:pt x="1104" y="336"/>
                  </a:lnTo>
                  <a:lnTo>
                    <a:pt x="1106" y="374"/>
                  </a:lnTo>
                  <a:lnTo>
                    <a:pt x="1078" y="391"/>
                  </a:lnTo>
                  <a:lnTo>
                    <a:pt x="1025" y="384"/>
                  </a:lnTo>
                  <a:lnTo>
                    <a:pt x="1006" y="448"/>
                  </a:lnTo>
                  <a:lnTo>
                    <a:pt x="1015" y="465"/>
                  </a:lnTo>
                  <a:lnTo>
                    <a:pt x="943" y="465"/>
                  </a:lnTo>
                  <a:lnTo>
                    <a:pt x="939" y="482"/>
                  </a:lnTo>
                  <a:lnTo>
                    <a:pt x="956" y="490"/>
                  </a:lnTo>
                  <a:lnTo>
                    <a:pt x="971" y="532"/>
                  </a:lnTo>
                  <a:lnTo>
                    <a:pt x="954" y="583"/>
                  </a:lnTo>
                  <a:lnTo>
                    <a:pt x="949" y="583"/>
                  </a:lnTo>
                  <a:lnTo>
                    <a:pt x="949" y="577"/>
                  </a:lnTo>
                  <a:lnTo>
                    <a:pt x="935" y="577"/>
                  </a:lnTo>
                  <a:lnTo>
                    <a:pt x="933" y="572"/>
                  </a:lnTo>
                  <a:lnTo>
                    <a:pt x="924" y="570"/>
                  </a:lnTo>
                  <a:lnTo>
                    <a:pt x="930" y="558"/>
                  </a:lnTo>
                  <a:lnTo>
                    <a:pt x="926" y="556"/>
                  </a:lnTo>
                  <a:lnTo>
                    <a:pt x="905" y="566"/>
                  </a:lnTo>
                  <a:lnTo>
                    <a:pt x="842" y="558"/>
                  </a:lnTo>
                  <a:lnTo>
                    <a:pt x="812" y="566"/>
                  </a:lnTo>
                  <a:lnTo>
                    <a:pt x="797" y="564"/>
                  </a:lnTo>
                  <a:lnTo>
                    <a:pt x="776" y="547"/>
                  </a:lnTo>
                  <a:lnTo>
                    <a:pt x="766" y="554"/>
                  </a:lnTo>
                  <a:lnTo>
                    <a:pt x="762" y="573"/>
                  </a:lnTo>
                  <a:lnTo>
                    <a:pt x="755" y="573"/>
                  </a:lnTo>
                  <a:lnTo>
                    <a:pt x="732" y="564"/>
                  </a:lnTo>
                  <a:lnTo>
                    <a:pt x="707" y="564"/>
                  </a:lnTo>
                  <a:lnTo>
                    <a:pt x="696" y="570"/>
                  </a:lnTo>
                  <a:lnTo>
                    <a:pt x="671" y="579"/>
                  </a:lnTo>
                  <a:lnTo>
                    <a:pt x="635" y="608"/>
                  </a:lnTo>
                  <a:lnTo>
                    <a:pt x="620" y="625"/>
                  </a:lnTo>
                  <a:lnTo>
                    <a:pt x="563" y="613"/>
                  </a:lnTo>
                  <a:lnTo>
                    <a:pt x="559" y="594"/>
                  </a:lnTo>
                  <a:lnTo>
                    <a:pt x="536" y="591"/>
                  </a:lnTo>
                  <a:lnTo>
                    <a:pt x="538" y="575"/>
                  </a:lnTo>
                  <a:lnTo>
                    <a:pt x="550" y="577"/>
                  </a:lnTo>
                  <a:lnTo>
                    <a:pt x="548" y="551"/>
                  </a:lnTo>
                  <a:lnTo>
                    <a:pt x="538" y="553"/>
                  </a:lnTo>
                  <a:lnTo>
                    <a:pt x="531" y="534"/>
                  </a:lnTo>
                  <a:lnTo>
                    <a:pt x="512" y="516"/>
                  </a:lnTo>
                  <a:lnTo>
                    <a:pt x="500" y="528"/>
                  </a:lnTo>
                  <a:lnTo>
                    <a:pt x="443" y="528"/>
                  </a:lnTo>
                  <a:lnTo>
                    <a:pt x="420" y="501"/>
                  </a:lnTo>
                  <a:lnTo>
                    <a:pt x="424" y="497"/>
                  </a:lnTo>
                  <a:lnTo>
                    <a:pt x="418" y="482"/>
                  </a:lnTo>
                  <a:lnTo>
                    <a:pt x="441" y="467"/>
                  </a:lnTo>
                  <a:lnTo>
                    <a:pt x="424" y="461"/>
                  </a:lnTo>
                  <a:lnTo>
                    <a:pt x="417" y="433"/>
                  </a:lnTo>
                  <a:lnTo>
                    <a:pt x="432" y="399"/>
                  </a:lnTo>
                  <a:lnTo>
                    <a:pt x="413" y="404"/>
                  </a:lnTo>
                  <a:lnTo>
                    <a:pt x="388" y="404"/>
                  </a:lnTo>
                  <a:lnTo>
                    <a:pt x="379" y="421"/>
                  </a:lnTo>
                  <a:lnTo>
                    <a:pt x="363" y="412"/>
                  </a:lnTo>
                  <a:lnTo>
                    <a:pt x="361" y="433"/>
                  </a:lnTo>
                  <a:lnTo>
                    <a:pt x="342" y="431"/>
                  </a:lnTo>
                  <a:lnTo>
                    <a:pt x="341" y="444"/>
                  </a:lnTo>
                  <a:lnTo>
                    <a:pt x="265" y="469"/>
                  </a:lnTo>
                  <a:lnTo>
                    <a:pt x="265" y="610"/>
                  </a:lnTo>
                  <a:lnTo>
                    <a:pt x="255" y="611"/>
                  </a:lnTo>
                  <a:lnTo>
                    <a:pt x="242" y="602"/>
                  </a:lnTo>
                  <a:lnTo>
                    <a:pt x="236" y="585"/>
                  </a:lnTo>
                  <a:lnTo>
                    <a:pt x="219" y="572"/>
                  </a:lnTo>
                  <a:lnTo>
                    <a:pt x="194" y="573"/>
                  </a:lnTo>
                  <a:lnTo>
                    <a:pt x="179" y="583"/>
                  </a:lnTo>
                  <a:lnTo>
                    <a:pt x="171" y="594"/>
                  </a:lnTo>
                  <a:lnTo>
                    <a:pt x="168" y="581"/>
                  </a:lnTo>
                  <a:lnTo>
                    <a:pt x="177" y="558"/>
                  </a:lnTo>
                  <a:lnTo>
                    <a:pt x="156" y="554"/>
                  </a:lnTo>
                  <a:lnTo>
                    <a:pt x="149" y="541"/>
                  </a:lnTo>
                  <a:lnTo>
                    <a:pt x="132" y="541"/>
                  </a:lnTo>
                  <a:lnTo>
                    <a:pt x="118" y="501"/>
                  </a:lnTo>
                  <a:lnTo>
                    <a:pt x="105" y="497"/>
                  </a:lnTo>
                  <a:lnTo>
                    <a:pt x="109" y="484"/>
                  </a:lnTo>
                  <a:lnTo>
                    <a:pt x="137" y="488"/>
                  </a:lnTo>
                  <a:lnTo>
                    <a:pt x="139" y="467"/>
                  </a:lnTo>
                  <a:lnTo>
                    <a:pt x="130" y="469"/>
                  </a:lnTo>
                  <a:lnTo>
                    <a:pt x="133" y="456"/>
                  </a:lnTo>
                  <a:lnTo>
                    <a:pt x="147" y="450"/>
                  </a:lnTo>
                  <a:lnTo>
                    <a:pt x="196" y="452"/>
                  </a:lnTo>
                  <a:lnTo>
                    <a:pt x="189" y="435"/>
                  </a:lnTo>
                  <a:lnTo>
                    <a:pt x="204" y="393"/>
                  </a:lnTo>
                  <a:lnTo>
                    <a:pt x="160" y="378"/>
                  </a:lnTo>
                  <a:lnTo>
                    <a:pt x="130" y="372"/>
                  </a:lnTo>
                  <a:lnTo>
                    <a:pt x="99" y="393"/>
                  </a:lnTo>
                  <a:lnTo>
                    <a:pt x="69" y="399"/>
                  </a:lnTo>
                  <a:lnTo>
                    <a:pt x="67" y="404"/>
                  </a:lnTo>
                  <a:lnTo>
                    <a:pt x="48" y="397"/>
                  </a:lnTo>
                  <a:lnTo>
                    <a:pt x="56" y="395"/>
                  </a:lnTo>
                  <a:lnTo>
                    <a:pt x="67" y="397"/>
                  </a:lnTo>
                  <a:lnTo>
                    <a:pt x="63" y="382"/>
                  </a:lnTo>
                  <a:lnTo>
                    <a:pt x="46" y="355"/>
                  </a:lnTo>
                  <a:lnTo>
                    <a:pt x="29" y="351"/>
                  </a:lnTo>
                  <a:lnTo>
                    <a:pt x="25" y="363"/>
                  </a:lnTo>
                  <a:lnTo>
                    <a:pt x="16" y="351"/>
                  </a:lnTo>
                  <a:lnTo>
                    <a:pt x="18" y="342"/>
                  </a:lnTo>
                  <a:lnTo>
                    <a:pt x="0" y="327"/>
                  </a:lnTo>
                  <a:lnTo>
                    <a:pt x="10" y="304"/>
                  </a:lnTo>
                  <a:lnTo>
                    <a:pt x="6" y="296"/>
                  </a:lnTo>
                  <a:lnTo>
                    <a:pt x="14" y="271"/>
                  </a:lnTo>
                  <a:lnTo>
                    <a:pt x="23" y="266"/>
                  </a:lnTo>
                  <a:lnTo>
                    <a:pt x="25" y="245"/>
                  </a:lnTo>
                  <a:lnTo>
                    <a:pt x="31" y="243"/>
                  </a:lnTo>
                  <a:lnTo>
                    <a:pt x="59" y="270"/>
                  </a:lnTo>
                  <a:lnTo>
                    <a:pt x="73" y="262"/>
                  </a:lnTo>
                  <a:lnTo>
                    <a:pt x="63" y="226"/>
                  </a:lnTo>
                  <a:lnTo>
                    <a:pt x="73" y="230"/>
                  </a:lnTo>
                  <a:lnTo>
                    <a:pt x="86" y="222"/>
                  </a:lnTo>
                  <a:lnTo>
                    <a:pt x="122" y="194"/>
                  </a:lnTo>
                  <a:lnTo>
                    <a:pt x="128" y="184"/>
                  </a:lnTo>
                  <a:lnTo>
                    <a:pt x="137" y="186"/>
                  </a:lnTo>
                  <a:lnTo>
                    <a:pt x="145" y="197"/>
                  </a:lnTo>
                  <a:lnTo>
                    <a:pt x="151" y="186"/>
                  </a:lnTo>
                  <a:lnTo>
                    <a:pt x="166" y="184"/>
                  </a:lnTo>
                  <a:lnTo>
                    <a:pt x="171" y="194"/>
                  </a:lnTo>
                  <a:lnTo>
                    <a:pt x="185" y="188"/>
                  </a:lnTo>
                  <a:lnTo>
                    <a:pt x="206" y="194"/>
                  </a:lnTo>
                  <a:lnTo>
                    <a:pt x="223" y="222"/>
                  </a:lnTo>
                  <a:lnTo>
                    <a:pt x="225" y="233"/>
                  </a:lnTo>
                  <a:lnTo>
                    <a:pt x="234" y="235"/>
                  </a:lnTo>
                  <a:lnTo>
                    <a:pt x="238" y="220"/>
                  </a:lnTo>
                  <a:lnTo>
                    <a:pt x="249" y="222"/>
                  </a:lnTo>
                  <a:lnTo>
                    <a:pt x="263" y="235"/>
                  </a:lnTo>
                  <a:lnTo>
                    <a:pt x="274" y="222"/>
                  </a:lnTo>
                  <a:lnTo>
                    <a:pt x="280" y="209"/>
                  </a:lnTo>
                  <a:lnTo>
                    <a:pt x="299" y="211"/>
                  </a:lnTo>
                  <a:lnTo>
                    <a:pt x="308" y="218"/>
                  </a:lnTo>
                  <a:lnTo>
                    <a:pt x="323" y="211"/>
                  </a:lnTo>
                  <a:lnTo>
                    <a:pt x="344" y="209"/>
                  </a:lnTo>
                  <a:lnTo>
                    <a:pt x="348" y="218"/>
                  </a:lnTo>
                  <a:lnTo>
                    <a:pt x="361" y="228"/>
                  </a:lnTo>
                  <a:lnTo>
                    <a:pt x="363" y="239"/>
                  </a:lnTo>
                  <a:lnTo>
                    <a:pt x="379" y="220"/>
                  </a:lnTo>
                  <a:lnTo>
                    <a:pt x="392" y="232"/>
                  </a:lnTo>
                  <a:lnTo>
                    <a:pt x="420" y="222"/>
                  </a:lnTo>
                  <a:lnTo>
                    <a:pt x="424" y="213"/>
                  </a:lnTo>
                  <a:lnTo>
                    <a:pt x="420" y="194"/>
                  </a:lnTo>
                  <a:lnTo>
                    <a:pt x="407" y="194"/>
                  </a:lnTo>
                  <a:lnTo>
                    <a:pt x="392" y="184"/>
                  </a:lnTo>
                  <a:lnTo>
                    <a:pt x="380" y="165"/>
                  </a:lnTo>
                  <a:lnTo>
                    <a:pt x="407" y="150"/>
                  </a:lnTo>
                  <a:lnTo>
                    <a:pt x="399" y="127"/>
                  </a:lnTo>
                  <a:lnTo>
                    <a:pt x="417" y="116"/>
                  </a:lnTo>
                  <a:lnTo>
                    <a:pt x="437" y="116"/>
                  </a:lnTo>
                  <a:lnTo>
                    <a:pt x="432" y="104"/>
                  </a:lnTo>
                  <a:lnTo>
                    <a:pt x="415" y="97"/>
                  </a:lnTo>
                  <a:lnTo>
                    <a:pt x="428" y="89"/>
                  </a:lnTo>
                  <a:lnTo>
                    <a:pt x="407" y="89"/>
                  </a:lnTo>
                  <a:lnTo>
                    <a:pt x="413" y="72"/>
                  </a:lnTo>
                  <a:lnTo>
                    <a:pt x="424" y="66"/>
                  </a:lnTo>
                  <a:lnTo>
                    <a:pt x="468" y="68"/>
                  </a:lnTo>
                  <a:lnTo>
                    <a:pt x="487" y="61"/>
                  </a:lnTo>
                  <a:lnTo>
                    <a:pt x="517" y="44"/>
                  </a:lnTo>
                  <a:lnTo>
                    <a:pt x="523" y="47"/>
                  </a:lnTo>
                  <a:lnTo>
                    <a:pt x="527" y="40"/>
                  </a:lnTo>
                  <a:lnTo>
                    <a:pt x="550" y="36"/>
                  </a:lnTo>
                  <a:lnTo>
                    <a:pt x="586" y="34"/>
                  </a:lnTo>
                  <a:lnTo>
                    <a:pt x="599" y="26"/>
                  </a:lnTo>
                  <a:lnTo>
                    <a:pt x="607" y="26"/>
                  </a:lnTo>
                  <a:lnTo>
                    <a:pt x="620" y="0"/>
                  </a:lnTo>
                  <a:lnTo>
                    <a:pt x="627" y="11"/>
                  </a:lnTo>
                  <a:lnTo>
                    <a:pt x="633" y="0"/>
                  </a:lnTo>
                  <a:lnTo>
                    <a:pt x="665" y="17"/>
                  </a:lnTo>
                  <a:lnTo>
                    <a:pt x="690" y="11"/>
                  </a:lnTo>
                  <a:lnTo>
                    <a:pt x="696" y="40"/>
                  </a:lnTo>
                  <a:lnTo>
                    <a:pt x="692" y="57"/>
                  </a:lnTo>
                  <a:lnTo>
                    <a:pt x="707" y="66"/>
                  </a:lnTo>
                  <a:lnTo>
                    <a:pt x="730" y="57"/>
                  </a:lnTo>
                  <a:lnTo>
                    <a:pt x="734" y="74"/>
                  </a:lnTo>
                  <a:lnTo>
                    <a:pt x="742" y="63"/>
                  </a:lnTo>
                  <a:lnTo>
                    <a:pt x="766" y="78"/>
                  </a:lnTo>
                  <a:lnTo>
                    <a:pt x="757" y="87"/>
                  </a:lnTo>
                  <a:lnTo>
                    <a:pt x="761" y="97"/>
                  </a:lnTo>
                  <a:lnTo>
                    <a:pt x="774" y="85"/>
                  </a:lnTo>
                  <a:lnTo>
                    <a:pt x="789" y="93"/>
                  </a:lnTo>
                  <a:lnTo>
                    <a:pt x="814" y="78"/>
                  </a:lnTo>
                  <a:lnTo>
                    <a:pt x="818" y="64"/>
                  </a:lnTo>
                  <a:lnTo>
                    <a:pt x="835" y="57"/>
                  </a:lnTo>
                  <a:lnTo>
                    <a:pt x="857" y="49"/>
                  </a:lnTo>
                  <a:lnTo>
                    <a:pt x="859" y="55"/>
                  </a:lnTo>
                  <a:lnTo>
                    <a:pt x="852" y="72"/>
                  </a:lnTo>
                  <a:lnTo>
                    <a:pt x="894" y="118"/>
                  </a:lnTo>
                  <a:lnTo>
                    <a:pt x="949" y="224"/>
                  </a:lnTo>
                  <a:lnTo>
                    <a:pt x="960" y="218"/>
                  </a:lnTo>
                  <a:lnTo>
                    <a:pt x="968" y="203"/>
                  </a:lnTo>
                  <a:lnTo>
                    <a:pt x="983" y="211"/>
                  </a:lnTo>
                  <a:lnTo>
                    <a:pt x="985" y="226"/>
                  </a:lnTo>
                  <a:lnTo>
                    <a:pt x="1000" y="233"/>
                  </a:lnTo>
                  <a:lnTo>
                    <a:pt x="1017" y="228"/>
                  </a:lnTo>
                  <a:lnTo>
                    <a:pt x="1017" y="220"/>
                  </a:lnTo>
                  <a:lnTo>
                    <a:pt x="1028" y="220"/>
                  </a:lnTo>
                  <a:lnTo>
                    <a:pt x="1051" y="226"/>
                  </a:lnTo>
                  <a:lnTo>
                    <a:pt x="1070" y="258"/>
                  </a:lnTo>
                  <a:lnTo>
                    <a:pt x="1087" y="252"/>
                  </a:lnTo>
                  <a:lnTo>
                    <a:pt x="1091" y="279"/>
                  </a:lnTo>
                  <a:lnTo>
                    <a:pt x="1108" y="279"/>
                  </a:lnTo>
                  <a:lnTo>
                    <a:pt x="1150" y="290"/>
                  </a:lnTo>
                  <a:lnTo>
                    <a:pt x="1154" y="29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6" name="Freeform 343"/>
            <p:cNvSpPr>
              <a:spLocks/>
            </p:cNvSpPr>
            <p:nvPr/>
          </p:nvSpPr>
          <p:spPr bwMode="auto">
            <a:xfrm>
              <a:off x="4002527" y="3461104"/>
              <a:ext cx="169791" cy="90794"/>
            </a:xfrm>
            <a:custGeom>
              <a:avLst/>
              <a:gdLst>
                <a:gd name="T0" fmla="*/ 2147483647 w 309"/>
                <a:gd name="T1" fmla="*/ 2147483647 h 146"/>
                <a:gd name="T2" fmla="*/ 2147483647 w 309"/>
                <a:gd name="T3" fmla="*/ 2147483647 h 146"/>
                <a:gd name="T4" fmla="*/ 2147483647 w 309"/>
                <a:gd name="T5" fmla="*/ 2147483647 h 146"/>
                <a:gd name="T6" fmla="*/ 2147483647 w 309"/>
                <a:gd name="T7" fmla="*/ 2147483647 h 146"/>
                <a:gd name="T8" fmla="*/ 2147483647 w 309"/>
                <a:gd name="T9" fmla="*/ 2147483647 h 146"/>
                <a:gd name="T10" fmla="*/ 2147483647 w 309"/>
                <a:gd name="T11" fmla="*/ 2147483647 h 146"/>
                <a:gd name="T12" fmla="*/ 2147483647 w 309"/>
                <a:gd name="T13" fmla="*/ 2147483647 h 146"/>
                <a:gd name="T14" fmla="*/ 2147483647 w 309"/>
                <a:gd name="T15" fmla="*/ 2147483647 h 146"/>
                <a:gd name="T16" fmla="*/ 2147483647 w 309"/>
                <a:gd name="T17" fmla="*/ 2147483647 h 146"/>
                <a:gd name="T18" fmla="*/ 2147483647 w 309"/>
                <a:gd name="T19" fmla="*/ 2147483647 h 146"/>
                <a:gd name="T20" fmla="*/ 0 w 309"/>
                <a:gd name="T21" fmla="*/ 2147483647 h 146"/>
                <a:gd name="T22" fmla="*/ 2147483647 w 309"/>
                <a:gd name="T23" fmla="*/ 2147483647 h 146"/>
                <a:gd name="T24" fmla="*/ 2147483647 w 309"/>
                <a:gd name="T25" fmla="*/ 2147483647 h 146"/>
                <a:gd name="T26" fmla="*/ 2147483647 w 309"/>
                <a:gd name="T27" fmla="*/ 2147483647 h 146"/>
                <a:gd name="T28" fmla="*/ 2147483647 w 309"/>
                <a:gd name="T29" fmla="*/ 2147483647 h 146"/>
                <a:gd name="T30" fmla="*/ 2147483647 w 309"/>
                <a:gd name="T31" fmla="*/ 2147483647 h 146"/>
                <a:gd name="T32" fmla="*/ 2147483647 w 309"/>
                <a:gd name="T33" fmla="*/ 2147483647 h 146"/>
                <a:gd name="T34" fmla="*/ 2147483647 w 309"/>
                <a:gd name="T35" fmla="*/ 2147483647 h 146"/>
                <a:gd name="T36" fmla="*/ 2147483647 w 309"/>
                <a:gd name="T37" fmla="*/ 2147483647 h 146"/>
                <a:gd name="T38" fmla="*/ 2147483647 w 309"/>
                <a:gd name="T39" fmla="*/ 2147483647 h 146"/>
                <a:gd name="T40" fmla="*/ 2147483647 w 309"/>
                <a:gd name="T41" fmla="*/ 2147483647 h 146"/>
                <a:gd name="T42" fmla="*/ 2147483647 w 309"/>
                <a:gd name="T43" fmla="*/ 2147483647 h 146"/>
                <a:gd name="T44" fmla="*/ 2147483647 w 309"/>
                <a:gd name="T45" fmla="*/ 2147483647 h 146"/>
                <a:gd name="T46" fmla="*/ 2147483647 w 309"/>
                <a:gd name="T47" fmla="*/ 2147483647 h 146"/>
                <a:gd name="T48" fmla="*/ 2147483647 w 309"/>
                <a:gd name="T49" fmla="*/ 2147483647 h 146"/>
                <a:gd name="T50" fmla="*/ 2147483647 w 309"/>
                <a:gd name="T51" fmla="*/ 2147483647 h 146"/>
                <a:gd name="T52" fmla="*/ 2147483647 w 309"/>
                <a:gd name="T53" fmla="*/ 2147483647 h 146"/>
                <a:gd name="T54" fmla="*/ 2147483647 w 309"/>
                <a:gd name="T55" fmla="*/ 0 h 146"/>
                <a:gd name="T56" fmla="*/ 2147483647 w 309"/>
                <a:gd name="T57" fmla="*/ 2147483647 h 146"/>
                <a:gd name="T58" fmla="*/ 2147483647 w 309"/>
                <a:gd name="T59" fmla="*/ 2147483647 h 146"/>
                <a:gd name="T60" fmla="*/ 2147483647 w 309"/>
                <a:gd name="T61" fmla="*/ 2147483647 h 146"/>
                <a:gd name="T62" fmla="*/ 2147483647 w 309"/>
                <a:gd name="T63" fmla="*/ 2147483647 h 146"/>
                <a:gd name="T64" fmla="*/ 2147483647 w 309"/>
                <a:gd name="T65" fmla="*/ 2147483647 h 146"/>
                <a:gd name="T66" fmla="*/ 2147483647 w 309"/>
                <a:gd name="T67" fmla="*/ 2147483647 h 1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09"/>
                <a:gd name="T103" fmla="*/ 0 h 146"/>
                <a:gd name="T104" fmla="*/ 309 w 309"/>
                <a:gd name="T105" fmla="*/ 146 h 1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09" h="146">
                  <a:moveTo>
                    <a:pt x="309" y="36"/>
                  </a:moveTo>
                  <a:lnTo>
                    <a:pt x="307" y="47"/>
                  </a:lnTo>
                  <a:lnTo>
                    <a:pt x="277" y="55"/>
                  </a:lnTo>
                  <a:lnTo>
                    <a:pt x="245" y="81"/>
                  </a:lnTo>
                  <a:lnTo>
                    <a:pt x="212" y="81"/>
                  </a:lnTo>
                  <a:lnTo>
                    <a:pt x="188" y="108"/>
                  </a:lnTo>
                  <a:lnTo>
                    <a:pt x="174" y="91"/>
                  </a:lnTo>
                  <a:lnTo>
                    <a:pt x="154" y="93"/>
                  </a:lnTo>
                  <a:lnTo>
                    <a:pt x="148" y="110"/>
                  </a:lnTo>
                  <a:lnTo>
                    <a:pt x="123" y="114"/>
                  </a:lnTo>
                  <a:lnTo>
                    <a:pt x="123" y="135"/>
                  </a:lnTo>
                  <a:lnTo>
                    <a:pt x="106" y="133"/>
                  </a:lnTo>
                  <a:lnTo>
                    <a:pt x="91" y="144"/>
                  </a:lnTo>
                  <a:lnTo>
                    <a:pt x="72" y="146"/>
                  </a:lnTo>
                  <a:lnTo>
                    <a:pt x="70" y="137"/>
                  </a:lnTo>
                  <a:lnTo>
                    <a:pt x="57" y="133"/>
                  </a:lnTo>
                  <a:lnTo>
                    <a:pt x="49" y="140"/>
                  </a:lnTo>
                  <a:lnTo>
                    <a:pt x="41" y="133"/>
                  </a:lnTo>
                  <a:lnTo>
                    <a:pt x="30" y="133"/>
                  </a:lnTo>
                  <a:lnTo>
                    <a:pt x="20" y="137"/>
                  </a:lnTo>
                  <a:lnTo>
                    <a:pt x="1" y="137"/>
                  </a:lnTo>
                  <a:lnTo>
                    <a:pt x="0" y="121"/>
                  </a:lnTo>
                  <a:lnTo>
                    <a:pt x="5" y="116"/>
                  </a:lnTo>
                  <a:lnTo>
                    <a:pt x="5" y="108"/>
                  </a:lnTo>
                  <a:lnTo>
                    <a:pt x="24" y="112"/>
                  </a:lnTo>
                  <a:lnTo>
                    <a:pt x="34" y="119"/>
                  </a:lnTo>
                  <a:lnTo>
                    <a:pt x="36" y="127"/>
                  </a:lnTo>
                  <a:lnTo>
                    <a:pt x="43" y="127"/>
                  </a:lnTo>
                  <a:lnTo>
                    <a:pt x="41" y="116"/>
                  </a:lnTo>
                  <a:lnTo>
                    <a:pt x="47" y="114"/>
                  </a:lnTo>
                  <a:lnTo>
                    <a:pt x="51" y="125"/>
                  </a:lnTo>
                  <a:lnTo>
                    <a:pt x="59" y="125"/>
                  </a:lnTo>
                  <a:lnTo>
                    <a:pt x="57" y="110"/>
                  </a:lnTo>
                  <a:lnTo>
                    <a:pt x="59" y="102"/>
                  </a:lnTo>
                  <a:lnTo>
                    <a:pt x="78" y="108"/>
                  </a:lnTo>
                  <a:lnTo>
                    <a:pt x="81" y="100"/>
                  </a:lnTo>
                  <a:lnTo>
                    <a:pt x="91" y="95"/>
                  </a:lnTo>
                  <a:lnTo>
                    <a:pt x="102" y="97"/>
                  </a:lnTo>
                  <a:lnTo>
                    <a:pt x="112" y="89"/>
                  </a:lnTo>
                  <a:lnTo>
                    <a:pt x="110" y="81"/>
                  </a:lnTo>
                  <a:lnTo>
                    <a:pt x="93" y="81"/>
                  </a:lnTo>
                  <a:lnTo>
                    <a:pt x="79" y="74"/>
                  </a:lnTo>
                  <a:lnTo>
                    <a:pt x="66" y="64"/>
                  </a:lnTo>
                  <a:lnTo>
                    <a:pt x="45" y="68"/>
                  </a:lnTo>
                  <a:lnTo>
                    <a:pt x="40" y="61"/>
                  </a:lnTo>
                  <a:lnTo>
                    <a:pt x="32" y="61"/>
                  </a:lnTo>
                  <a:lnTo>
                    <a:pt x="34" y="51"/>
                  </a:lnTo>
                  <a:lnTo>
                    <a:pt x="60" y="38"/>
                  </a:lnTo>
                  <a:lnTo>
                    <a:pt x="59" y="28"/>
                  </a:lnTo>
                  <a:lnTo>
                    <a:pt x="51" y="21"/>
                  </a:lnTo>
                  <a:lnTo>
                    <a:pt x="64" y="15"/>
                  </a:lnTo>
                  <a:lnTo>
                    <a:pt x="87" y="15"/>
                  </a:lnTo>
                  <a:lnTo>
                    <a:pt x="112" y="26"/>
                  </a:lnTo>
                  <a:lnTo>
                    <a:pt x="117" y="26"/>
                  </a:lnTo>
                  <a:lnTo>
                    <a:pt x="121" y="5"/>
                  </a:lnTo>
                  <a:lnTo>
                    <a:pt x="131" y="0"/>
                  </a:lnTo>
                  <a:lnTo>
                    <a:pt x="152" y="15"/>
                  </a:lnTo>
                  <a:lnTo>
                    <a:pt x="167" y="17"/>
                  </a:lnTo>
                  <a:lnTo>
                    <a:pt x="197" y="11"/>
                  </a:lnTo>
                  <a:lnTo>
                    <a:pt x="260" y="17"/>
                  </a:lnTo>
                  <a:lnTo>
                    <a:pt x="281" y="9"/>
                  </a:lnTo>
                  <a:lnTo>
                    <a:pt x="285" y="11"/>
                  </a:lnTo>
                  <a:lnTo>
                    <a:pt x="279" y="23"/>
                  </a:lnTo>
                  <a:lnTo>
                    <a:pt x="288" y="23"/>
                  </a:lnTo>
                  <a:lnTo>
                    <a:pt x="290" y="30"/>
                  </a:lnTo>
                  <a:lnTo>
                    <a:pt x="302" y="30"/>
                  </a:lnTo>
                  <a:lnTo>
                    <a:pt x="302" y="36"/>
                  </a:lnTo>
                  <a:lnTo>
                    <a:pt x="309" y="3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7" name="Freeform 344"/>
            <p:cNvSpPr>
              <a:spLocks/>
            </p:cNvSpPr>
            <p:nvPr/>
          </p:nvSpPr>
          <p:spPr bwMode="auto">
            <a:xfrm>
              <a:off x="3344314" y="3323749"/>
              <a:ext cx="49614" cy="73333"/>
            </a:xfrm>
            <a:custGeom>
              <a:avLst/>
              <a:gdLst>
                <a:gd name="T0" fmla="*/ 2147483647 w 89"/>
                <a:gd name="T1" fmla="*/ 2147483647 h 118"/>
                <a:gd name="T2" fmla="*/ 2147483647 w 89"/>
                <a:gd name="T3" fmla="*/ 2147483647 h 118"/>
                <a:gd name="T4" fmla="*/ 2147483647 w 89"/>
                <a:gd name="T5" fmla="*/ 2147483647 h 118"/>
                <a:gd name="T6" fmla="*/ 2147483647 w 89"/>
                <a:gd name="T7" fmla="*/ 2147483647 h 118"/>
                <a:gd name="T8" fmla="*/ 0 w 89"/>
                <a:gd name="T9" fmla="*/ 2147483647 h 118"/>
                <a:gd name="T10" fmla="*/ 2147483647 w 89"/>
                <a:gd name="T11" fmla="*/ 0 h 118"/>
                <a:gd name="T12" fmla="*/ 2147483647 w 89"/>
                <a:gd name="T13" fmla="*/ 2147483647 h 118"/>
                <a:gd name="T14" fmla="*/ 2147483647 w 89"/>
                <a:gd name="T15" fmla="*/ 2147483647 h 118"/>
                <a:gd name="T16" fmla="*/ 2147483647 w 89"/>
                <a:gd name="T17" fmla="*/ 2147483647 h 118"/>
                <a:gd name="T18" fmla="*/ 2147483647 w 89"/>
                <a:gd name="T19" fmla="*/ 2147483647 h 118"/>
                <a:gd name="T20" fmla="*/ 2147483647 w 89"/>
                <a:gd name="T21" fmla="*/ 2147483647 h 118"/>
                <a:gd name="T22" fmla="*/ 2147483647 w 89"/>
                <a:gd name="T23" fmla="*/ 2147483647 h 118"/>
                <a:gd name="T24" fmla="*/ 2147483647 w 89"/>
                <a:gd name="T25" fmla="*/ 2147483647 h 118"/>
                <a:gd name="T26" fmla="*/ 2147483647 w 89"/>
                <a:gd name="T27" fmla="*/ 2147483647 h 118"/>
                <a:gd name="T28" fmla="*/ 2147483647 w 89"/>
                <a:gd name="T29" fmla="*/ 2147483647 h 118"/>
                <a:gd name="T30" fmla="*/ 2147483647 w 89"/>
                <a:gd name="T31" fmla="*/ 2147483647 h 118"/>
                <a:gd name="T32" fmla="*/ 2147483647 w 89"/>
                <a:gd name="T33" fmla="*/ 2147483647 h 118"/>
                <a:gd name="T34" fmla="*/ 2147483647 w 89"/>
                <a:gd name="T35" fmla="*/ 2147483647 h 118"/>
                <a:gd name="T36" fmla="*/ 2147483647 w 89"/>
                <a:gd name="T37" fmla="*/ 2147483647 h 118"/>
                <a:gd name="T38" fmla="*/ 2147483647 w 89"/>
                <a:gd name="T39" fmla="*/ 2147483647 h 118"/>
                <a:gd name="T40" fmla="*/ 2147483647 w 89"/>
                <a:gd name="T41" fmla="*/ 2147483647 h 118"/>
                <a:gd name="T42" fmla="*/ 2147483647 w 89"/>
                <a:gd name="T43" fmla="*/ 2147483647 h 11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9"/>
                <a:gd name="T67" fmla="*/ 0 h 118"/>
                <a:gd name="T68" fmla="*/ 89 w 89"/>
                <a:gd name="T69" fmla="*/ 118 h 11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9" h="118">
                  <a:moveTo>
                    <a:pt x="34" y="118"/>
                  </a:moveTo>
                  <a:lnTo>
                    <a:pt x="38" y="80"/>
                  </a:lnTo>
                  <a:lnTo>
                    <a:pt x="34" y="52"/>
                  </a:lnTo>
                  <a:lnTo>
                    <a:pt x="23" y="40"/>
                  </a:lnTo>
                  <a:lnTo>
                    <a:pt x="0" y="6"/>
                  </a:lnTo>
                  <a:lnTo>
                    <a:pt x="23" y="0"/>
                  </a:lnTo>
                  <a:lnTo>
                    <a:pt x="27" y="10"/>
                  </a:lnTo>
                  <a:lnTo>
                    <a:pt x="34" y="6"/>
                  </a:lnTo>
                  <a:lnTo>
                    <a:pt x="42" y="14"/>
                  </a:lnTo>
                  <a:lnTo>
                    <a:pt x="51" y="12"/>
                  </a:lnTo>
                  <a:lnTo>
                    <a:pt x="74" y="31"/>
                  </a:lnTo>
                  <a:lnTo>
                    <a:pt x="80" y="44"/>
                  </a:lnTo>
                  <a:lnTo>
                    <a:pt x="89" y="63"/>
                  </a:lnTo>
                  <a:lnTo>
                    <a:pt x="89" y="82"/>
                  </a:lnTo>
                  <a:lnTo>
                    <a:pt x="80" y="84"/>
                  </a:lnTo>
                  <a:lnTo>
                    <a:pt x="72" y="80"/>
                  </a:lnTo>
                  <a:lnTo>
                    <a:pt x="68" y="86"/>
                  </a:lnTo>
                  <a:lnTo>
                    <a:pt x="61" y="86"/>
                  </a:lnTo>
                  <a:lnTo>
                    <a:pt x="57" y="97"/>
                  </a:lnTo>
                  <a:lnTo>
                    <a:pt x="57" y="107"/>
                  </a:lnTo>
                  <a:lnTo>
                    <a:pt x="49" y="114"/>
                  </a:lnTo>
                  <a:lnTo>
                    <a:pt x="34" y="11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8" name="Freeform 345"/>
            <p:cNvSpPr>
              <a:spLocks/>
            </p:cNvSpPr>
            <p:nvPr/>
          </p:nvSpPr>
          <p:spPr bwMode="auto">
            <a:xfrm>
              <a:off x="3356442" y="2021202"/>
              <a:ext cx="2509371" cy="1484134"/>
            </a:xfrm>
            <a:custGeom>
              <a:avLst/>
              <a:gdLst>
                <a:gd name="T0" fmla="*/ 2147483647 w 4602"/>
                <a:gd name="T1" fmla="*/ 2147483647 h 2380"/>
                <a:gd name="T2" fmla="*/ 2147483647 w 4602"/>
                <a:gd name="T3" fmla="*/ 2147483647 h 2380"/>
                <a:gd name="T4" fmla="*/ 2147483647 w 4602"/>
                <a:gd name="T5" fmla="*/ 2147483647 h 2380"/>
                <a:gd name="T6" fmla="*/ 2147483647 w 4602"/>
                <a:gd name="T7" fmla="*/ 2147483647 h 2380"/>
                <a:gd name="T8" fmla="*/ 2147483647 w 4602"/>
                <a:gd name="T9" fmla="*/ 2147483647 h 2380"/>
                <a:gd name="T10" fmla="*/ 2147483647 w 4602"/>
                <a:gd name="T11" fmla="*/ 2147483647 h 2380"/>
                <a:gd name="T12" fmla="*/ 2147483647 w 4602"/>
                <a:gd name="T13" fmla="*/ 2147483647 h 2380"/>
                <a:gd name="T14" fmla="*/ 2147483647 w 4602"/>
                <a:gd name="T15" fmla="*/ 2147483647 h 2380"/>
                <a:gd name="T16" fmla="*/ 2147483647 w 4602"/>
                <a:gd name="T17" fmla="*/ 2147483647 h 2380"/>
                <a:gd name="T18" fmla="*/ 2147483647 w 4602"/>
                <a:gd name="T19" fmla="*/ 2147483647 h 2380"/>
                <a:gd name="T20" fmla="*/ 2147483647 w 4602"/>
                <a:gd name="T21" fmla="*/ 2147483647 h 2380"/>
                <a:gd name="T22" fmla="*/ 2147483647 w 4602"/>
                <a:gd name="T23" fmla="*/ 2147483647 h 2380"/>
                <a:gd name="T24" fmla="*/ 2147483647 w 4602"/>
                <a:gd name="T25" fmla="*/ 2147483647 h 2380"/>
                <a:gd name="T26" fmla="*/ 2147483647 w 4602"/>
                <a:gd name="T27" fmla="*/ 2147483647 h 2380"/>
                <a:gd name="T28" fmla="*/ 2147483647 w 4602"/>
                <a:gd name="T29" fmla="*/ 2147483647 h 2380"/>
                <a:gd name="T30" fmla="*/ 2147483647 w 4602"/>
                <a:gd name="T31" fmla="*/ 2147483647 h 2380"/>
                <a:gd name="T32" fmla="*/ 2147483647 w 4602"/>
                <a:gd name="T33" fmla="*/ 2147483647 h 2380"/>
                <a:gd name="T34" fmla="*/ 2147483647 w 4602"/>
                <a:gd name="T35" fmla="*/ 2147483647 h 2380"/>
                <a:gd name="T36" fmla="*/ 2147483647 w 4602"/>
                <a:gd name="T37" fmla="*/ 2147483647 h 2380"/>
                <a:gd name="T38" fmla="*/ 2147483647 w 4602"/>
                <a:gd name="T39" fmla="*/ 2147483647 h 2380"/>
                <a:gd name="T40" fmla="*/ 2147483647 w 4602"/>
                <a:gd name="T41" fmla="*/ 2147483647 h 2380"/>
                <a:gd name="T42" fmla="*/ 2147483647 w 4602"/>
                <a:gd name="T43" fmla="*/ 2147483647 h 2380"/>
                <a:gd name="T44" fmla="*/ 2147483647 w 4602"/>
                <a:gd name="T45" fmla="*/ 2147483647 h 2380"/>
                <a:gd name="T46" fmla="*/ 2147483647 w 4602"/>
                <a:gd name="T47" fmla="*/ 2147483647 h 2380"/>
                <a:gd name="T48" fmla="*/ 2147483647 w 4602"/>
                <a:gd name="T49" fmla="*/ 2147483647 h 2380"/>
                <a:gd name="T50" fmla="*/ 2147483647 w 4602"/>
                <a:gd name="T51" fmla="*/ 2147483647 h 2380"/>
                <a:gd name="T52" fmla="*/ 2147483647 w 4602"/>
                <a:gd name="T53" fmla="*/ 2147483647 h 2380"/>
                <a:gd name="T54" fmla="*/ 2147483647 w 4602"/>
                <a:gd name="T55" fmla="*/ 2147483647 h 2380"/>
                <a:gd name="T56" fmla="*/ 2147483647 w 4602"/>
                <a:gd name="T57" fmla="*/ 2147483647 h 2380"/>
                <a:gd name="T58" fmla="*/ 2147483647 w 4602"/>
                <a:gd name="T59" fmla="*/ 2147483647 h 2380"/>
                <a:gd name="T60" fmla="*/ 2147483647 w 4602"/>
                <a:gd name="T61" fmla="*/ 2147483647 h 2380"/>
                <a:gd name="T62" fmla="*/ 2147483647 w 4602"/>
                <a:gd name="T63" fmla="*/ 2147483647 h 2380"/>
                <a:gd name="T64" fmla="*/ 2147483647 w 4602"/>
                <a:gd name="T65" fmla="*/ 2147483647 h 2380"/>
                <a:gd name="T66" fmla="*/ 2147483647 w 4602"/>
                <a:gd name="T67" fmla="*/ 2147483647 h 2380"/>
                <a:gd name="T68" fmla="*/ 2147483647 w 4602"/>
                <a:gd name="T69" fmla="*/ 2147483647 h 2380"/>
                <a:gd name="T70" fmla="*/ 2147483647 w 4602"/>
                <a:gd name="T71" fmla="*/ 2147483647 h 2380"/>
                <a:gd name="T72" fmla="*/ 2147483647 w 4602"/>
                <a:gd name="T73" fmla="*/ 2147483647 h 2380"/>
                <a:gd name="T74" fmla="*/ 2147483647 w 4602"/>
                <a:gd name="T75" fmla="*/ 2147483647 h 2380"/>
                <a:gd name="T76" fmla="*/ 2147483647 w 4602"/>
                <a:gd name="T77" fmla="*/ 2147483647 h 2380"/>
                <a:gd name="T78" fmla="*/ 2147483647 w 4602"/>
                <a:gd name="T79" fmla="*/ 2147483647 h 2380"/>
                <a:gd name="T80" fmla="*/ 2147483647 w 4602"/>
                <a:gd name="T81" fmla="*/ 2147483647 h 2380"/>
                <a:gd name="T82" fmla="*/ 2147483647 w 4602"/>
                <a:gd name="T83" fmla="*/ 2147483647 h 2380"/>
                <a:gd name="T84" fmla="*/ 2147483647 w 4602"/>
                <a:gd name="T85" fmla="*/ 2147483647 h 2380"/>
                <a:gd name="T86" fmla="*/ 2147483647 w 4602"/>
                <a:gd name="T87" fmla="*/ 2147483647 h 2380"/>
                <a:gd name="T88" fmla="*/ 2147483647 w 4602"/>
                <a:gd name="T89" fmla="*/ 2147483647 h 2380"/>
                <a:gd name="T90" fmla="*/ 2147483647 w 4602"/>
                <a:gd name="T91" fmla="*/ 2147483647 h 2380"/>
                <a:gd name="T92" fmla="*/ 2147483647 w 4602"/>
                <a:gd name="T93" fmla="*/ 2147483647 h 2380"/>
                <a:gd name="T94" fmla="*/ 2147483647 w 4602"/>
                <a:gd name="T95" fmla="*/ 2147483647 h 2380"/>
                <a:gd name="T96" fmla="*/ 2147483647 w 4602"/>
                <a:gd name="T97" fmla="*/ 2147483647 h 2380"/>
                <a:gd name="T98" fmla="*/ 2147483647 w 4602"/>
                <a:gd name="T99" fmla="*/ 2147483647 h 2380"/>
                <a:gd name="T100" fmla="*/ 2147483647 w 4602"/>
                <a:gd name="T101" fmla="*/ 2147483647 h 2380"/>
                <a:gd name="T102" fmla="*/ 2147483647 w 4602"/>
                <a:gd name="T103" fmla="*/ 2147483647 h 2380"/>
                <a:gd name="T104" fmla="*/ 2147483647 w 4602"/>
                <a:gd name="T105" fmla="*/ 2147483647 h 2380"/>
                <a:gd name="T106" fmla="*/ 2147483647 w 4602"/>
                <a:gd name="T107" fmla="*/ 2147483647 h 2380"/>
                <a:gd name="T108" fmla="*/ 2147483647 w 4602"/>
                <a:gd name="T109" fmla="*/ 2147483647 h 2380"/>
                <a:gd name="T110" fmla="*/ 2147483647 w 4602"/>
                <a:gd name="T111" fmla="*/ 2147483647 h 2380"/>
                <a:gd name="T112" fmla="*/ 2147483647 w 4602"/>
                <a:gd name="T113" fmla="*/ 2147483647 h 2380"/>
                <a:gd name="T114" fmla="*/ 2147483647 w 4602"/>
                <a:gd name="T115" fmla="*/ 2147483647 h 2380"/>
                <a:gd name="T116" fmla="*/ 2147483647 w 4602"/>
                <a:gd name="T117" fmla="*/ 2147483647 h 2380"/>
                <a:gd name="T118" fmla="*/ 2147483647 w 4602"/>
                <a:gd name="T119" fmla="*/ 2147483647 h 2380"/>
                <a:gd name="T120" fmla="*/ 2147483647 w 4602"/>
                <a:gd name="T121" fmla="*/ 2147483647 h 2380"/>
                <a:gd name="T122" fmla="*/ 2147483647 w 4602"/>
                <a:gd name="T123" fmla="*/ 2147483647 h 23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602"/>
                <a:gd name="T187" fmla="*/ 0 h 2380"/>
                <a:gd name="T188" fmla="*/ 4602 w 4602"/>
                <a:gd name="T189" fmla="*/ 2380 h 23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602" h="2380">
                  <a:moveTo>
                    <a:pt x="6" y="1647"/>
                  </a:moveTo>
                  <a:lnTo>
                    <a:pt x="21" y="1639"/>
                  </a:lnTo>
                  <a:lnTo>
                    <a:pt x="25" y="1632"/>
                  </a:lnTo>
                  <a:lnTo>
                    <a:pt x="11" y="1616"/>
                  </a:lnTo>
                  <a:lnTo>
                    <a:pt x="2" y="1599"/>
                  </a:lnTo>
                  <a:lnTo>
                    <a:pt x="4" y="1592"/>
                  </a:lnTo>
                  <a:lnTo>
                    <a:pt x="0" y="1575"/>
                  </a:lnTo>
                  <a:lnTo>
                    <a:pt x="17" y="1565"/>
                  </a:lnTo>
                  <a:lnTo>
                    <a:pt x="28" y="1540"/>
                  </a:lnTo>
                  <a:lnTo>
                    <a:pt x="17" y="1529"/>
                  </a:lnTo>
                  <a:lnTo>
                    <a:pt x="21" y="1521"/>
                  </a:lnTo>
                  <a:lnTo>
                    <a:pt x="26" y="1527"/>
                  </a:lnTo>
                  <a:lnTo>
                    <a:pt x="44" y="1514"/>
                  </a:lnTo>
                  <a:lnTo>
                    <a:pt x="61" y="1518"/>
                  </a:lnTo>
                  <a:lnTo>
                    <a:pt x="70" y="1502"/>
                  </a:lnTo>
                  <a:lnTo>
                    <a:pt x="63" y="1497"/>
                  </a:lnTo>
                  <a:lnTo>
                    <a:pt x="42" y="1501"/>
                  </a:lnTo>
                  <a:lnTo>
                    <a:pt x="30" y="1485"/>
                  </a:lnTo>
                  <a:lnTo>
                    <a:pt x="38" y="1482"/>
                  </a:lnTo>
                  <a:lnTo>
                    <a:pt x="38" y="1468"/>
                  </a:lnTo>
                  <a:lnTo>
                    <a:pt x="26" y="1480"/>
                  </a:lnTo>
                  <a:lnTo>
                    <a:pt x="19" y="1480"/>
                  </a:lnTo>
                  <a:lnTo>
                    <a:pt x="36" y="1464"/>
                  </a:lnTo>
                  <a:lnTo>
                    <a:pt x="53" y="1449"/>
                  </a:lnTo>
                  <a:lnTo>
                    <a:pt x="61" y="1436"/>
                  </a:lnTo>
                  <a:lnTo>
                    <a:pt x="68" y="1436"/>
                  </a:lnTo>
                  <a:lnTo>
                    <a:pt x="70" y="1453"/>
                  </a:lnTo>
                  <a:lnTo>
                    <a:pt x="82" y="1451"/>
                  </a:lnTo>
                  <a:lnTo>
                    <a:pt x="104" y="1508"/>
                  </a:lnTo>
                  <a:lnTo>
                    <a:pt x="116" y="1508"/>
                  </a:lnTo>
                  <a:lnTo>
                    <a:pt x="118" y="1491"/>
                  </a:lnTo>
                  <a:lnTo>
                    <a:pt x="131" y="1489"/>
                  </a:lnTo>
                  <a:lnTo>
                    <a:pt x="142" y="1497"/>
                  </a:lnTo>
                  <a:lnTo>
                    <a:pt x="146" y="1474"/>
                  </a:lnTo>
                  <a:lnTo>
                    <a:pt x="158" y="1468"/>
                  </a:lnTo>
                  <a:lnTo>
                    <a:pt x="146" y="1436"/>
                  </a:lnTo>
                  <a:lnTo>
                    <a:pt x="131" y="1423"/>
                  </a:lnTo>
                  <a:lnTo>
                    <a:pt x="118" y="1421"/>
                  </a:lnTo>
                  <a:lnTo>
                    <a:pt x="102" y="1402"/>
                  </a:lnTo>
                  <a:lnTo>
                    <a:pt x="82" y="1419"/>
                  </a:lnTo>
                  <a:lnTo>
                    <a:pt x="80" y="1438"/>
                  </a:lnTo>
                  <a:lnTo>
                    <a:pt x="68" y="1436"/>
                  </a:lnTo>
                  <a:lnTo>
                    <a:pt x="61" y="1436"/>
                  </a:lnTo>
                  <a:lnTo>
                    <a:pt x="66" y="1425"/>
                  </a:lnTo>
                  <a:lnTo>
                    <a:pt x="114" y="1366"/>
                  </a:lnTo>
                  <a:lnTo>
                    <a:pt x="121" y="1349"/>
                  </a:lnTo>
                  <a:lnTo>
                    <a:pt x="93" y="1312"/>
                  </a:lnTo>
                  <a:lnTo>
                    <a:pt x="64" y="1292"/>
                  </a:lnTo>
                  <a:lnTo>
                    <a:pt x="87" y="1267"/>
                  </a:lnTo>
                  <a:lnTo>
                    <a:pt x="66" y="1246"/>
                  </a:lnTo>
                  <a:lnTo>
                    <a:pt x="78" y="1233"/>
                  </a:lnTo>
                  <a:lnTo>
                    <a:pt x="61" y="1223"/>
                  </a:lnTo>
                  <a:lnTo>
                    <a:pt x="64" y="1142"/>
                  </a:lnTo>
                  <a:lnTo>
                    <a:pt x="80" y="1134"/>
                  </a:lnTo>
                  <a:lnTo>
                    <a:pt x="68" y="1107"/>
                  </a:lnTo>
                  <a:lnTo>
                    <a:pt x="53" y="1067"/>
                  </a:lnTo>
                  <a:lnTo>
                    <a:pt x="36" y="1043"/>
                  </a:lnTo>
                  <a:lnTo>
                    <a:pt x="66" y="986"/>
                  </a:lnTo>
                  <a:lnTo>
                    <a:pt x="64" y="969"/>
                  </a:lnTo>
                  <a:lnTo>
                    <a:pt x="38" y="952"/>
                  </a:lnTo>
                  <a:lnTo>
                    <a:pt x="28" y="923"/>
                  </a:lnTo>
                  <a:lnTo>
                    <a:pt x="42" y="887"/>
                  </a:lnTo>
                  <a:lnTo>
                    <a:pt x="63" y="859"/>
                  </a:lnTo>
                  <a:lnTo>
                    <a:pt x="61" y="840"/>
                  </a:lnTo>
                  <a:lnTo>
                    <a:pt x="66" y="840"/>
                  </a:lnTo>
                  <a:lnTo>
                    <a:pt x="80" y="855"/>
                  </a:lnTo>
                  <a:lnTo>
                    <a:pt x="89" y="830"/>
                  </a:lnTo>
                  <a:lnTo>
                    <a:pt x="104" y="841"/>
                  </a:lnTo>
                  <a:lnTo>
                    <a:pt x="114" y="836"/>
                  </a:lnTo>
                  <a:lnTo>
                    <a:pt x="118" y="819"/>
                  </a:lnTo>
                  <a:lnTo>
                    <a:pt x="158" y="836"/>
                  </a:lnTo>
                  <a:lnTo>
                    <a:pt x="148" y="845"/>
                  </a:lnTo>
                  <a:lnTo>
                    <a:pt x="129" y="840"/>
                  </a:lnTo>
                  <a:lnTo>
                    <a:pt x="123" y="849"/>
                  </a:lnTo>
                  <a:lnTo>
                    <a:pt x="167" y="866"/>
                  </a:lnTo>
                  <a:lnTo>
                    <a:pt x="161" y="891"/>
                  </a:lnTo>
                  <a:lnTo>
                    <a:pt x="175" y="885"/>
                  </a:lnTo>
                  <a:lnTo>
                    <a:pt x="218" y="883"/>
                  </a:lnTo>
                  <a:lnTo>
                    <a:pt x="220" y="878"/>
                  </a:lnTo>
                  <a:lnTo>
                    <a:pt x="230" y="878"/>
                  </a:lnTo>
                  <a:lnTo>
                    <a:pt x="260" y="895"/>
                  </a:lnTo>
                  <a:lnTo>
                    <a:pt x="311" y="946"/>
                  </a:lnTo>
                  <a:lnTo>
                    <a:pt x="321" y="940"/>
                  </a:lnTo>
                  <a:lnTo>
                    <a:pt x="365" y="976"/>
                  </a:lnTo>
                  <a:lnTo>
                    <a:pt x="365" y="991"/>
                  </a:lnTo>
                  <a:lnTo>
                    <a:pt x="384" y="999"/>
                  </a:lnTo>
                  <a:lnTo>
                    <a:pt x="386" y="1050"/>
                  </a:lnTo>
                  <a:lnTo>
                    <a:pt x="363" y="1107"/>
                  </a:lnTo>
                  <a:lnTo>
                    <a:pt x="332" y="1124"/>
                  </a:lnTo>
                  <a:lnTo>
                    <a:pt x="256" y="1113"/>
                  </a:lnTo>
                  <a:lnTo>
                    <a:pt x="203" y="1094"/>
                  </a:lnTo>
                  <a:lnTo>
                    <a:pt x="169" y="1075"/>
                  </a:lnTo>
                  <a:lnTo>
                    <a:pt x="152" y="1048"/>
                  </a:lnTo>
                  <a:lnTo>
                    <a:pt x="137" y="1050"/>
                  </a:lnTo>
                  <a:lnTo>
                    <a:pt x="142" y="1077"/>
                  </a:lnTo>
                  <a:lnTo>
                    <a:pt x="159" y="1083"/>
                  </a:lnTo>
                  <a:lnTo>
                    <a:pt x="161" y="1094"/>
                  </a:lnTo>
                  <a:lnTo>
                    <a:pt x="178" y="1100"/>
                  </a:lnTo>
                  <a:lnTo>
                    <a:pt x="203" y="1117"/>
                  </a:lnTo>
                  <a:lnTo>
                    <a:pt x="211" y="1142"/>
                  </a:lnTo>
                  <a:lnTo>
                    <a:pt x="201" y="1180"/>
                  </a:lnTo>
                  <a:lnTo>
                    <a:pt x="211" y="1202"/>
                  </a:lnTo>
                  <a:lnTo>
                    <a:pt x="207" y="1235"/>
                  </a:lnTo>
                  <a:lnTo>
                    <a:pt x="230" y="1236"/>
                  </a:lnTo>
                  <a:lnTo>
                    <a:pt x="256" y="1263"/>
                  </a:lnTo>
                  <a:lnTo>
                    <a:pt x="302" y="1265"/>
                  </a:lnTo>
                  <a:lnTo>
                    <a:pt x="298" y="1240"/>
                  </a:lnTo>
                  <a:lnTo>
                    <a:pt x="277" y="1235"/>
                  </a:lnTo>
                  <a:lnTo>
                    <a:pt x="256" y="1210"/>
                  </a:lnTo>
                  <a:lnTo>
                    <a:pt x="270" y="1187"/>
                  </a:lnTo>
                  <a:lnTo>
                    <a:pt x="285" y="1193"/>
                  </a:lnTo>
                  <a:lnTo>
                    <a:pt x="348" y="1225"/>
                  </a:lnTo>
                  <a:lnTo>
                    <a:pt x="368" y="1223"/>
                  </a:lnTo>
                  <a:lnTo>
                    <a:pt x="367" y="1210"/>
                  </a:lnTo>
                  <a:lnTo>
                    <a:pt x="349" y="1187"/>
                  </a:lnTo>
                  <a:lnTo>
                    <a:pt x="348" y="1166"/>
                  </a:lnTo>
                  <a:lnTo>
                    <a:pt x="365" y="1153"/>
                  </a:lnTo>
                  <a:lnTo>
                    <a:pt x="376" y="1134"/>
                  </a:lnTo>
                  <a:lnTo>
                    <a:pt x="397" y="1130"/>
                  </a:lnTo>
                  <a:lnTo>
                    <a:pt x="418" y="1096"/>
                  </a:lnTo>
                  <a:lnTo>
                    <a:pt x="475" y="1123"/>
                  </a:lnTo>
                  <a:lnTo>
                    <a:pt x="484" y="1073"/>
                  </a:lnTo>
                  <a:lnTo>
                    <a:pt x="486" y="1037"/>
                  </a:lnTo>
                  <a:lnTo>
                    <a:pt x="460" y="1029"/>
                  </a:lnTo>
                  <a:lnTo>
                    <a:pt x="462" y="990"/>
                  </a:lnTo>
                  <a:lnTo>
                    <a:pt x="471" y="953"/>
                  </a:lnTo>
                  <a:lnTo>
                    <a:pt x="446" y="927"/>
                  </a:lnTo>
                  <a:lnTo>
                    <a:pt x="450" y="921"/>
                  </a:lnTo>
                  <a:lnTo>
                    <a:pt x="479" y="933"/>
                  </a:lnTo>
                  <a:lnTo>
                    <a:pt x="503" y="929"/>
                  </a:lnTo>
                  <a:lnTo>
                    <a:pt x="541" y="961"/>
                  </a:lnTo>
                  <a:lnTo>
                    <a:pt x="549" y="982"/>
                  </a:lnTo>
                  <a:lnTo>
                    <a:pt x="513" y="990"/>
                  </a:lnTo>
                  <a:lnTo>
                    <a:pt x="500" y="1014"/>
                  </a:lnTo>
                  <a:lnTo>
                    <a:pt x="517" y="1028"/>
                  </a:lnTo>
                  <a:lnTo>
                    <a:pt x="528" y="1062"/>
                  </a:lnTo>
                  <a:lnTo>
                    <a:pt x="578" y="1060"/>
                  </a:lnTo>
                  <a:lnTo>
                    <a:pt x="583" y="999"/>
                  </a:lnTo>
                  <a:lnTo>
                    <a:pt x="654" y="950"/>
                  </a:lnTo>
                  <a:lnTo>
                    <a:pt x="674" y="950"/>
                  </a:lnTo>
                  <a:lnTo>
                    <a:pt x="733" y="904"/>
                  </a:lnTo>
                  <a:lnTo>
                    <a:pt x="762" y="898"/>
                  </a:lnTo>
                  <a:lnTo>
                    <a:pt x="741" y="925"/>
                  </a:lnTo>
                  <a:lnTo>
                    <a:pt x="749" y="944"/>
                  </a:lnTo>
                  <a:lnTo>
                    <a:pt x="731" y="957"/>
                  </a:lnTo>
                  <a:lnTo>
                    <a:pt x="756" y="961"/>
                  </a:lnTo>
                  <a:lnTo>
                    <a:pt x="800" y="929"/>
                  </a:lnTo>
                  <a:lnTo>
                    <a:pt x="838" y="931"/>
                  </a:lnTo>
                  <a:lnTo>
                    <a:pt x="872" y="900"/>
                  </a:lnTo>
                  <a:lnTo>
                    <a:pt x="889" y="902"/>
                  </a:lnTo>
                  <a:lnTo>
                    <a:pt x="891" y="942"/>
                  </a:lnTo>
                  <a:lnTo>
                    <a:pt x="914" y="946"/>
                  </a:lnTo>
                  <a:lnTo>
                    <a:pt x="912" y="927"/>
                  </a:lnTo>
                  <a:lnTo>
                    <a:pt x="946" y="914"/>
                  </a:lnTo>
                  <a:lnTo>
                    <a:pt x="925" y="859"/>
                  </a:lnTo>
                  <a:lnTo>
                    <a:pt x="944" y="838"/>
                  </a:lnTo>
                  <a:lnTo>
                    <a:pt x="1015" y="849"/>
                  </a:lnTo>
                  <a:lnTo>
                    <a:pt x="1077" y="891"/>
                  </a:lnTo>
                  <a:lnTo>
                    <a:pt x="1138" y="936"/>
                  </a:lnTo>
                  <a:lnTo>
                    <a:pt x="1153" y="969"/>
                  </a:lnTo>
                  <a:lnTo>
                    <a:pt x="1178" y="919"/>
                  </a:lnTo>
                  <a:lnTo>
                    <a:pt x="1161" y="915"/>
                  </a:lnTo>
                  <a:lnTo>
                    <a:pt x="1142" y="864"/>
                  </a:lnTo>
                  <a:lnTo>
                    <a:pt x="1110" y="866"/>
                  </a:lnTo>
                  <a:lnTo>
                    <a:pt x="1111" y="821"/>
                  </a:lnTo>
                  <a:lnTo>
                    <a:pt x="1125" y="803"/>
                  </a:lnTo>
                  <a:lnTo>
                    <a:pt x="1125" y="760"/>
                  </a:lnTo>
                  <a:lnTo>
                    <a:pt x="1106" y="765"/>
                  </a:lnTo>
                  <a:lnTo>
                    <a:pt x="1119" y="712"/>
                  </a:lnTo>
                  <a:lnTo>
                    <a:pt x="1146" y="697"/>
                  </a:lnTo>
                  <a:lnTo>
                    <a:pt x="1165" y="648"/>
                  </a:lnTo>
                  <a:lnTo>
                    <a:pt x="1170" y="577"/>
                  </a:lnTo>
                  <a:lnTo>
                    <a:pt x="1195" y="549"/>
                  </a:lnTo>
                  <a:lnTo>
                    <a:pt x="1252" y="551"/>
                  </a:lnTo>
                  <a:lnTo>
                    <a:pt x="1273" y="566"/>
                  </a:lnTo>
                  <a:lnTo>
                    <a:pt x="1264" y="667"/>
                  </a:lnTo>
                  <a:lnTo>
                    <a:pt x="1246" y="667"/>
                  </a:lnTo>
                  <a:lnTo>
                    <a:pt x="1284" y="733"/>
                  </a:lnTo>
                  <a:lnTo>
                    <a:pt x="1267" y="895"/>
                  </a:lnTo>
                  <a:lnTo>
                    <a:pt x="1300" y="940"/>
                  </a:lnTo>
                  <a:lnTo>
                    <a:pt x="1284" y="961"/>
                  </a:lnTo>
                  <a:lnTo>
                    <a:pt x="1290" y="997"/>
                  </a:lnTo>
                  <a:lnTo>
                    <a:pt x="1260" y="1056"/>
                  </a:lnTo>
                  <a:lnTo>
                    <a:pt x="1245" y="1071"/>
                  </a:lnTo>
                  <a:lnTo>
                    <a:pt x="1226" y="1086"/>
                  </a:lnTo>
                  <a:lnTo>
                    <a:pt x="1231" y="1107"/>
                  </a:lnTo>
                  <a:lnTo>
                    <a:pt x="1265" y="1113"/>
                  </a:lnTo>
                  <a:lnTo>
                    <a:pt x="1273" y="1090"/>
                  </a:lnTo>
                  <a:lnTo>
                    <a:pt x="1303" y="1064"/>
                  </a:lnTo>
                  <a:lnTo>
                    <a:pt x="1319" y="1007"/>
                  </a:lnTo>
                  <a:lnTo>
                    <a:pt x="1334" y="999"/>
                  </a:lnTo>
                  <a:lnTo>
                    <a:pt x="1332" y="934"/>
                  </a:lnTo>
                  <a:lnTo>
                    <a:pt x="1381" y="914"/>
                  </a:lnTo>
                  <a:lnTo>
                    <a:pt x="1404" y="986"/>
                  </a:lnTo>
                  <a:lnTo>
                    <a:pt x="1433" y="959"/>
                  </a:lnTo>
                  <a:lnTo>
                    <a:pt x="1417" y="912"/>
                  </a:lnTo>
                  <a:lnTo>
                    <a:pt x="1370" y="893"/>
                  </a:lnTo>
                  <a:lnTo>
                    <a:pt x="1305" y="900"/>
                  </a:lnTo>
                  <a:lnTo>
                    <a:pt x="1300" y="809"/>
                  </a:lnTo>
                  <a:lnTo>
                    <a:pt x="1321" y="781"/>
                  </a:lnTo>
                  <a:lnTo>
                    <a:pt x="1303" y="707"/>
                  </a:lnTo>
                  <a:lnTo>
                    <a:pt x="1290" y="695"/>
                  </a:lnTo>
                  <a:lnTo>
                    <a:pt x="1303" y="655"/>
                  </a:lnTo>
                  <a:lnTo>
                    <a:pt x="1345" y="619"/>
                  </a:lnTo>
                  <a:lnTo>
                    <a:pt x="1343" y="557"/>
                  </a:lnTo>
                  <a:lnTo>
                    <a:pt x="1347" y="553"/>
                  </a:lnTo>
                  <a:lnTo>
                    <a:pt x="1370" y="602"/>
                  </a:lnTo>
                  <a:lnTo>
                    <a:pt x="1359" y="705"/>
                  </a:lnTo>
                  <a:lnTo>
                    <a:pt x="1416" y="714"/>
                  </a:lnTo>
                  <a:lnTo>
                    <a:pt x="1429" y="739"/>
                  </a:lnTo>
                  <a:lnTo>
                    <a:pt x="1444" y="739"/>
                  </a:lnTo>
                  <a:lnTo>
                    <a:pt x="1423" y="697"/>
                  </a:lnTo>
                  <a:lnTo>
                    <a:pt x="1379" y="676"/>
                  </a:lnTo>
                  <a:lnTo>
                    <a:pt x="1387" y="640"/>
                  </a:lnTo>
                  <a:lnTo>
                    <a:pt x="1423" y="655"/>
                  </a:lnTo>
                  <a:lnTo>
                    <a:pt x="1442" y="632"/>
                  </a:lnTo>
                  <a:lnTo>
                    <a:pt x="1414" y="631"/>
                  </a:lnTo>
                  <a:lnTo>
                    <a:pt x="1412" y="615"/>
                  </a:lnTo>
                  <a:lnTo>
                    <a:pt x="1438" y="594"/>
                  </a:lnTo>
                  <a:lnTo>
                    <a:pt x="1474" y="604"/>
                  </a:lnTo>
                  <a:lnTo>
                    <a:pt x="1480" y="619"/>
                  </a:lnTo>
                  <a:lnTo>
                    <a:pt x="1509" y="623"/>
                  </a:lnTo>
                  <a:lnTo>
                    <a:pt x="1537" y="663"/>
                  </a:lnTo>
                  <a:lnTo>
                    <a:pt x="1569" y="659"/>
                  </a:lnTo>
                  <a:lnTo>
                    <a:pt x="1571" y="689"/>
                  </a:lnTo>
                  <a:lnTo>
                    <a:pt x="1549" y="710"/>
                  </a:lnTo>
                  <a:lnTo>
                    <a:pt x="1545" y="760"/>
                  </a:lnTo>
                  <a:lnTo>
                    <a:pt x="1585" y="764"/>
                  </a:lnTo>
                  <a:lnTo>
                    <a:pt x="1575" y="716"/>
                  </a:lnTo>
                  <a:lnTo>
                    <a:pt x="1596" y="657"/>
                  </a:lnTo>
                  <a:lnTo>
                    <a:pt x="1568" y="640"/>
                  </a:lnTo>
                  <a:lnTo>
                    <a:pt x="1511" y="570"/>
                  </a:lnTo>
                  <a:lnTo>
                    <a:pt x="1509" y="473"/>
                  </a:lnTo>
                  <a:lnTo>
                    <a:pt x="1674" y="458"/>
                  </a:lnTo>
                  <a:lnTo>
                    <a:pt x="1668" y="420"/>
                  </a:lnTo>
                  <a:lnTo>
                    <a:pt x="1645" y="418"/>
                  </a:lnTo>
                  <a:lnTo>
                    <a:pt x="1642" y="378"/>
                  </a:lnTo>
                  <a:lnTo>
                    <a:pt x="1678" y="334"/>
                  </a:lnTo>
                  <a:lnTo>
                    <a:pt x="1710" y="338"/>
                  </a:lnTo>
                  <a:lnTo>
                    <a:pt x="1750" y="302"/>
                  </a:lnTo>
                  <a:lnTo>
                    <a:pt x="1851" y="249"/>
                  </a:lnTo>
                  <a:lnTo>
                    <a:pt x="1843" y="222"/>
                  </a:lnTo>
                  <a:lnTo>
                    <a:pt x="1923" y="167"/>
                  </a:lnTo>
                  <a:lnTo>
                    <a:pt x="1970" y="169"/>
                  </a:lnTo>
                  <a:lnTo>
                    <a:pt x="1925" y="226"/>
                  </a:lnTo>
                  <a:lnTo>
                    <a:pt x="1955" y="222"/>
                  </a:lnTo>
                  <a:lnTo>
                    <a:pt x="2010" y="182"/>
                  </a:lnTo>
                  <a:lnTo>
                    <a:pt x="2033" y="182"/>
                  </a:lnTo>
                  <a:lnTo>
                    <a:pt x="2008" y="158"/>
                  </a:lnTo>
                  <a:lnTo>
                    <a:pt x="2071" y="142"/>
                  </a:lnTo>
                  <a:lnTo>
                    <a:pt x="2088" y="78"/>
                  </a:lnTo>
                  <a:lnTo>
                    <a:pt x="2132" y="21"/>
                  </a:lnTo>
                  <a:lnTo>
                    <a:pt x="2191" y="0"/>
                  </a:lnTo>
                  <a:lnTo>
                    <a:pt x="2231" y="32"/>
                  </a:lnTo>
                  <a:lnTo>
                    <a:pt x="2193" y="72"/>
                  </a:lnTo>
                  <a:lnTo>
                    <a:pt x="2246" y="97"/>
                  </a:lnTo>
                  <a:lnTo>
                    <a:pt x="2223" y="152"/>
                  </a:lnTo>
                  <a:lnTo>
                    <a:pt x="2255" y="156"/>
                  </a:lnTo>
                  <a:lnTo>
                    <a:pt x="2280" y="123"/>
                  </a:lnTo>
                  <a:lnTo>
                    <a:pt x="2379" y="108"/>
                  </a:lnTo>
                  <a:lnTo>
                    <a:pt x="2423" y="150"/>
                  </a:lnTo>
                  <a:lnTo>
                    <a:pt x="2432" y="184"/>
                  </a:lnTo>
                  <a:lnTo>
                    <a:pt x="2423" y="317"/>
                  </a:lnTo>
                  <a:lnTo>
                    <a:pt x="2398" y="355"/>
                  </a:lnTo>
                  <a:lnTo>
                    <a:pt x="2307" y="439"/>
                  </a:lnTo>
                  <a:lnTo>
                    <a:pt x="2274" y="500"/>
                  </a:lnTo>
                  <a:lnTo>
                    <a:pt x="2242" y="520"/>
                  </a:lnTo>
                  <a:lnTo>
                    <a:pt x="2242" y="534"/>
                  </a:lnTo>
                  <a:lnTo>
                    <a:pt x="2309" y="503"/>
                  </a:lnTo>
                  <a:lnTo>
                    <a:pt x="2333" y="450"/>
                  </a:lnTo>
                  <a:lnTo>
                    <a:pt x="2364" y="448"/>
                  </a:lnTo>
                  <a:lnTo>
                    <a:pt x="2366" y="469"/>
                  </a:lnTo>
                  <a:lnTo>
                    <a:pt x="2407" y="477"/>
                  </a:lnTo>
                  <a:lnTo>
                    <a:pt x="2415" y="452"/>
                  </a:lnTo>
                  <a:lnTo>
                    <a:pt x="2428" y="500"/>
                  </a:lnTo>
                  <a:lnTo>
                    <a:pt x="2478" y="471"/>
                  </a:lnTo>
                  <a:lnTo>
                    <a:pt x="2573" y="488"/>
                  </a:lnTo>
                  <a:lnTo>
                    <a:pt x="2565" y="528"/>
                  </a:lnTo>
                  <a:lnTo>
                    <a:pt x="2662" y="547"/>
                  </a:lnTo>
                  <a:lnTo>
                    <a:pt x="2691" y="558"/>
                  </a:lnTo>
                  <a:lnTo>
                    <a:pt x="2706" y="528"/>
                  </a:lnTo>
                  <a:lnTo>
                    <a:pt x="2683" y="498"/>
                  </a:lnTo>
                  <a:lnTo>
                    <a:pt x="2723" y="458"/>
                  </a:lnTo>
                  <a:lnTo>
                    <a:pt x="2786" y="498"/>
                  </a:lnTo>
                  <a:lnTo>
                    <a:pt x="2879" y="539"/>
                  </a:lnTo>
                  <a:lnTo>
                    <a:pt x="2854" y="653"/>
                  </a:lnTo>
                  <a:lnTo>
                    <a:pt x="2871" y="653"/>
                  </a:lnTo>
                  <a:lnTo>
                    <a:pt x="2881" y="676"/>
                  </a:lnTo>
                  <a:lnTo>
                    <a:pt x="2873" y="686"/>
                  </a:lnTo>
                  <a:lnTo>
                    <a:pt x="2892" y="729"/>
                  </a:lnTo>
                  <a:lnTo>
                    <a:pt x="2922" y="746"/>
                  </a:lnTo>
                  <a:lnTo>
                    <a:pt x="2932" y="773"/>
                  </a:lnTo>
                  <a:lnTo>
                    <a:pt x="2955" y="716"/>
                  </a:lnTo>
                  <a:lnTo>
                    <a:pt x="2964" y="644"/>
                  </a:lnTo>
                  <a:lnTo>
                    <a:pt x="2979" y="646"/>
                  </a:lnTo>
                  <a:lnTo>
                    <a:pt x="2995" y="699"/>
                  </a:lnTo>
                  <a:lnTo>
                    <a:pt x="3029" y="695"/>
                  </a:lnTo>
                  <a:lnTo>
                    <a:pt x="3052" y="670"/>
                  </a:lnTo>
                  <a:lnTo>
                    <a:pt x="3171" y="689"/>
                  </a:lnTo>
                  <a:lnTo>
                    <a:pt x="3162" y="644"/>
                  </a:lnTo>
                  <a:lnTo>
                    <a:pt x="3175" y="617"/>
                  </a:lnTo>
                  <a:lnTo>
                    <a:pt x="3150" y="619"/>
                  </a:lnTo>
                  <a:lnTo>
                    <a:pt x="3156" y="596"/>
                  </a:lnTo>
                  <a:lnTo>
                    <a:pt x="3196" y="593"/>
                  </a:lnTo>
                  <a:lnTo>
                    <a:pt x="3190" y="560"/>
                  </a:lnTo>
                  <a:lnTo>
                    <a:pt x="3363" y="600"/>
                  </a:lnTo>
                  <a:lnTo>
                    <a:pt x="3297" y="598"/>
                  </a:lnTo>
                  <a:lnTo>
                    <a:pt x="3287" y="625"/>
                  </a:lnTo>
                  <a:lnTo>
                    <a:pt x="3371" y="610"/>
                  </a:lnTo>
                  <a:lnTo>
                    <a:pt x="3310" y="672"/>
                  </a:lnTo>
                  <a:lnTo>
                    <a:pt x="3346" y="659"/>
                  </a:lnTo>
                  <a:lnTo>
                    <a:pt x="3382" y="610"/>
                  </a:lnTo>
                  <a:lnTo>
                    <a:pt x="3436" y="610"/>
                  </a:lnTo>
                  <a:lnTo>
                    <a:pt x="3458" y="650"/>
                  </a:lnTo>
                  <a:lnTo>
                    <a:pt x="3424" y="665"/>
                  </a:lnTo>
                  <a:lnTo>
                    <a:pt x="3458" y="680"/>
                  </a:lnTo>
                  <a:lnTo>
                    <a:pt x="3523" y="748"/>
                  </a:lnTo>
                  <a:lnTo>
                    <a:pt x="3671" y="735"/>
                  </a:lnTo>
                  <a:lnTo>
                    <a:pt x="3711" y="748"/>
                  </a:lnTo>
                  <a:lnTo>
                    <a:pt x="3738" y="807"/>
                  </a:lnTo>
                  <a:lnTo>
                    <a:pt x="3736" y="855"/>
                  </a:lnTo>
                  <a:lnTo>
                    <a:pt x="3787" y="868"/>
                  </a:lnTo>
                  <a:lnTo>
                    <a:pt x="3863" y="859"/>
                  </a:lnTo>
                  <a:lnTo>
                    <a:pt x="3873" y="876"/>
                  </a:lnTo>
                  <a:lnTo>
                    <a:pt x="3897" y="866"/>
                  </a:lnTo>
                  <a:lnTo>
                    <a:pt x="3920" y="874"/>
                  </a:lnTo>
                  <a:lnTo>
                    <a:pt x="3956" y="847"/>
                  </a:lnTo>
                  <a:lnTo>
                    <a:pt x="3960" y="828"/>
                  </a:lnTo>
                  <a:lnTo>
                    <a:pt x="3994" y="843"/>
                  </a:lnTo>
                  <a:lnTo>
                    <a:pt x="3968" y="862"/>
                  </a:lnTo>
                  <a:lnTo>
                    <a:pt x="3992" y="933"/>
                  </a:lnTo>
                  <a:lnTo>
                    <a:pt x="4046" y="923"/>
                  </a:lnTo>
                  <a:lnTo>
                    <a:pt x="4046" y="872"/>
                  </a:lnTo>
                  <a:lnTo>
                    <a:pt x="4027" y="860"/>
                  </a:lnTo>
                  <a:lnTo>
                    <a:pt x="4025" y="819"/>
                  </a:lnTo>
                  <a:lnTo>
                    <a:pt x="4112" y="843"/>
                  </a:lnTo>
                  <a:lnTo>
                    <a:pt x="4198" y="847"/>
                  </a:lnTo>
                  <a:lnTo>
                    <a:pt x="4277" y="885"/>
                  </a:lnTo>
                  <a:lnTo>
                    <a:pt x="4441" y="1014"/>
                  </a:lnTo>
                  <a:lnTo>
                    <a:pt x="4458" y="1050"/>
                  </a:lnTo>
                  <a:lnTo>
                    <a:pt x="4454" y="1090"/>
                  </a:lnTo>
                  <a:lnTo>
                    <a:pt x="4475" y="1100"/>
                  </a:lnTo>
                  <a:lnTo>
                    <a:pt x="4465" y="1052"/>
                  </a:lnTo>
                  <a:lnTo>
                    <a:pt x="4549" y="1062"/>
                  </a:lnTo>
                  <a:lnTo>
                    <a:pt x="4602" y="1132"/>
                  </a:lnTo>
                  <a:lnTo>
                    <a:pt x="4579" y="1168"/>
                  </a:lnTo>
                  <a:lnTo>
                    <a:pt x="4540" y="1166"/>
                  </a:lnTo>
                  <a:lnTo>
                    <a:pt x="4538" y="1208"/>
                  </a:lnTo>
                  <a:lnTo>
                    <a:pt x="4513" y="1255"/>
                  </a:lnTo>
                  <a:lnTo>
                    <a:pt x="4464" y="1225"/>
                  </a:lnTo>
                  <a:lnTo>
                    <a:pt x="4431" y="1223"/>
                  </a:lnTo>
                  <a:lnTo>
                    <a:pt x="4426" y="1181"/>
                  </a:lnTo>
                  <a:lnTo>
                    <a:pt x="4399" y="1170"/>
                  </a:lnTo>
                  <a:lnTo>
                    <a:pt x="4350" y="1180"/>
                  </a:lnTo>
                  <a:lnTo>
                    <a:pt x="4344" y="1128"/>
                  </a:lnTo>
                  <a:lnTo>
                    <a:pt x="4317" y="1136"/>
                  </a:lnTo>
                  <a:lnTo>
                    <a:pt x="4327" y="1166"/>
                  </a:lnTo>
                  <a:lnTo>
                    <a:pt x="4321" y="1197"/>
                  </a:lnTo>
                  <a:lnTo>
                    <a:pt x="4266" y="1244"/>
                  </a:lnTo>
                  <a:lnTo>
                    <a:pt x="4218" y="1216"/>
                  </a:lnTo>
                  <a:lnTo>
                    <a:pt x="4218" y="1229"/>
                  </a:lnTo>
                  <a:lnTo>
                    <a:pt x="4255" y="1263"/>
                  </a:lnTo>
                  <a:lnTo>
                    <a:pt x="4264" y="1316"/>
                  </a:lnTo>
                  <a:lnTo>
                    <a:pt x="4291" y="1345"/>
                  </a:lnTo>
                  <a:lnTo>
                    <a:pt x="4272" y="1373"/>
                  </a:lnTo>
                  <a:lnTo>
                    <a:pt x="4234" y="1356"/>
                  </a:lnTo>
                  <a:lnTo>
                    <a:pt x="4192" y="1381"/>
                  </a:lnTo>
                  <a:lnTo>
                    <a:pt x="4123" y="1419"/>
                  </a:lnTo>
                  <a:lnTo>
                    <a:pt x="4068" y="1461"/>
                  </a:lnTo>
                  <a:lnTo>
                    <a:pt x="4034" y="1531"/>
                  </a:lnTo>
                  <a:lnTo>
                    <a:pt x="4006" y="1489"/>
                  </a:lnTo>
                  <a:lnTo>
                    <a:pt x="3966" y="1487"/>
                  </a:lnTo>
                  <a:lnTo>
                    <a:pt x="3907" y="1540"/>
                  </a:lnTo>
                  <a:lnTo>
                    <a:pt x="3901" y="1538"/>
                  </a:lnTo>
                  <a:lnTo>
                    <a:pt x="3907" y="1491"/>
                  </a:lnTo>
                  <a:lnTo>
                    <a:pt x="3878" y="1540"/>
                  </a:lnTo>
                  <a:lnTo>
                    <a:pt x="3846" y="1525"/>
                  </a:lnTo>
                  <a:lnTo>
                    <a:pt x="3787" y="1628"/>
                  </a:lnTo>
                  <a:lnTo>
                    <a:pt x="3821" y="1643"/>
                  </a:lnTo>
                  <a:lnTo>
                    <a:pt x="3808" y="1690"/>
                  </a:lnTo>
                  <a:lnTo>
                    <a:pt x="3829" y="1721"/>
                  </a:lnTo>
                  <a:lnTo>
                    <a:pt x="3808" y="1740"/>
                  </a:lnTo>
                  <a:lnTo>
                    <a:pt x="3783" y="1730"/>
                  </a:lnTo>
                  <a:lnTo>
                    <a:pt x="3776" y="1785"/>
                  </a:lnTo>
                  <a:lnTo>
                    <a:pt x="3791" y="1793"/>
                  </a:lnTo>
                  <a:lnTo>
                    <a:pt x="3779" y="1814"/>
                  </a:lnTo>
                  <a:lnTo>
                    <a:pt x="3766" y="1801"/>
                  </a:lnTo>
                  <a:lnTo>
                    <a:pt x="3738" y="1827"/>
                  </a:lnTo>
                  <a:lnTo>
                    <a:pt x="3730" y="1856"/>
                  </a:lnTo>
                  <a:lnTo>
                    <a:pt x="3743" y="1865"/>
                  </a:lnTo>
                  <a:lnTo>
                    <a:pt x="3736" y="1880"/>
                  </a:lnTo>
                  <a:lnTo>
                    <a:pt x="3730" y="1873"/>
                  </a:lnTo>
                  <a:lnTo>
                    <a:pt x="3694" y="1886"/>
                  </a:lnTo>
                  <a:lnTo>
                    <a:pt x="3690" y="1915"/>
                  </a:lnTo>
                  <a:lnTo>
                    <a:pt x="3639" y="1991"/>
                  </a:lnTo>
                  <a:lnTo>
                    <a:pt x="3618" y="1884"/>
                  </a:lnTo>
                  <a:lnTo>
                    <a:pt x="3605" y="1768"/>
                  </a:lnTo>
                  <a:lnTo>
                    <a:pt x="3608" y="1725"/>
                  </a:lnTo>
                  <a:lnTo>
                    <a:pt x="3620" y="1679"/>
                  </a:lnTo>
                  <a:lnTo>
                    <a:pt x="3648" y="1658"/>
                  </a:lnTo>
                  <a:lnTo>
                    <a:pt x="3639" y="1637"/>
                  </a:lnTo>
                  <a:lnTo>
                    <a:pt x="3688" y="1618"/>
                  </a:lnTo>
                  <a:lnTo>
                    <a:pt x="3836" y="1463"/>
                  </a:lnTo>
                  <a:lnTo>
                    <a:pt x="3850" y="1385"/>
                  </a:lnTo>
                  <a:lnTo>
                    <a:pt x="3880" y="1362"/>
                  </a:lnTo>
                  <a:lnTo>
                    <a:pt x="3865" y="1350"/>
                  </a:lnTo>
                  <a:lnTo>
                    <a:pt x="3827" y="1368"/>
                  </a:lnTo>
                  <a:lnTo>
                    <a:pt x="3821" y="1423"/>
                  </a:lnTo>
                  <a:lnTo>
                    <a:pt x="3800" y="1421"/>
                  </a:lnTo>
                  <a:lnTo>
                    <a:pt x="3740" y="1493"/>
                  </a:lnTo>
                  <a:lnTo>
                    <a:pt x="3730" y="1455"/>
                  </a:lnTo>
                  <a:lnTo>
                    <a:pt x="3753" y="1404"/>
                  </a:lnTo>
                  <a:lnTo>
                    <a:pt x="3730" y="1419"/>
                  </a:lnTo>
                  <a:lnTo>
                    <a:pt x="3715" y="1406"/>
                  </a:lnTo>
                  <a:lnTo>
                    <a:pt x="3643" y="1426"/>
                  </a:lnTo>
                  <a:lnTo>
                    <a:pt x="3637" y="1447"/>
                  </a:lnTo>
                  <a:lnTo>
                    <a:pt x="3589" y="1504"/>
                  </a:lnTo>
                  <a:lnTo>
                    <a:pt x="3574" y="1550"/>
                  </a:lnTo>
                  <a:lnTo>
                    <a:pt x="3599" y="1550"/>
                  </a:lnTo>
                  <a:lnTo>
                    <a:pt x="3605" y="1571"/>
                  </a:lnTo>
                  <a:lnTo>
                    <a:pt x="3489" y="1586"/>
                  </a:lnTo>
                  <a:lnTo>
                    <a:pt x="3483" y="1573"/>
                  </a:lnTo>
                  <a:lnTo>
                    <a:pt x="3517" y="1559"/>
                  </a:lnTo>
                  <a:lnTo>
                    <a:pt x="3494" y="1544"/>
                  </a:lnTo>
                  <a:lnTo>
                    <a:pt x="3432" y="1538"/>
                  </a:lnTo>
                  <a:lnTo>
                    <a:pt x="3420" y="1563"/>
                  </a:lnTo>
                  <a:lnTo>
                    <a:pt x="3245" y="1557"/>
                  </a:lnTo>
                  <a:lnTo>
                    <a:pt x="3221" y="1597"/>
                  </a:lnTo>
                  <a:lnTo>
                    <a:pt x="3192" y="1597"/>
                  </a:lnTo>
                  <a:lnTo>
                    <a:pt x="3050" y="1789"/>
                  </a:lnTo>
                  <a:lnTo>
                    <a:pt x="3069" y="1795"/>
                  </a:lnTo>
                  <a:lnTo>
                    <a:pt x="3088" y="1778"/>
                  </a:lnTo>
                  <a:lnTo>
                    <a:pt x="3120" y="1780"/>
                  </a:lnTo>
                  <a:lnTo>
                    <a:pt x="3105" y="1827"/>
                  </a:lnTo>
                  <a:lnTo>
                    <a:pt x="3105" y="1842"/>
                  </a:lnTo>
                  <a:lnTo>
                    <a:pt x="3141" y="1808"/>
                  </a:lnTo>
                  <a:lnTo>
                    <a:pt x="3168" y="1816"/>
                  </a:lnTo>
                  <a:lnTo>
                    <a:pt x="3206" y="1861"/>
                  </a:lnTo>
                  <a:lnTo>
                    <a:pt x="3206" y="1934"/>
                  </a:lnTo>
                  <a:lnTo>
                    <a:pt x="3192" y="1968"/>
                  </a:lnTo>
                  <a:lnTo>
                    <a:pt x="3183" y="2086"/>
                  </a:lnTo>
                  <a:lnTo>
                    <a:pt x="3152" y="2144"/>
                  </a:lnTo>
                  <a:lnTo>
                    <a:pt x="3143" y="2141"/>
                  </a:lnTo>
                  <a:lnTo>
                    <a:pt x="3050" y="2275"/>
                  </a:lnTo>
                  <a:lnTo>
                    <a:pt x="3012" y="2310"/>
                  </a:lnTo>
                  <a:lnTo>
                    <a:pt x="2981" y="2321"/>
                  </a:lnTo>
                  <a:lnTo>
                    <a:pt x="2957" y="2321"/>
                  </a:lnTo>
                  <a:lnTo>
                    <a:pt x="2951" y="2296"/>
                  </a:lnTo>
                  <a:lnTo>
                    <a:pt x="2938" y="2317"/>
                  </a:lnTo>
                  <a:lnTo>
                    <a:pt x="2926" y="2319"/>
                  </a:lnTo>
                  <a:lnTo>
                    <a:pt x="2913" y="2329"/>
                  </a:lnTo>
                  <a:lnTo>
                    <a:pt x="2903" y="2313"/>
                  </a:lnTo>
                  <a:lnTo>
                    <a:pt x="2919" y="2294"/>
                  </a:lnTo>
                  <a:lnTo>
                    <a:pt x="2922" y="2283"/>
                  </a:lnTo>
                  <a:lnTo>
                    <a:pt x="2915" y="2237"/>
                  </a:lnTo>
                  <a:lnTo>
                    <a:pt x="2938" y="2218"/>
                  </a:lnTo>
                  <a:lnTo>
                    <a:pt x="2970" y="2220"/>
                  </a:lnTo>
                  <a:lnTo>
                    <a:pt x="3031" y="2127"/>
                  </a:lnTo>
                  <a:lnTo>
                    <a:pt x="3023" y="2097"/>
                  </a:lnTo>
                  <a:lnTo>
                    <a:pt x="3008" y="2087"/>
                  </a:lnTo>
                  <a:lnTo>
                    <a:pt x="2966" y="2120"/>
                  </a:lnTo>
                  <a:lnTo>
                    <a:pt x="2921" y="2110"/>
                  </a:lnTo>
                  <a:lnTo>
                    <a:pt x="2909" y="2070"/>
                  </a:lnTo>
                  <a:lnTo>
                    <a:pt x="2877" y="2046"/>
                  </a:lnTo>
                  <a:lnTo>
                    <a:pt x="2858" y="2048"/>
                  </a:lnTo>
                  <a:lnTo>
                    <a:pt x="2848" y="2032"/>
                  </a:lnTo>
                  <a:lnTo>
                    <a:pt x="2824" y="2032"/>
                  </a:lnTo>
                  <a:lnTo>
                    <a:pt x="2814" y="1994"/>
                  </a:lnTo>
                  <a:lnTo>
                    <a:pt x="2770" y="1878"/>
                  </a:lnTo>
                  <a:lnTo>
                    <a:pt x="2715" y="1848"/>
                  </a:lnTo>
                  <a:lnTo>
                    <a:pt x="2691" y="1844"/>
                  </a:lnTo>
                  <a:lnTo>
                    <a:pt x="2634" y="1856"/>
                  </a:lnTo>
                  <a:lnTo>
                    <a:pt x="2611" y="1882"/>
                  </a:lnTo>
                  <a:lnTo>
                    <a:pt x="2613" y="1896"/>
                  </a:lnTo>
                  <a:lnTo>
                    <a:pt x="2624" y="1894"/>
                  </a:lnTo>
                  <a:lnTo>
                    <a:pt x="2624" y="1918"/>
                  </a:lnTo>
                  <a:lnTo>
                    <a:pt x="2577" y="1989"/>
                  </a:lnTo>
                  <a:lnTo>
                    <a:pt x="2594" y="2011"/>
                  </a:lnTo>
                  <a:lnTo>
                    <a:pt x="2569" y="2019"/>
                  </a:lnTo>
                  <a:lnTo>
                    <a:pt x="2540" y="2042"/>
                  </a:lnTo>
                  <a:lnTo>
                    <a:pt x="2514" y="2027"/>
                  </a:lnTo>
                  <a:lnTo>
                    <a:pt x="2504" y="2019"/>
                  </a:lnTo>
                  <a:lnTo>
                    <a:pt x="2485" y="2023"/>
                  </a:lnTo>
                  <a:lnTo>
                    <a:pt x="2455" y="2004"/>
                  </a:lnTo>
                  <a:lnTo>
                    <a:pt x="2434" y="2011"/>
                  </a:lnTo>
                  <a:lnTo>
                    <a:pt x="2409" y="2040"/>
                  </a:lnTo>
                  <a:lnTo>
                    <a:pt x="2347" y="2057"/>
                  </a:lnTo>
                  <a:lnTo>
                    <a:pt x="2286" y="2046"/>
                  </a:lnTo>
                  <a:lnTo>
                    <a:pt x="2208" y="1998"/>
                  </a:lnTo>
                  <a:lnTo>
                    <a:pt x="2160" y="2013"/>
                  </a:lnTo>
                  <a:lnTo>
                    <a:pt x="2121" y="2004"/>
                  </a:lnTo>
                  <a:lnTo>
                    <a:pt x="2105" y="1953"/>
                  </a:lnTo>
                  <a:lnTo>
                    <a:pt x="2075" y="1941"/>
                  </a:lnTo>
                  <a:lnTo>
                    <a:pt x="2155" y="1941"/>
                  </a:lnTo>
                  <a:lnTo>
                    <a:pt x="2183" y="1951"/>
                  </a:lnTo>
                  <a:lnTo>
                    <a:pt x="2214" y="1939"/>
                  </a:lnTo>
                  <a:lnTo>
                    <a:pt x="2229" y="1915"/>
                  </a:lnTo>
                  <a:lnTo>
                    <a:pt x="2238" y="1918"/>
                  </a:lnTo>
                  <a:lnTo>
                    <a:pt x="2252" y="1901"/>
                  </a:lnTo>
                  <a:lnTo>
                    <a:pt x="2267" y="1890"/>
                  </a:lnTo>
                  <a:lnTo>
                    <a:pt x="2293" y="1856"/>
                  </a:lnTo>
                  <a:lnTo>
                    <a:pt x="2292" y="1844"/>
                  </a:lnTo>
                  <a:lnTo>
                    <a:pt x="2301" y="1833"/>
                  </a:lnTo>
                  <a:lnTo>
                    <a:pt x="2311" y="1842"/>
                  </a:lnTo>
                  <a:lnTo>
                    <a:pt x="2318" y="1822"/>
                  </a:lnTo>
                  <a:lnTo>
                    <a:pt x="2314" y="1816"/>
                  </a:lnTo>
                  <a:lnTo>
                    <a:pt x="2331" y="1746"/>
                  </a:lnTo>
                  <a:lnTo>
                    <a:pt x="2318" y="1738"/>
                  </a:lnTo>
                  <a:lnTo>
                    <a:pt x="2305" y="1753"/>
                  </a:lnTo>
                  <a:lnTo>
                    <a:pt x="2305" y="1789"/>
                  </a:lnTo>
                  <a:lnTo>
                    <a:pt x="2292" y="1812"/>
                  </a:lnTo>
                  <a:lnTo>
                    <a:pt x="2257" y="1854"/>
                  </a:lnTo>
                  <a:lnTo>
                    <a:pt x="2267" y="1859"/>
                  </a:lnTo>
                  <a:lnTo>
                    <a:pt x="2246" y="1877"/>
                  </a:lnTo>
                  <a:lnTo>
                    <a:pt x="2197" y="1926"/>
                  </a:lnTo>
                  <a:lnTo>
                    <a:pt x="2183" y="1918"/>
                  </a:lnTo>
                  <a:lnTo>
                    <a:pt x="2176" y="1932"/>
                  </a:lnTo>
                  <a:lnTo>
                    <a:pt x="2155" y="1941"/>
                  </a:lnTo>
                  <a:lnTo>
                    <a:pt x="2075" y="1941"/>
                  </a:lnTo>
                  <a:lnTo>
                    <a:pt x="2018" y="1922"/>
                  </a:lnTo>
                  <a:lnTo>
                    <a:pt x="1991" y="1962"/>
                  </a:lnTo>
                  <a:lnTo>
                    <a:pt x="2003" y="1987"/>
                  </a:lnTo>
                  <a:lnTo>
                    <a:pt x="1995" y="2025"/>
                  </a:lnTo>
                  <a:lnTo>
                    <a:pt x="1913" y="2027"/>
                  </a:lnTo>
                  <a:lnTo>
                    <a:pt x="1881" y="1992"/>
                  </a:lnTo>
                  <a:lnTo>
                    <a:pt x="1849" y="1992"/>
                  </a:lnTo>
                  <a:lnTo>
                    <a:pt x="1839" y="1981"/>
                  </a:lnTo>
                  <a:lnTo>
                    <a:pt x="1786" y="2000"/>
                  </a:lnTo>
                  <a:lnTo>
                    <a:pt x="1740" y="2040"/>
                  </a:lnTo>
                  <a:lnTo>
                    <a:pt x="1723" y="2040"/>
                  </a:lnTo>
                  <a:lnTo>
                    <a:pt x="1712" y="2055"/>
                  </a:lnTo>
                  <a:lnTo>
                    <a:pt x="1695" y="2057"/>
                  </a:lnTo>
                  <a:lnTo>
                    <a:pt x="1691" y="2049"/>
                  </a:lnTo>
                  <a:lnTo>
                    <a:pt x="1649" y="2038"/>
                  </a:lnTo>
                  <a:lnTo>
                    <a:pt x="1630" y="2038"/>
                  </a:lnTo>
                  <a:lnTo>
                    <a:pt x="1626" y="2011"/>
                  </a:lnTo>
                  <a:lnTo>
                    <a:pt x="1611" y="2015"/>
                  </a:lnTo>
                  <a:lnTo>
                    <a:pt x="1590" y="1985"/>
                  </a:lnTo>
                  <a:lnTo>
                    <a:pt x="1569" y="1979"/>
                  </a:lnTo>
                  <a:lnTo>
                    <a:pt x="1558" y="1979"/>
                  </a:lnTo>
                  <a:lnTo>
                    <a:pt x="1556" y="1987"/>
                  </a:lnTo>
                  <a:lnTo>
                    <a:pt x="1539" y="1991"/>
                  </a:lnTo>
                  <a:lnTo>
                    <a:pt x="1526" y="1983"/>
                  </a:lnTo>
                  <a:lnTo>
                    <a:pt x="1524" y="1970"/>
                  </a:lnTo>
                  <a:lnTo>
                    <a:pt x="1509" y="1962"/>
                  </a:lnTo>
                  <a:lnTo>
                    <a:pt x="1501" y="1977"/>
                  </a:lnTo>
                  <a:lnTo>
                    <a:pt x="1490" y="1983"/>
                  </a:lnTo>
                  <a:lnTo>
                    <a:pt x="1433" y="1877"/>
                  </a:lnTo>
                  <a:lnTo>
                    <a:pt x="1393" y="1831"/>
                  </a:lnTo>
                  <a:lnTo>
                    <a:pt x="1400" y="1814"/>
                  </a:lnTo>
                  <a:lnTo>
                    <a:pt x="1398" y="1808"/>
                  </a:lnTo>
                  <a:lnTo>
                    <a:pt x="1376" y="1816"/>
                  </a:lnTo>
                  <a:lnTo>
                    <a:pt x="1357" y="1823"/>
                  </a:lnTo>
                  <a:lnTo>
                    <a:pt x="1353" y="1837"/>
                  </a:lnTo>
                  <a:lnTo>
                    <a:pt x="1330" y="1852"/>
                  </a:lnTo>
                  <a:lnTo>
                    <a:pt x="1315" y="1844"/>
                  </a:lnTo>
                  <a:lnTo>
                    <a:pt x="1302" y="1856"/>
                  </a:lnTo>
                  <a:lnTo>
                    <a:pt x="1298" y="1846"/>
                  </a:lnTo>
                  <a:lnTo>
                    <a:pt x="1305" y="1837"/>
                  </a:lnTo>
                  <a:lnTo>
                    <a:pt x="1283" y="1822"/>
                  </a:lnTo>
                  <a:lnTo>
                    <a:pt x="1275" y="1833"/>
                  </a:lnTo>
                  <a:lnTo>
                    <a:pt x="1271" y="1816"/>
                  </a:lnTo>
                  <a:lnTo>
                    <a:pt x="1246" y="1825"/>
                  </a:lnTo>
                  <a:lnTo>
                    <a:pt x="1233" y="1816"/>
                  </a:lnTo>
                  <a:lnTo>
                    <a:pt x="1237" y="1799"/>
                  </a:lnTo>
                  <a:lnTo>
                    <a:pt x="1231" y="1770"/>
                  </a:lnTo>
                  <a:lnTo>
                    <a:pt x="1205" y="1776"/>
                  </a:lnTo>
                  <a:lnTo>
                    <a:pt x="1174" y="1759"/>
                  </a:lnTo>
                  <a:lnTo>
                    <a:pt x="1168" y="1770"/>
                  </a:lnTo>
                  <a:lnTo>
                    <a:pt x="1161" y="1759"/>
                  </a:lnTo>
                  <a:lnTo>
                    <a:pt x="1148" y="1785"/>
                  </a:lnTo>
                  <a:lnTo>
                    <a:pt x="1138" y="1785"/>
                  </a:lnTo>
                  <a:lnTo>
                    <a:pt x="1127" y="1793"/>
                  </a:lnTo>
                  <a:lnTo>
                    <a:pt x="1091" y="1795"/>
                  </a:lnTo>
                  <a:lnTo>
                    <a:pt x="1068" y="1799"/>
                  </a:lnTo>
                  <a:lnTo>
                    <a:pt x="1064" y="1806"/>
                  </a:lnTo>
                  <a:lnTo>
                    <a:pt x="1056" y="1803"/>
                  </a:lnTo>
                  <a:lnTo>
                    <a:pt x="1028" y="1820"/>
                  </a:lnTo>
                  <a:lnTo>
                    <a:pt x="1007" y="1827"/>
                  </a:lnTo>
                  <a:lnTo>
                    <a:pt x="963" y="1825"/>
                  </a:lnTo>
                  <a:lnTo>
                    <a:pt x="954" y="1831"/>
                  </a:lnTo>
                  <a:lnTo>
                    <a:pt x="946" y="1848"/>
                  </a:lnTo>
                  <a:lnTo>
                    <a:pt x="969" y="1848"/>
                  </a:lnTo>
                  <a:lnTo>
                    <a:pt x="956" y="1856"/>
                  </a:lnTo>
                  <a:lnTo>
                    <a:pt x="973" y="1863"/>
                  </a:lnTo>
                  <a:lnTo>
                    <a:pt x="978" y="1875"/>
                  </a:lnTo>
                  <a:lnTo>
                    <a:pt x="956" y="1875"/>
                  </a:lnTo>
                  <a:lnTo>
                    <a:pt x="939" y="1886"/>
                  </a:lnTo>
                  <a:lnTo>
                    <a:pt x="948" y="1909"/>
                  </a:lnTo>
                  <a:lnTo>
                    <a:pt x="921" y="1924"/>
                  </a:lnTo>
                  <a:lnTo>
                    <a:pt x="933" y="1943"/>
                  </a:lnTo>
                  <a:lnTo>
                    <a:pt x="948" y="1953"/>
                  </a:lnTo>
                  <a:lnTo>
                    <a:pt x="961" y="1953"/>
                  </a:lnTo>
                  <a:lnTo>
                    <a:pt x="963" y="1972"/>
                  </a:lnTo>
                  <a:lnTo>
                    <a:pt x="959" y="1981"/>
                  </a:lnTo>
                  <a:lnTo>
                    <a:pt x="931" y="1991"/>
                  </a:lnTo>
                  <a:lnTo>
                    <a:pt x="920" y="1979"/>
                  </a:lnTo>
                  <a:lnTo>
                    <a:pt x="904" y="1998"/>
                  </a:lnTo>
                  <a:lnTo>
                    <a:pt x="901" y="1987"/>
                  </a:lnTo>
                  <a:lnTo>
                    <a:pt x="887" y="1977"/>
                  </a:lnTo>
                  <a:lnTo>
                    <a:pt x="885" y="1968"/>
                  </a:lnTo>
                  <a:lnTo>
                    <a:pt x="863" y="1970"/>
                  </a:lnTo>
                  <a:lnTo>
                    <a:pt x="849" y="1975"/>
                  </a:lnTo>
                  <a:lnTo>
                    <a:pt x="838" y="1970"/>
                  </a:lnTo>
                  <a:lnTo>
                    <a:pt x="821" y="1968"/>
                  </a:lnTo>
                  <a:lnTo>
                    <a:pt x="813" y="1981"/>
                  </a:lnTo>
                  <a:lnTo>
                    <a:pt x="804" y="1994"/>
                  </a:lnTo>
                  <a:lnTo>
                    <a:pt x="788" y="1981"/>
                  </a:lnTo>
                  <a:lnTo>
                    <a:pt x="779" y="1979"/>
                  </a:lnTo>
                  <a:lnTo>
                    <a:pt x="773" y="1994"/>
                  </a:lnTo>
                  <a:lnTo>
                    <a:pt x="766" y="1992"/>
                  </a:lnTo>
                  <a:lnTo>
                    <a:pt x="764" y="1981"/>
                  </a:lnTo>
                  <a:lnTo>
                    <a:pt x="747" y="1953"/>
                  </a:lnTo>
                  <a:lnTo>
                    <a:pt x="726" y="1947"/>
                  </a:lnTo>
                  <a:lnTo>
                    <a:pt x="712" y="1953"/>
                  </a:lnTo>
                  <a:lnTo>
                    <a:pt x="707" y="1943"/>
                  </a:lnTo>
                  <a:lnTo>
                    <a:pt x="690" y="1945"/>
                  </a:lnTo>
                  <a:lnTo>
                    <a:pt x="684" y="1956"/>
                  </a:lnTo>
                  <a:lnTo>
                    <a:pt x="676" y="1945"/>
                  </a:lnTo>
                  <a:lnTo>
                    <a:pt x="667" y="1943"/>
                  </a:lnTo>
                  <a:lnTo>
                    <a:pt x="663" y="1953"/>
                  </a:lnTo>
                  <a:lnTo>
                    <a:pt x="625" y="1981"/>
                  </a:lnTo>
                  <a:lnTo>
                    <a:pt x="614" y="1989"/>
                  </a:lnTo>
                  <a:lnTo>
                    <a:pt x="602" y="1985"/>
                  </a:lnTo>
                  <a:lnTo>
                    <a:pt x="614" y="2021"/>
                  </a:lnTo>
                  <a:lnTo>
                    <a:pt x="600" y="2029"/>
                  </a:lnTo>
                  <a:lnTo>
                    <a:pt x="572" y="2002"/>
                  </a:lnTo>
                  <a:lnTo>
                    <a:pt x="566" y="2004"/>
                  </a:lnTo>
                  <a:lnTo>
                    <a:pt x="564" y="2025"/>
                  </a:lnTo>
                  <a:lnTo>
                    <a:pt x="555" y="2030"/>
                  </a:lnTo>
                  <a:lnTo>
                    <a:pt x="547" y="2055"/>
                  </a:lnTo>
                  <a:lnTo>
                    <a:pt x="551" y="2063"/>
                  </a:lnTo>
                  <a:lnTo>
                    <a:pt x="541" y="2086"/>
                  </a:lnTo>
                  <a:lnTo>
                    <a:pt x="559" y="2101"/>
                  </a:lnTo>
                  <a:lnTo>
                    <a:pt x="557" y="2110"/>
                  </a:lnTo>
                  <a:lnTo>
                    <a:pt x="566" y="2122"/>
                  </a:lnTo>
                  <a:lnTo>
                    <a:pt x="570" y="2110"/>
                  </a:lnTo>
                  <a:lnTo>
                    <a:pt x="587" y="2114"/>
                  </a:lnTo>
                  <a:lnTo>
                    <a:pt x="604" y="2141"/>
                  </a:lnTo>
                  <a:lnTo>
                    <a:pt x="608" y="2156"/>
                  </a:lnTo>
                  <a:lnTo>
                    <a:pt x="597" y="2154"/>
                  </a:lnTo>
                  <a:lnTo>
                    <a:pt x="589" y="2156"/>
                  </a:lnTo>
                  <a:lnTo>
                    <a:pt x="608" y="2163"/>
                  </a:lnTo>
                  <a:lnTo>
                    <a:pt x="608" y="2171"/>
                  </a:lnTo>
                  <a:lnTo>
                    <a:pt x="591" y="2194"/>
                  </a:lnTo>
                  <a:lnTo>
                    <a:pt x="566" y="2196"/>
                  </a:lnTo>
                  <a:lnTo>
                    <a:pt x="547" y="2245"/>
                  </a:lnTo>
                  <a:lnTo>
                    <a:pt x="559" y="2249"/>
                  </a:lnTo>
                  <a:lnTo>
                    <a:pt x="568" y="2274"/>
                  </a:lnTo>
                  <a:lnTo>
                    <a:pt x="578" y="2270"/>
                  </a:lnTo>
                  <a:lnTo>
                    <a:pt x="568" y="2306"/>
                  </a:lnTo>
                  <a:lnTo>
                    <a:pt x="604" y="2351"/>
                  </a:lnTo>
                  <a:lnTo>
                    <a:pt x="608" y="2359"/>
                  </a:lnTo>
                  <a:lnTo>
                    <a:pt x="597" y="2367"/>
                  </a:lnTo>
                  <a:lnTo>
                    <a:pt x="595" y="2374"/>
                  </a:lnTo>
                  <a:lnTo>
                    <a:pt x="587" y="2380"/>
                  </a:lnTo>
                  <a:lnTo>
                    <a:pt x="574" y="2376"/>
                  </a:lnTo>
                  <a:lnTo>
                    <a:pt x="559" y="2355"/>
                  </a:lnTo>
                  <a:lnTo>
                    <a:pt x="553" y="2350"/>
                  </a:lnTo>
                  <a:lnTo>
                    <a:pt x="541" y="2346"/>
                  </a:lnTo>
                  <a:lnTo>
                    <a:pt x="524" y="2338"/>
                  </a:lnTo>
                  <a:lnTo>
                    <a:pt x="526" y="2327"/>
                  </a:lnTo>
                  <a:lnTo>
                    <a:pt x="507" y="2327"/>
                  </a:lnTo>
                  <a:lnTo>
                    <a:pt x="501" y="2315"/>
                  </a:lnTo>
                  <a:lnTo>
                    <a:pt x="488" y="2313"/>
                  </a:lnTo>
                  <a:lnTo>
                    <a:pt x="484" y="2325"/>
                  </a:lnTo>
                  <a:lnTo>
                    <a:pt x="479" y="2319"/>
                  </a:lnTo>
                  <a:lnTo>
                    <a:pt x="467" y="2327"/>
                  </a:lnTo>
                  <a:lnTo>
                    <a:pt x="462" y="2310"/>
                  </a:lnTo>
                  <a:lnTo>
                    <a:pt x="450" y="2313"/>
                  </a:lnTo>
                  <a:lnTo>
                    <a:pt x="444" y="2300"/>
                  </a:lnTo>
                  <a:lnTo>
                    <a:pt x="410" y="2296"/>
                  </a:lnTo>
                  <a:lnTo>
                    <a:pt x="386" y="2287"/>
                  </a:lnTo>
                  <a:lnTo>
                    <a:pt x="365" y="2287"/>
                  </a:lnTo>
                  <a:lnTo>
                    <a:pt x="355" y="2287"/>
                  </a:lnTo>
                  <a:lnTo>
                    <a:pt x="349" y="2287"/>
                  </a:lnTo>
                  <a:lnTo>
                    <a:pt x="279" y="2220"/>
                  </a:lnTo>
                  <a:lnTo>
                    <a:pt x="266" y="2217"/>
                  </a:lnTo>
                  <a:lnTo>
                    <a:pt x="264" y="2205"/>
                  </a:lnTo>
                  <a:lnTo>
                    <a:pt x="281" y="2207"/>
                  </a:lnTo>
                  <a:lnTo>
                    <a:pt x="292" y="2199"/>
                  </a:lnTo>
                  <a:lnTo>
                    <a:pt x="291" y="2188"/>
                  </a:lnTo>
                  <a:lnTo>
                    <a:pt x="298" y="2180"/>
                  </a:lnTo>
                  <a:lnTo>
                    <a:pt x="311" y="2175"/>
                  </a:lnTo>
                  <a:lnTo>
                    <a:pt x="300" y="2163"/>
                  </a:lnTo>
                  <a:lnTo>
                    <a:pt x="292" y="2167"/>
                  </a:lnTo>
                  <a:lnTo>
                    <a:pt x="285" y="2156"/>
                  </a:lnTo>
                  <a:lnTo>
                    <a:pt x="306" y="2152"/>
                  </a:lnTo>
                  <a:lnTo>
                    <a:pt x="313" y="2141"/>
                  </a:lnTo>
                  <a:lnTo>
                    <a:pt x="336" y="2137"/>
                  </a:lnTo>
                  <a:lnTo>
                    <a:pt x="325" y="2127"/>
                  </a:lnTo>
                  <a:lnTo>
                    <a:pt x="311" y="2135"/>
                  </a:lnTo>
                  <a:lnTo>
                    <a:pt x="325" y="2105"/>
                  </a:lnTo>
                  <a:lnTo>
                    <a:pt x="346" y="2101"/>
                  </a:lnTo>
                  <a:lnTo>
                    <a:pt x="353" y="2080"/>
                  </a:lnTo>
                  <a:lnTo>
                    <a:pt x="348" y="2068"/>
                  </a:lnTo>
                  <a:lnTo>
                    <a:pt x="351" y="2065"/>
                  </a:lnTo>
                  <a:lnTo>
                    <a:pt x="346" y="2055"/>
                  </a:lnTo>
                  <a:lnTo>
                    <a:pt x="359" y="2042"/>
                  </a:lnTo>
                  <a:lnTo>
                    <a:pt x="327" y="2029"/>
                  </a:lnTo>
                  <a:lnTo>
                    <a:pt x="319" y="2019"/>
                  </a:lnTo>
                  <a:lnTo>
                    <a:pt x="310" y="2025"/>
                  </a:lnTo>
                  <a:lnTo>
                    <a:pt x="308" y="2015"/>
                  </a:lnTo>
                  <a:lnTo>
                    <a:pt x="294" y="2015"/>
                  </a:lnTo>
                  <a:lnTo>
                    <a:pt x="289" y="2011"/>
                  </a:lnTo>
                  <a:lnTo>
                    <a:pt x="287" y="1998"/>
                  </a:lnTo>
                  <a:lnTo>
                    <a:pt x="270" y="2000"/>
                  </a:lnTo>
                  <a:lnTo>
                    <a:pt x="260" y="2010"/>
                  </a:lnTo>
                  <a:lnTo>
                    <a:pt x="253" y="2002"/>
                  </a:lnTo>
                  <a:lnTo>
                    <a:pt x="230" y="2000"/>
                  </a:lnTo>
                  <a:lnTo>
                    <a:pt x="228" y="1972"/>
                  </a:lnTo>
                  <a:lnTo>
                    <a:pt x="218" y="1956"/>
                  </a:lnTo>
                  <a:lnTo>
                    <a:pt x="190" y="1949"/>
                  </a:lnTo>
                  <a:lnTo>
                    <a:pt x="194" y="1930"/>
                  </a:lnTo>
                  <a:lnTo>
                    <a:pt x="186" y="1930"/>
                  </a:lnTo>
                  <a:lnTo>
                    <a:pt x="177" y="1915"/>
                  </a:lnTo>
                  <a:lnTo>
                    <a:pt x="161" y="1913"/>
                  </a:lnTo>
                  <a:lnTo>
                    <a:pt x="146" y="1918"/>
                  </a:lnTo>
                  <a:lnTo>
                    <a:pt x="135" y="1913"/>
                  </a:lnTo>
                  <a:lnTo>
                    <a:pt x="123" y="1926"/>
                  </a:lnTo>
                  <a:lnTo>
                    <a:pt x="116" y="1918"/>
                  </a:lnTo>
                  <a:lnTo>
                    <a:pt x="114" y="1903"/>
                  </a:lnTo>
                  <a:lnTo>
                    <a:pt x="110" y="1880"/>
                  </a:lnTo>
                  <a:lnTo>
                    <a:pt x="114" y="1873"/>
                  </a:lnTo>
                  <a:lnTo>
                    <a:pt x="127" y="1878"/>
                  </a:lnTo>
                  <a:lnTo>
                    <a:pt x="135" y="1873"/>
                  </a:lnTo>
                  <a:lnTo>
                    <a:pt x="142" y="1858"/>
                  </a:lnTo>
                  <a:lnTo>
                    <a:pt x="131" y="1858"/>
                  </a:lnTo>
                  <a:lnTo>
                    <a:pt x="127" y="1844"/>
                  </a:lnTo>
                  <a:lnTo>
                    <a:pt x="112" y="1848"/>
                  </a:lnTo>
                  <a:lnTo>
                    <a:pt x="110" y="1829"/>
                  </a:lnTo>
                  <a:lnTo>
                    <a:pt x="102" y="1820"/>
                  </a:lnTo>
                  <a:lnTo>
                    <a:pt x="104" y="1806"/>
                  </a:lnTo>
                  <a:lnTo>
                    <a:pt x="97" y="1791"/>
                  </a:lnTo>
                  <a:lnTo>
                    <a:pt x="101" y="1780"/>
                  </a:lnTo>
                  <a:lnTo>
                    <a:pt x="95" y="1755"/>
                  </a:lnTo>
                  <a:lnTo>
                    <a:pt x="74" y="1740"/>
                  </a:lnTo>
                  <a:lnTo>
                    <a:pt x="53" y="1744"/>
                  </a:lnTo>
                  <a:lnTo>
                    <a:pt x="49" y="1728"/>
                  </a:lnTo>
                  <a:lnTo>
                    <a:pt x="30" y="1730"/>
                  </a:lnTo>
                  <a:lnTo>
                    <a:pt x="26" y="1721"/>
                  </a:lnTo>
                  <a:lnTo>
                    <a:pt x="19" y="1721"/>
                  </a:lnTo>
                  <a:lnTo>
                    <a:pt x="11" y="1717"/>
                  </a:lnTo>
                  <a:lnTo>
                    <a:pt x="7" y="1698"/>
                  </a:lnTo>
                  <a:lnTo>
                    <a:pt x="13" y="1668"/>
                  </a:lnTo>
                  <a:lnTo>
                    <a:pt x="17" y="1662"/>
                  </a:lnTo>
                  <a:lnTo>
                    <a:pt x="15" y="1651"/>
                  </a:lnTo>
                  <a:lnTo>
                    <a:pt x="6" y="164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69" name="Freeform 346"/>
            <p:cNvSpPr>
              <a:spLocks/>
            </p:cNvSpPr>
            <p:nvPr/>
          </p:nvSpPr>
          <p:spPr bwMode="auto">
            <a:xfrm>
              <a:off x="5173421" y="3423855"/>
              <a:ext cx="13230" cy="20952"/>
            </a:xfrm>
            <a:custGeom>
              <a:avLst/>
              <a:gdLst>
                <a:gd name="T0" fmla="*/ 0 w 25"/>
                <a:gd name="T1" fmla="*/ 2147483647 h 32"/>
                <a:gd name="T2" fmla="*/ 2147483647 w 25"/>
                <a:gd name="T3" fmla="*/ 2147483647 h 32"/>
                <a:gd name="T4" fmla="*/ 2147483647 w 25"/>
                <a:gd name="T5" fmla="*/ 0 h 32"/>
                <a:gd name="T6" fmla="*/ 2147483647 w 25"/>
                <a:gd name="T7" fmla="*/ 2147483647 h 32"/>
                <a:gd name="T8" fmla="*/ 0 w 25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32"/>
                <a:gd name="T17" fmla="*/ 25 w 25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32">
                  <a:moveTo>
                    <a:pt x="0" y="23"/>
                  </a:moveTo>
                  <a:lnTo>
                    <a:pt x="15" y="2"/>
                  </a:lnTo>
                  <a:lnTo>
                    <a:pt x="25" y="0"/>
                  </a:lnTo>
                  <a:lnTo>
                    <a:pt x="4" y="32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0" name="Freeform 347"/>
            <p:cNvSpPr>
              <a:spLocks/>
            </p:cNvSpPr>
            <p:nvPr/>
          </p:nvSpPr>
          <p:spPr bwMode="auto">
            <a:xfrm>
              <a:off x="5189959" y="3388934"/>
              <a:ext cx="29769" cy="36084"/>
            </a:xfrm>
            <a:custGeom>
              <a:avLst/>
              <a:gdLst>
                <a:gd name="T0" fmla="*/ 2147483647 w 57"/>
                <a:gd name="T1" fmla="*/ 0 h 59"/>
                <a:gd name="T2" fmla="*/ 2147483647 w 57"/>
                <a:gd name="T3" fmla="*/ 2147483647 h 59"/>
                <a:gd name="T4" fmla="*/ 2147483647 w 57"/>
                <a:gd name="T5" fmla="*/ 2147483647 h 59"/>
                <a:gd name="T6" fmla="*/ 2147483647 w 57"/>
                <a:gd name="T7" fmla="*/ 2147483647 h 59"/>
                <a:gd name="T8" fmla="*/ 0 w 57"/>
                <a:gd name="T9" fmla="*/ 2147483647 h 59"/>
                <a:gd name="T10" fmla="*/ 2147483647 w 57"/>
                <a:gd name="T11" fmla="*/ 2147483647 h 59"/>
                <a:gd name="T12" fmla="*/ 2147483647 w 57"/>
                <a:gd name="T13" fmla="*/ 2147483647 h 59"/>
                <a:gd name="T14" fmla="*/ 2147483647 w 57"/>
                <a:gd name="T15" fmla="*/ 2147483647 h 59"/>
                <a:gd name="T16" fmla="*/ 2147483647 w 57"/>
                <a:gd name="T17" fmla="*/ 2147483647 h 59"/>
                <a:gd name="T18" fmla="*/ 2147483647 w 57"/>
                <a:gd name="T19" fmla="*/ 0 h 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59"/>
                <a:gd name="T32" fmla="*/ 57 w 57"/>
                <a:gd name="T33" fmla="*/ 59 h 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59">
                  <a:moveTo>
                    <a:pt x="56" y="0"/>
                  </a:moveTo>
                  <a:lnTo>
                    <a:pt x="57" y="25"/>
                  </a:lnTo>
                  <a:lnTo>
                    <a:pt x="29" y="36"/>
                  </a:lnTo>
                  <a:lnTo>
                    <a:pt x="10" y="59"/>
                  </a:lnTo>
                  <a:lnTo>
                    <a:pt x="0" y="57"/>
                  </a:lnTo>
                  <a:lnTo>
                    <a:pt x="6" y="44"/>
                  </a:lnTo>
                  <a:lnTo>
                    <a:pt x="19" y="26"/>
                  </a:lnTo>
                  <a:lnTo>
                    <a:pt x="31" y="17"/>
                  </a:lnTo>
                  <a:lnTo>
                    <a:pt x="42" y="17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1" name="Freeform 348"/>
            <p:cNvSpPr>
              <a:spLocks/>
            </p:cNvSpPr>
            <p:nvPr/>
          </p:nvSpPr>
          <p:spPr bwMode="auto">
            <a:xfrm>
              <a:off x="5229650" y="3379622"/>
              <a:ext cx="22051" cy="20952"/>
            </a:xfrm>
            <a:custGeom>
              <a:avLst/>
              <a:gdLst>
                <a:gd name="T0" fmla="*/ 2147483647 w 39"/>
                <a:gd name="T1" fmla="*/ 2147483647 h 34"/>
                <a:gd name="T2" fmla="*/ 2147483647 w 39"/>
                <a:gd name="T3" fmla="*/ 2147483647 h 34"/>
                <a:gd name="T4" fmla="*/ 0 w 39"/>
                <a:gd name="T5" fmla="*/ 2147483647 h 34"/>
                <a:gd name="T6" fmla="*/ 2147483647 w 39"/>
                <a:gd name="T7" fmla="*/ 0 h 34"/>
                <a:gd name="T8" fmla="*/ 2147483647 w 3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34"/>
                <a:gd name="T17" fmla="*/ 39 w 39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34">
                  <a:moveTo>
                    <a:pt x="39" y="1"/>
                  </a:moveTo>
                  <a:lnTo>
                    <a:pt x="7" y="34"/>
                  </a:lnTo>
                  <a:lnTo>
                    <a:pt x="0" y="22"/>
                  </a:lnTo>
                  <a:lnTo>
                    <a:pt x="26" y="0"/>
                  </a:lnTo>
                  <a:lnTo>
                    <a:pt x="39" y="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2" name="Freeform 349"/>
            <p:cNvSpPr>
              <a:spLocks/>
            </p:cNvSpPr>
            <p:nvPr/>
          </p:nvSpPr>
          <p:spPr bwMode="auto">
            <a:xfrm>
              <a:off x="5263828" y="3348193"/>
              <a:ext cx="14333" cy="18624"/>
            </a:xfrm>
            <a:custGeom>
              <a:avLst/>
              <a:gdLst>
                <a:gd name="T0" fmla="*/ 2147483647 w 27"/>
                <a:gd name="T1" fmla="*/ 2147483647 h 31"/>
                <a:gd name="T2" fmla="*/ 2147483647 w 27"/>
                <a:gd name="T3" fmla="*/ 2147483647 h 31"/>
                <a:gd name="T4" fmla="*/ 2147483647 w 27"/>
                <a:gd name="T5" fmla="*/ 2147483647 h 31"/>
                <a:gd name="T6" fmla="*/ 0 w 27"/>
                <a:gd name="T7" fmla="*/ 2147483647 h 31"/>
                <a:gd name="T8" fmla="*/ 2147483647 w 27"/>
                <a:gd name="T9" fmla="*/ 0 h 31"/>
                <a:gd name="T10" fmla="*/ 2147483647 w 27"/>
                <a:gd name="T11" fmla="*/ 2147483647 h 31"/>
                <a:gd name="T12" fmla="*/ 2147483647 w 27"/>
                <a:gd name="T13" fmla="*/ 2147483647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1"/>
                <a:gd name="T23" fmla="*/ 27 w 27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1">
                  <a:moveTo>
                    <a:pt x="17" y="6"/>
                  </a:moveTo>
                  <a:lnTo>
                    <a:pt x="19" y="14"/>
                  </a:lnTo>
                  <a:lnTo>
                    <a:pt x="4" y="31"/>
                  </a:lnTo>
                  <a:lnTo>
                    <a:pt x="0" y="19"/>
                  </a:lnTo>
                  <a:lnTo>
                    <a:pt x="21" y="0"/>
                  </a:lnTo>
                  <a:lnTo>
                    <a:pt x="27" y="4"/>
                  </a:lnTo>
                  <a:lnTo>
                    <a:pt x="17" y="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3" name="Freeform 350"/>
            <p:cNvSpPr>
              <a:spLocks/>
            </p:cNvSpPr>
            <p:nvPr/>
          </p:nvSpPr>
          <p:spPr bwMode="auto">
            <a:xfrm>
              <a:off x="5307930" y="3289992"/>
              <a:ext cx="7718" cy="12804"/>
            </a:xfrm>
            <a:custGeom>
              <a:avLst/>
              <a:gdLst>
                <a:gd name="T0" fmla="*/ 2147483647 w 15"/>
                <a:gd name="T1" fmla="*/ 0 h 19"/>
                <a:gd name="T2" fmla="*/ 2147483647 w 15"/>
                <a:gd name="T3" fmla="*/ 2147483647 h 19"/>
                <a:gd name="T4" fmla="*/ 2147483647 w 15"/>
                <a:gd name="T5" fmla="*/ 2147483647 h 19"/>
                <a:gd name="T6" fmla="*/ 0 w 15"/>
                <a:gd name="T7" fmla="*/ 2147483647 h 19"/>
                <a:gd name="T8" fmla="*/ 2147483647 w 15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9"/>
                <a:gd name="T17" fmla="*/ 15 w 15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9">
                  <a:moveTo>
                    <a:pt x="11" y="0"/>
                  </a:moveTo>
                  <a:lnTo>
                    <a:pt x="15" y="8"/>
                  </a:lnTo>
                  <a:lnTo>
                    <a:pt x="8" y="19"/>
                  </a:lnTo>
                  <a:lnTo>
                    <a:pt x="0" y="1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4" name="Freeform 351"/>
            <p:cNvSpPr>
              <a:spLocks/>
            </p:cNvSpPr>
            <p:nvPr/>
          </p:nvSpPr>
          <p:spPr bwMode="auto">
            <a:xfrm>
              <a:off x="5318955" y="3258563"/>
              <a:ext cx="19846" cy="27937"/>
            </a:xfrm>
            <a:custGeom>
              <a:avLst/>
              <a:gdLst>
                <a:gd name="T0" fmla="*/ 2147483647 w 36"/>
                <a:gd name="T1" fmla="*/ 2147483647 h 44"/>
                <a:gd name="T2" fmla="*/ 2147483647 w 36"/>
                <a:gd name="T3" fmla="*/ 2147483647 h 44"/>
                <a:gd name="T4" fmla="*/ 2147483647 w 36"/>
                <a:gd name="T5" fmla="*/ 2147483647 h 44"/>
                <a:gd name="T6" fmla="*/ 0 w 36"/>
                <a:gd name="T7" fmla="*/ 2147483647 h 44"/>
                <a:gd name="T8" fmla="*/ 2147483647 w 36"/>
                <a:gd name="T9" fmla="*/ 2147483647 h 44"/>
                <a:gd name="T10" fmla="*/ 2147483647 w 36"/>
                <a:gd name="T11" fmla="*/ 2147483647 h 44"/>
                <a:gd name="T12" fmla="*/ 2147483647 w 36"/>
                <a:gd name="T13" fmla="*/ 2147483647 h 44"/>
                <a:gd name="T14" fmla="*/ 2147483647 w 36"/>
                <a:gd name="T15" fmla="*/ 2147483647 h 44"/>
                <a:gd name="T16" fmla="*/ 2147483647 w 36"/>
                <a:gd name="T17" fmla="*/ 2147483647 h 44"/>
                <a:gd name="T18" fmla="*/ 2147483647 w 36"/>
                <a:gd name="T19" fmla="*/ 0 h 44"/>
                <a:gd name="T20" fmla="*/ 2147483647 w 36"/>
                <a:gd name="T21" fmla="*/ 2147483647 h 44"/>
                <a:gd name="T22" fmla="*/ 2147483647 w 36"/>
                <a:gd name="T23" fmla="*/ 2147483647 h 44"/>
                <a:gd name="T24" fmla="*/ 2147483647 w 36"/>
                <a:gd name="T25" fmla="*/ 2147483647 h 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"/>
                <a:gd name="T40" fmla="*/ 0 h 44"/>
                <a:gd name="T41" fmla="*/ 36 w 36"/>
                <a:gd name="T42" fmla="*/ 44 h 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" h="44">
                  <a:moveTo>
                    <a:pt x="28" y="11"/>
                  </a:moveTo>
                  <a:lnTo>
                    <a:pt x="28" y="19"/>
                  </a:lnTo>
                  <a:lnTo>
                    <a:pt x="15" y="40"/>
                  </a:lnTo>
                  <a:lnTo>
                    <a:pt x="0" y="44"/>
                  </a:lnTo>
                  <a:lnTo>
                    <a:pt x="4" y="28"/>
                  </a:lnTo>
                  <a:lnTo>
                    <a:pt x="9" y="26"/>
                  </a:lnTo>
                  <a:lnTo>
                    <a:pt x="23" y="9"/>
                  </a:lnTo>
                  <a:lnTo>
                    <a:pt x="30" y="11"/>
                  </a:lnTo>
                  <a:lnTo>
                    <a:pt x="26" y="6"/>
                  </a:lnTo>
                  <a:lnTo>
                    <a:pt x="32" y="0"/>
                  </a:lnTo>
                  <a:lnTo>
                    <a:pt x="36" y="7"/>
                  </a:lnTo>
                  <a:lnTo>
                    <a:pt x="32" y="13"/>
                  </a:lnTo>
                  <a:lnTo>
                    <a:pt x="28" y="1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5" name="Freeform 352"/>
            <p:cNvSpPr>
              <a:spLocks/>
            </p:cNvSpPr>
            <p:nvPr/>
          </p:nvSpPr>
          <p:spPr bwMode="auto">
            <a:xfrm>
              <a:off x="5677280" y="2446072"/>
              <a:ext cx="68357" cy="45397"/>
            </a:xfrm>
            <a:custGeom>
              <a:avLst/>
              <a:gdLst>
                <a:gd name="T0" fmla="*/ 0 w 126"/>
                <a:gd name="T1" fmla="*/ 2147483647 h 74"/>
                <a:gd name="T2" fmla="*/ 2147483647 w 126"/>
                <a:gd name="T3" fmla="*/ 2147483647 h 74"/>
                <a:gd name="T4" fmla="*/ 2147483647 w 126"/>
                <a:gd name="T5" fmla="*/ 0 h 74"/>
                <a:gd name="T6" fmla="*/ 2147483647 w 126"/>
                <a:gd name="T7" fmla="*/ 2147483647 h 74"/>
                <a:gd name="T8" fmla="*/ 2147483647 w 126"/>
                <a:gd name="T9" fmla="*/ 2147483647 h 74"/>
                <a:gd name="T10" fmla="*/ 2147483647 w 126"/>
                <a:gd name="T11" fmla="*/ 2147483647 h 74"/>
                <a:gd name="T12" fmla="*/ 2147483647 w 126"/>
                <a:gd name="T13" fmla="*/ 2147483647 h 74"/>
                <a:gd name="T14" fmla="*/ 2147483647 w 126"/>
                <a:gd name="T15" fmla="*/ 2147483647 h 74"/>
                <a:gd name="T16" fmla="*/ 2147483647 w 126"/>
                <a:gd name="T17" fmla="*/ 2147483647 h 74"/>
                <a:gd name="T18" fmla="*/ 2147483647 w 126"/>
                <a:gd name="T19" fmla="*/ 2147483647 h 74"/>
                <a:gd name="T20" fmla="*/ 2147483647 w 126"/>
                <a:gd name="T21" fmla="*/ 2147483647 h 74"/>
                <a:gd name="T22" fmla="*/ 0 w 126"/>
                <a:gd name="T23" fmla="*/ 2147483647 h 7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6"/>
                <a:gd name="T37" fmla="*/ 0 h 74"/>
                <a:gd name="T38" fmla="*/ 126 w 126"/>
                <a:gd name="T39" fmla="*/ 74 h 7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6" h="74">
                  <a:moveTo>
                    <a:pt x="0" y="49"/>
                  </a:moveTo>
                  <a:lnTo>
                    <a:pt x="44" y="6"/>
                  </a:lnTo>
                  <a:lnTo>
                    <a:pt x="63" y="0"/>
                  </a:lnTo>
                  <a:lnTo>
                    <a:pt x="109" y="8"/>
                  </a:lnTo>
                  <a:lnTo>
                    <a:pt x="126" y="40"/>
                  </a:lnTo>
                  <a:lnTo>
                    <a:pt x="86" y="61"/>
                  </a:lnTo>
                  <a:lnTo>
                    <a:pt x="65" y="65"/>
                  </a:lnTo>
                  <a:lnTo>
                    <a:pt x="52" y="53"/>
                  </a:lnTo>
                  <a:lnTo>
                    <a:pt x="33" y="68"/>
                  </a:lnTo>
                  <a:lnTo>
                    <a:pt x="27" y="61"/>
                  </a:lnTo>
                  <a:lnTo>
                    <a:pt x="6" y="74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6" name="Freeform 353"/>
            <p:cNvSpPr>
              <a:spLocks/>
            </p:cNvSpPr>
            <p:nvPr/>
          </p:nvSpPr>
          <p:spPr bwMode="auto">
            <a:xfrm>
              <a:off x="5481028" y="3124700"/>
              <a:ext cx="15436" cy="24444"/>
            </a:xfrm>
            <a:custGeom>
              <a:avLst/>
              <a:gdLst>
                <a:gd name="T0" fmla="*/ 2147483647 w 29"/>
                <a:gd name="T1" fmla="*/ 0 h 38"/>
                <a:gd name="T2" fmla="*/ 2147483647 w 29"/>
                <a:gd name="T3" fmla="*/ 2147483647 h 38"/>
                <a:gd name="T4" fmla="*/ 2147483647 w 29"/>
                <a:gd name="T5" fmla="*/ 2147483647 h 38"/>
                <a:gd name="T6" fmla="*/ 2147483647 w 29"/>
                <a:gd name="T7" fmla="*/ 2147483647 h 38"/>
                <a:gd name="T8" fmla="*/ 0 w 29"/>
                <a:gd name="T9" fmla="*/ 0 h 38"/>
                <a:gd name="T10" fmla="*/ 2147483647 w 29"/>
                <a:gd name="T11" fmla="*/ 0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38"/>
                <a:gd name="T20" fmla="*/ 29 w 29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38">
                  <a:moveTo>
                    <a:pt x="17" y="0"/>
                  </a:moveTo>
                  <a:lnTo>
                    <a:pt x="29" y="19"/>
                  </a:lnTo>
                  <a:lnTo>
                    <a:pt x="29" y="38"/>
                  </a:lnTo>
                  <a:lnTo>
                    <a:pt x="10" y="10"/>
                  </a:ln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7" name="Freeform 354"/>
            <p:cNvSpPr>
              <a:spLocks/>
            </p:cNvSpPr>
            <p:nvPr/>
          </p:nvSpPr>
          <p:spPr bwMode="auto">
            <a:xfrm>
              <a:off x="5440234" y="2995493"/>
              <a:ext cx="24256" cy="30265"/>
            </a:xfrm>
            <a:custGeom>
              <a:avLst/>
              <a:gdLst>
                <a:gd name="T0" fmla="*/ 2147483647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0 h 50"/>
                <a:gd name="T6" fmla="*/ 2147483647 w 46"/>
                <a:gd name="T7" fmla="*/ 0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0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6"/>
                <a:gd name="T28" fmla="*/ 0 h 50"/>
                <a:gd name="T29" fmla="*/ 46 w 46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6" h="50">
                  <a:moveTo>
                    <a:pt x="19" y="14"/>
                  </a:moveTo>
                  <a:lnTo>
                    <a:pt x="31" y="1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19"/>
                  </a:lnTo>
                  <a:lnTo>
                    <a:pt x="12" y="50"/>
                  </a:lnTo>
                  <a:lnTo>
                    <a:pt x="0" y="42"/>
                  </a:lnTo>
                  <a:lnTo>
                    <a:pt x="15" y="31"/>
                  </a:lnTo>
                  <a:lnTo>
                    <a:pt x="19" y="1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8" name="Freeform 355"/>
            <p:cNvSpPr>
              <a:spLocks/>
            </p:cNvSpPr>
            <p:nvPr/>
          </p:nvSpPr>
          <p:spPr bwMode="auto">
            <a:xfrm>
              <a:off x="5083013" y="2307553"/>
              <a:ext cx="58435" cy="41905"/>
            </a:xfrm>
            <a:custGeom>
              <a:avLst/>
              <a:gdLst>
                <a:gd name="T0" fmla="*/ 2147483647 w 108"/>
                <a:gd name="T1" fmla="*/ 2147483647 h 68"/>
                <a:gd name="T2" fmla="*/ 2147483647 w 108"/>
                <a:gd name="T3" fmla="*/ 0 h 68"/>
                <a:gd name="T4" fmla="*/ 2147483647 w 108"/>
                <a:gd name="T5" fmla="*/ 2147483647 h 68"/>
                <a:gd name="T6" fmla="*/ 2147483647 w 108"/>
                <a:gd name="T7" fmla="*/ 2147483647 h 68"/>
                <a:gd name="T8" fmla="*/ 2147483647 w 108"/>
                <a:gd name="T9" fmla="*/ 2147483647 h 68"/>
                <a:gd name="T10" fmla="*/ 2147483647 w 108"/>
                <a:gd name="T11" fmla="*/ 2147483647 h 68"/>
                <a:gd name="T12" fmla="*/ 2147483647 w 108"/>
                <a:gd name="T13" fmla="*/ 2147483647 h 68"/>
                <a:gd name="T14" fmla="*/ 2147483647 w 108"/>
                <a:gd name="T15" fmla="*/ 2147483647 h 68"/>
                <a:gd name="T16" fmla="*/ 0 w 108"/>
                <a:gd name="T17" fmla="*/ 2147483647 h 68"/>
                <a:gd name="T18" fmla="*/ 2147483647 w 108"/>
                <a:gd name="T19" fmla="*/ 2147483647 h 68"/>
                <a:gd name="T20" fmla="*/ 2147483647 w 108"/>
                <a:gd name="T21" fmla="*/ 2147483647 h 6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68"/>
                <a:gd name="T35" fmla="*/ 108 w 108"/>
                <a:gd name="T36" fmla="*/ 68 h 6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68">
                  <a:moveTo>
                    <a:pt x="32" y="15"/>
                  </a:moveTo>
                  <a:lnTo>
                    <a:pt x="60" y="0"/>
                  </a:lnTo>
                  <a:lnTo>
                    <a:pt x="81" y="11"/>
                  </a:lnTo>
                  <a:lnTo>
                    <a:pt x="81" y="23"/>
                  </a:lnTo>
                  <a:lnTo>
                    <a:pt x="100" y="30"/>
                  </a:lnTo>
                  <a:lnTo>
                    <a:pt x="108" y="68"/>
                  </a:lnTo>
                  <a:lnTo>
                    <a:pt x="28" y="53"/>
                  </a:lnTo>
                  <a:lnTo>
                    <a:pt x="3" y="61"/>
                  </a:lnTo>
                  <a:lnTo>
                    <a:pt x="0" y="47"/>
                  </a:lnTo>
                  <a:lnTo>
                    <a:pt x="26" y="40"/>
                  </a:lnTo>
                  <a:lnTo>
                    <a:pt x="32" y="15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79" name="Freeform 356"/>
            <p:cNvSpPr>
              <a:spLocks/>
            </p:cNvSpPr>
            <p:nvPr/>
          </p:nvSpPr>
          <p:spPr bwMode="auto">
            <a:xfrm>
              <a:off x="5090731" y="2290092"/>
              <a:ext cx="12128" cy="23281"/>
            </a:xfrm>
            <a:custGeom>
              <a:avLst/>
              <a:gdLst>
                <a:gd name="T0" fmla="*/ 2147483647 w 21"/>
                <a:gd name="T1" fmla="*/ 0 h 38"/>
                <a:gd name="T2" fmla="*/ 2147483647 w 21"/>
                <a:gd name="T3" fmla="*/ 2147483647 h 38"/>
                <a:gd name="T4" fmla="*/ 2147483647 w 21"/>
                <a:gd name="T5" fmla="*/ 2147483647 h 38"/>
                <a:gd name="T6" fmla="*/ 2147483647 w 21"/>
                <a:gd name="T7" fmla="*/ 2147483647 h 38"/>
                <a:gd name="T8" fmla="*/ 0 w 21"/>
                <a:gd name="T9" fmla="*/ 2147483647 h 38"/>
                <a:gd name="T10" fmla="*/ 2147483647 w 21"/>
                <a:gd name="T11" fmla="*/ 0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38"/>
                <a:gd name="T20" fmla="*/ 21 w 21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38">
                  <a:moveTo>
                    <a:pt x="6" y="0"/>
                  </a:moveTo>
                  <a:lnTo>
                    <a:pt x="21" y="6"/>
                  </a:lnTo>
                  <a:lnTo>
                    <a:pt x="21" y="25"/>
                  </a:lnTo>
                  <a:lnTo>
                    <a:pt x="11" y="38"/>
                  </a:lnTo>
                  <a:lnTo>
                    <a:pt x="0" y="3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0" name="Freeform 357"/>
            <p:cNvSpPr>
              <a:spLocks/>
            </p:cNvSpPr>
            <p:nvPr/>
          </p:nvSpPr>
          <p:spPr bwMode="auto">
            <a:xfrm>
              <a:off x="5178934" y="2193479"/>
              <a:ext cx="73870" cy="67514"/>
            </a:xfrm>
            <a:custGeom>
              <a:avLst/>
              <a:gdLst>
                <a:gd name="T0" fmla="*/ 2147483647 w 135"/>
                <a:gd name="T1" fmla="*/ 2147483647 h 109"/>
                <a:gd name="T2" fmla="*/ 2147483647 w 135"/>
                <a:gd name="T3" fmla="*/ 2147483647 h 109"/>
                <a:gd name="T4" fmla="*/ 2147483647 w 135"/>
                <a:gd name="T5" fmla="*/ 2147483647 h 109"/>
                <a:gd name="T6" fmla="*/ 2147483647 w 135"/>
                <a:gd name="T7" fmla="*/ 2147483647 h 109"/>
                <a:gd name="T8" fmla="*/ 2147483647 w 135"/>
                <a:gd name="T9" fmla="*/ 2147483647 h 109"/>
                <a:gd name="T10" fmla="*/ 2147483647 w 135"/>
                <a:gd name="T11" fmla="*/ 2147483647 h 109"/>
                <a:gd name="T12" fmla="*/ 2147483647 w 135"/>
                <a:gd name="T13" fmla="*/ 2147483647 h 109"/>
                <a:gd name="T14" fmla="*/ 2147483647 w 135"/>
                <a:gd name="T15" fmla="*/ 2147483647 h 109"/>
                <a:gd name="T16" fmla="*/ 2147483647 w 135"/>
                <a:gd name="T17" fmla="*/ 2147483647 h 109"/>
                <a:gd name="T18" fmla="*/ 2147483647 w 135"/>
                <a:gd name="T19" fmla="*/ 2147483647 h 109"/>
                <a:gd name="T20" fmla="*/ 2147483647 w 135"/>
                <a:gd name="T21" fmla="*/ 2147483647 h 109"/>
                <a:gd name="T22" fmla="*/ 2147483647 w 135"/>
                <a:gd name="T23" fmla="*/ 2147483647 h 109"/>
                <a:gd name="T24" fmla="*/ 0 w 135"/>
                <a:gd name="T25" fmla="*/ 2147483647 h 109"/>
                <a:gd name="T26" fmla="*/ 0 w 135"/>
                <a:gd name="T27" fmla="*/ 2147483647 h 109"/>
                <a:gd name="T28" fmla="*/ 2147483647 w 135"/>
                <a:gd name="T29" fmla="*/ 2147483647 h 109"/>
                <a:gd name="T30" fmla="*/ 2147483647 w 135"/>
                <a:gd name="T31" fmla="*/ 0 h 109"/>
                <a:gd name="T32" fmla="*/ 2147483647 w 135"/>
                <a:gd name="T33" fmla="*/ 2147483647 h 109"/>
                <a:gd name="T34" fmla="*/ 2147483647 w 135"/>
                <a:gd name="T35" fmla="*/ 2147483647 h 109"/>
                <a:gd name="T36" fmla="*/ 2147483647 w 135"/>
                <a:gd name="T37" fmla="*/ 2147483647 h 109"/>
                <a:gd name="T38" fmla="*/ 2147483647 w 135"/>
                <a:gd name="T39" fmla="*/ 2147483647 h 109"/>
                <a:gd name="T40" fmla="*/ 2147483647 w 135"/>
                <a:gd name="T41" fmla="*/ 2147483647 h 109"/>
                <a:gd name="T42" fmla="*/ 2147483647 w 135"/>
                <a:gd name="T43" fmla="*/ 2147483647 h 109"/>
                <a:gd name="T44" fmla="*/ 2147483647 w 135"/>
                <a:gd name="T45" fmla="*/ 2147483647 h 109"/>
                <a:gd name="T46" fmla="*/ 2147483647 w 135"/>
                <a:gd name="T47" fmla="*/ 2147483647 h 1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5"/>
                <a:gd name="T73" fmla="*/ 0 h 109"/>
                <a:gd name="T74" fmla="*/ 135 w 135"/>
                <a:gd name="T75" fmla="*/ 109 h 10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5" h="109">
                  <a:moveTo>
                    <a:pt x="92" y="38"/>
                  </a:moveTo>
                  <a:lnTo>
                    <a:pt x="114" y="55"/>
                  </a:lnTo>
                  <a:lnTo>
                    <a:pt x="118" y="67"/>
                  </a:lnTo>
                  <a:lnTo>
                    <a:pt x="126" y="59"/>
                  </a:lnTo>
                  <a:lnTo>
                    <a:pt x="135" y="65"/>
                  </a:lnTo>
                  <a:lnTo>
                    <a:pt x="124" y="84"/>
                  </a:lnTo>
                  <a:lnTo>
                    <a:pt x="130" y="93"/>
                  </a:lnTo>
                  <a:lnTo>
                    <a:pt x="113" y="95"/>
                  </a:lnTo>
                  <a:lnTo>
                    <a:pt x="107" y="109"/>
                  </a:lnTo>
                  <a:lnTo>
                    <a:pt x="61" y="109"/>
                  </a:lnTo>
                  <a:lnTo>
                    <a:pt x="48" y="88"/>
                  </a:lnTo>
                  <a:lnTo>
                    <a:pt x="27" y="84"/>
                  </a:lnTo>
                  <a:lnTo>
                    <a:pt x="0" y="57"/>
                  </a:lnTo>
                  <a:lnTo>
                    <a:pt x="0" y="42"/>
                  </a:lnTo>
                  <a:lnTo>
                    <a:pt x="12" y="27"/>
                  </a:lnTo>
                  <a:lnTo>
                    <a:pt x="12" y="0"/>
                  </a:lnTo>
                  <a:lnTo>
                    <a:pt x="25" y="2"/>
                  </a:lnTo>
                  <a:lnTo>
                    <a:pt x="19" y="27"/>
                  </a:lnTo>
                  <a:lnTo>
                    <a:pt x="37" y="31"/>
                  </a:lnTo>
                  <a:lnTo>
                    <a:pt x="40" y="16"/>
                  </a:lnTo>
                  <a:lnTo>
                    <a:pt x="76" y="23"/>
                  </a:lnTo>
                  <a:lnTo>
                    <a:pt x="71" y="42"/>
                  </a:lnTo>
                  <a:lnTo>
                    <a:pt x="82" y="44"/>
                  </a:lnTo>
                  <a:lnTo>
                    <a:pt x="92" y="38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1" name="Freeform 358"/>
            <p:cNvSpPr>
              <a:spLocks/>
            </p:cNvSpPr>
            <p:nvPr/>
          </p:nvSpPr>
          <p:spPr bwMode="auto">
            <a:xfrm>
              <a:off x="5035604" y="2146917"/>
              <a:ext cx="127894" cy="117566"/>
            </a:xfrm>
            <a:custGeom>
              <a:avLst/>
              <a:gdLst>
                <a:gd name="T0" fmla="*/ 2147483647 w 234"/>
                <a:gd name="T1" fmla="*/ 2147483647 h 188"/>
                <a:gd name="T2" fmla="*/ 2147483647 w 234"/>
                <a:gd name="T3" fmla="*/ 2147483647 h 188"/>
                <a:gd name="T4" fmla="*/ 2147483647 w 234"/>
                <a:gd name="T5" fmla="*/ 2147483647 h 188"/>
                <a:gd name="T6" fmla="*/ 2147483647 w 234"/>
                <a:gd name="T7" fmla="*/ 2147483647 h 188"/>
                <a:gd name="T8" fmla="*/ 2147483647 w 234"/>
                <a:gd name="T9" fmla="*/ 0 h 188"/>
                <a:gd name="T10" fmla="*/ 2147483647 w 234"/>
                <a:gd name="T11" fmla="*/ 2147483647 h 188"/>
                <a:gd name="T12" fmla="*/ 2147483647 w 234"/>
                <a:gd name="T13" fmla="*/ 2147483647 h 188"/>
                <a:gd name="T14" fmla="*/ 2147483647 w 234"/>
                <a:gd name="T15" fmla="*/ 2147483647 h 188"/>
                <a:gd name="T16" fmla="*/ 2147483647 w 234"/>
                <a:gd name="T17" fmla="*/ 2147483647 h 188"/>
                <a:gd name="T18" fmla="*/ 2147483647 w 234"/>
                <a:gd name="T19" fmla="*/ 2147483647 h 188"/>
                <a:gd name="T20" fmla="*/ 2147483647 w 234"/>
                <a:gd name="T21" fmla="*/ 2147483647 h 188"/>
                <a:gd name="T22" fmla="*/ 2147483647 w 234"/>
                <a:gd name="T23" fmla="*/ 2147483647 h 188"/>
                <a:gd name="T24" fmla="*/ 2147483647 w 234"/>
                <a:gd name="T25" fmla="*/ 2147483647 h 188"/>
                <a:gd name="T26" fmla="*/ 2147483647 w 234"/>
                <a:gd name="T27" fmla="*/ 2147483647 h 188"/>
                <a:gd name="T28" fmla="*/ 2147483647 w 234"/>
                <a:gd name="T29" fmla="*/ 2147483647 h 188"/>
                <a:gd name="T30" fmla="*/ 2147483647 w 234"/>
                <a:gd name="T31" fmla="*/ 2147483647 h 188"/>
                <a:gd name="T32" fmla="*/ 2147483647 w 234"/>
                <a:gd name="T33" fmla="*/ 2147483647 h 188"/>
                <a:gd name="T34" fmla="*/ 2147483647 w 234"/>
                <a:gd name="T35" fmla="*/ 2147483647 h 188"/>
                <a:gd name="T36" fmla="*/ 2147483647 w 234"/>
                <a:gd name="T37" fmla="*/ 2147483647 h 188"/>
                <a:gd name="T38" fmla="*/ 2147483647 w 234"/>
                <a:gd name="T39" fmla="*/ 2147483647 h 188"/>
                <a:gd name="T40" fmla="*/ 2147483647 w 234"/>
                <a:gd name="T41" fmla="*/ 2147483647 h 188"/>
                <a:gd name="T42" fmla="*/ 2147483647 w 234"/>
                <a:gd name="T43" fmla="*/ 2147483647 h 188"/>
                <a:gd name="T44" fmla="*/ 2147483647 w 234"/>
                <a:gd name="T45" fmla="*/ 2147483647 h 188"/>
                <a:gd name="T46" fmla="*/ 2147483647 w 234"/>
                <a:gd name="T47" fmla="*/ 2147483647 h 188"/>
                <a:gd name="T48" fmla="*/ 2147483647 w 234"/>
                <a:gd name="T49" fmla="*/ 2147483647 h 188"/>
                <a:gd name="T50" fmla="*/ 2147483647 w 234"/>
                <a:gd name="T51" fmla="*/ 2147483647 h 188"/>
                <a:gd name="T52" fmla="*/ 2147483647 w 234"/>
                <a:gd name="T53" fmla="*/ 2147483647 h 188"/>
                <a:gd name="T54" fmla="*/ 2147483647 w 234"/>
                <a:gd name="T55" fmla="*/ 2147483647 h 188"/>
                <a:gd name="T56" fmla="*/ 2147483647 w 234"/>
                <a:gd name="T57" fmla="*/ 2147483647 h 188"/>
                <a:gd name="T58" fmla="*/ 0 w 234"/>
                <a:gd name="T59" fmla="*/ 2147483647 h 188"/>
                <a:gd name="T60" fmla="*/ 2147483647 w 234"/>
                <a:gd name="T61" fmla="*/ 2147483647 h 188"/>
                <a:gd name="T62" fmla="*/ 2147483647 w 234"/>
                <a:gd name="T63" fmla="*/ 2147483647 h 188"/>
                <a:gd name="T64" fmla="*/ 2147483647 w 234"/>
                <a:gd name="T65" fmla="*/ 2147483647 h 1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34"/>
                <a:gd name="T100" fmla="*/ 0 h 188"/>
                <a:gd name="T101" fmla="*/ 234 w 234"/>
                <a:gd name="T102" fmla="*/ 188 h 1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34" h="188">
                  <a:moveTo>
                    <a:pt x="76" y="2"/>
                  </a:moveTo>
                  <a:lnTo>
                    <a:pt x="103" y="61"/>
                  </a:lnTo>
                  <a:lnTo>
                    <a:pt x="116" y="57"/>
                  </a:lnTo>
                  <a:lnTo>
                    <a:pt x="116" y="29"/>
                  </a:lnTo>
                  <a:lnTo>
                    <a:pt x="139" y="0"/>
                  </a:lnTo>
                  <a:lnTo>
                    <a:pt x="173" y="35"/>
                  </a:lnTo>
                  <a:lnTo>
                    <a:pt x="234" y="69"/>
                  </a:lnTo>
                  <a:lnTo>
                    <a:pt x="215" y="86"/>
                  </a:lnTo>
                  <a:lnTo>
                    <a:pt x="223" y="110"/>
                  </a:lnTo>
                  <a:lnTo>
                    <a:pt x="209" y="133"/>
                  </a:lnTo>
                  <a:lnTo>
                    <a:pt x="196" y="145"/>
                  </a:lnTo>
                  <a:lnTo>
                    <a:pt x="175" y="133"/>
                  </a:lnTo>
                  <a:lnTo>
                    <a:pt x="165" y="91"/>
                  </a:lnTo>
                  <a:lnTo>
                    <a:pt x="177" y="65"/>
                  </a:lnTo>
                  <a:lnTo>
                    <a:pt x="162" y="52"/>
                  </a:lnTo>
                  <a:lnTo>
                    <a:pt x="152" y="82"/>
                  </a:lnTo>
                  <a:lnTo>
                    <a:pt x="156" y="118"/>
                  </a:lnTo>
                  <a:lnTo>
                    <a:pt x="167" y="143"/>
                  </a:lnTo>
                  <a:lnTo>
                    <a:pt x="179" y="152"/>
                  </a:lnTo>
                  <a:lnTo>
                    <a:pt x="177" y="160"/>
                  </a:lnTo>
                  <a:lnTo>
                    <a:pt x="160" y="152"/>
                  </a:lnTo>
                  <a:lnTo>
                    <a:pt x="148" y="166"/>
                  </a:lnTo>
                  <a:lnTo>
                    <a:pt x="139" y="152"/>
                  </a:lnTo>
                  <a:lnTo>
                    <a:pt x="124" y="169"/>
                  </a:lnTo>
                  <a:lnTo>
                    <a:pt x="99" y="181"/>
                  </a:lnTo>
                  <a:lnTo>
                    <a:pt x="91" y="167"/>
                  </a:lnTo>
                  <a:lnTo>
                    <a:pt x="76" y="188"/>
                  </a:lnTo>
                  <a:lnTo>
                    <a:pt x="40" y="177"/>
                  </a:lnTo>
                  <a:lnTo>
                    <a:pt x="10" y="145"/>
                  </a:lnTo>
                  <a:lnTo>
                    <a:pt x="0" y="116"/>
                  </a:lnTo>
                  <a:lnTo>
                    <a:pt x="6" y="63"/>
                  </a:lnTo>
                  <a:lnTo>
                    <a:pt x="31" y="29"/>
                  </a:lnTo>
                  <a:lnTo>
                    <a:pt x="76" y="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2" name="Freeform 359"/>
            <p:cNvSpPr>
              <a:spLocks/>
            </p:cNvSpPr>
            <p:nvPr/>
          </p:nvSpPr>
          <p:spPr bwMode="auto">
            <a:xfrm>
              <a:off x="4013553" y="2328506"/>
              <a:ext cx="27564" cy="30265"/>
            </a:xfrm>
            <a:custGeom>
              <a:avLst/>
              <a:gdLst>
                <a:gd name="T0" fmla="*/ 2147483647 w 50"/>
                <a:gd name="T1" fmla="*/ 2147483647 h 47"/>
                <a:gd name="T2" fmla="*/ 2147483647 w 50"/>
                <a:gd name="T3" fmla="*/ 0 h 47"/>
                <a:gd name="T4" fmla="*/ 2147483647 w 50"/>
                <a:gd name="T5" fmla="*/ 2147483647 h 47"/>
                <a:gd name="T6" fmla="*/ 2147483647 w 50"/>
                <a:gd name="T7" fmla="*/ 2147483647 h 47"/>
                <a:gd name="T8" fmla="*/ 2147483647 w 50"/>
                <a:gd name="T9" fmla="*/ 2147483647 h 47"/>
                <a:gd name="T10" fmla="*/ 0 w 50"/>
                <a:gd name="T11" fmla="*/ 2147483647 h 47"/>
                <a:gd name="T12" fmla="*/ 2147483647 w 50"/>
                <a:gd name="T13" fmla="*/ 2147483647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"/>
                <a:gd name="T22" fmla="*/ 0 h 47"/>
                <a:gd name="T23" fmla="*/ 50 w 50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" h="47">
                  <a:moveTo>
                    <a:pt x="2" y="4"/>
                  </a:moveTo>
                  <a:lnTo>
                    <a:pt x="25" y="0"/>
                  </a:lnTo>
                  <a:lnTo>
                    <a:pt x="44" y="13"/>
                  </a:lnTo>
                  <a:lnTo>
                    <a:pt x="50" y="34"/>
                  </a:lnTo>
                  <a:lnTo>
                    <a:pt x="14" y="47"/>
                  </a:lnTo>
                  <a:lnTo>
                    <a:pt x="0" y="47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3" name="Freeform 360"/>
            <p:cNvSpPr>
              <a:spLocks/>
            </p:cNvSpPr>
            <p:nvPr/>
          </p:nvSpPr>
          <p:spPr bwMode="auto">
            <a:xfrm>
              <a:off x="3681690" y="2560147"/>
              <a:ext cx="24256" cy="34921"/>
            </a:xfrm>
            <a:custGeom>
              <a:avLst/>
              <a:gdLst>
                <a:gd name="T0" fmla="*/ 2147483647 w 45"/>
                <a:gd name="T1" fmla="*/ 0 h 55"/>
                <a:gd name="T2" fmla="*/ 2147483647 w 45"/>
                <a:gd name="T3" fmla="*/ 2147483647 h 55"/>
                <a:gd name="T4" fmla="*/ 2147483647 w 45"/>
                <a:gd name="T5" fmla="*/ 2147483647 h 55"/>
                <a:gd name="T6" fmla="*/ 2147483647 w 45"/>
                <a:gd name="T7" fmla="*/ 2147483647 h 55"/>
                <a:gd name="T8" fmla="*/ 0 w 45"/>
                <a:gd name="T9" fmla="*/ 2147483647 h 55"/>
                <a:gd name="T10" fmla="*/ 0 w 45"/>
                <a:gd name="T11" fmla="*/ 2147483647 h 55"/>
                <a:gd name="T12" fmla="*/ 2147483647 w 45"/>
                <a:gd name="T13" fmla="*/ 2147483647 h 55"/>
                <a:gd name="T14" fmla="*/ 2147483647 w 45"/>
                <a:gd name="T15" fmla="*/ 0 h 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5"/>
                <a:gd name="T25" fmla="*/ 0 h 55"/>
                <a:gd name="T26" fmla="*/ 45 w 45"/>
                <a:gd name="T27" fmla="*/ 55 h 5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5" h="55">
                  <a:moveTo>
                    <a:pt x="22" y="0"/>
                  </a:moveTo>
                  <a:lnTo>
                    <a:pt x="45" y="19"/>
                  </a:lnTo>
                  <a:lnTo>
                    <a:pt x="32" y="44"/>
                  </a:lnTo>
                  <a:lnTo>
                    <a:pt x="19" y="55"/>
                  </a:lnTo>
                  <a:lnTo>
                    <a:pt x="0" y="48"/>
                  </a:lnTo>
                  <a:lnTo>
                    <a:pt x="0" y="21"/>
                  </a:lnTo>
                  <a:lnTo>
                    <a:pt x="5" y="8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4" name="Freeform 361"/>
            <p:cNvSpPr>
              <a:spLocks/>
            </p:cNvSpPr>
            <p:nvPr/>
          </p:nvSpPr>
          <p:spPr bwMode="auto">
            <a:xfrm>
              <a:off x="3723586" y="2336653"/>
              <a:ext cx="98126" cy="173440"/>
            </a:xfrm>
            <a:custGeom>
              <a:avLst/>
              <a:gdLst>
                <a:gd name="T0" fmla="*/ 2147483647 w 179"/>
                <a:gd name="T1" fmla="*/ 2147483647 h 279"/>
                <a:gd name="T2" fmla="*/ 2147483647 w 179"/>
                <a:gd name="T3" fmla="*/ 2147483647 h 279"/>
                <a:gd name="T4" fmla="*/ 2147483647 w 179"/>
                <a:gd name="T5" fmla="*/ 2147483647 h 279"/>
                <a:gd name="T6" fmla="*/ 2147483647 w 179"/>
                <a:gd name="T7" fmla="*/ 2147483647 h 279"/>
                <a:gd name="T8" fmla="*/ 2147483647 w 179"/>
                <a:gd name="T9" fmla="*/ 2147483647 h 279"/>
                <a:gd name="T10" fmla="*/ 2147483647 w 179"/>
                <a:gd name="T11" fmla="*/ 2147483647 h 279"/>
                <a:gd name="T12" fmla="*/ 2147483647 w 179"/>
                <a:gd name="T13" fmla="*/ 2147483647 h 279"/>
                <a:gd name="T14" fmla="*/ 2147483647 w 179"/>
                <a:gd name="T15" fmla="*/ 2147483647 h 279"/>
                <a:gd name="T16" fmla="*/ 2147483647 w 179"/>
                <a:gd name="T17" fmla="*/ 2147483647 h 279"/>
                <a:gd name="T18" fmla="*/ 2147483647 w 179"/>
                <a:gd name="T19" fmla="*/ 2147483647 h 279"/>
                <a:gd name="T20" fmla="*/ 2147483647 w 179"/>
                <a:gd name="T21" fmla="*/ 2147483647 h 279"/>
                <a:gd name="T22" fmla="*/ 2147483647 w 179"/>
                <a:gd name="T23" fmla="*/ 2147483647 h 279"/>
                <a:gd name="T24" fmla="*/ 2147483647 w 179"/>
                <a:gd name="T25" fmla="*/ 2147483647 h 279"/>
                <a:gd name="T26" fmla="*/ 2147483647 w 179"/>
                <a:gd name="T27" fmla="*/ 2147483647 h 279"/>
                <a:gd name="T28" fmla="*/ 2147483647 w 179"/>
                <a:gd name="T29" fmla="*/ 2147483647 h 279"/>
                <a:gd name="T30" fmla="*/ 2147483647 w 179"/>
                <a:gd name="T31" fmla="*/ 2147483647 h 279"/>
                <a:gd name="T32" fmla="*/ 2147483647 w 179"/>
                <a:gd name="T33" fmla="*/ 2147483647 h 279"/>
                <a:gd name="T34" fmla="*/ 2147483647 w 179"/>
                <a:gd name="T35" fmla="*/ 2147483647 h 279"/>
                <a:gd name="T36" fmla="*/ 2147483647 w 179"/>
                <a:gd name="T37" fmla="*/ 2147483647 h 279"/>
                <a:gd name="T38" fmla="*/ 2147483647 w 179"/>
                <a:gd name="T39" fmla="*/ 2147483647 h 279"/>
                <a:gd name="T40" fmla="*/ 0 w 179"/>
                <a:gd name="T41" fmla="*/ 2147483647 h 279"/>
                <a:gd name="T42" fmla="*/ 2147483647 w 179"/>
                <a:gd name="T43" fmla="*/ 2147483647 h 279"/>
                <a:gd name="T44" fmla="*/ 2147483647 w 179"/>
                <a:gd name="T45" fmla="*/ 2147483647 h 279"/>
                <a:gd name="T46" fmla="*/ 2147483647 w 179"/>
                <a:gd name="T47" fmla="*/ 2147483647 h 279"/>
                <a:gd name="T48" fmla="*/ 2147483647 w 179"/>
                <a:gd name="T49" fmla="*/ 2147483647 h 279"/>
                <a:gd name="T50" fmla="*/ 2147483647 w 179"/>
                <a:gd name="T51" fmla="*/ 2147483647 h 279"/>
                <a:gd name="T52" fmla="*/ 2147483647 w 179"/>
                <a:gd name="T53" fmla="*/ 2147483647 h 279"/>
                <a:gd name="T54" fmla="*/ 2147483647 w 179"/>
                <a:gd name="T55" fmla="*/ 2147483647 h 279"/>
                <a:gd name="T56" fmla="*/ 2147483647 w 179"/>
                <a:gd name="T57" fmla="*/ 2147483647 h 279"/>
                <a:gd name="T58" fmla="*/ 2147483647 w 179"/>
                <a:gd name="T59" fmla="*/ 0 h 279"/>
                <a:gd name="T60" fmla="*/ 2147483647 w 179"/>
                <a:gd name="T61" fmla="*/ 2147483647 h 279"/>
                <a:gd name="T62" fmla="*/ 2147483647 w 179"/>
                <a:gd name="T63" fmla="*/ 2147483647 h 279"/>
                <a:gd name="T64" fmla="*/ 2147483647 w 179"/>
                <a:gd name="T65" fmla="*/ 2147483647 h 279"/>
                <a:gd name="T66" fmla="*/ 2147483647 w 179"/>
                <a:gd name="T67" fmla="*/ 2147483647 h 279"/>
                <a:gd name="T68" fmla="*/ 2147483647 w 179"/>
                <a:gd name="T69" fmla="*/ 2147483647 h 279"/>
                <a:gd name="T70" fmla="*/ 2147483647 w 179"/>
                <a:gd name="T71" fmla="*/ 2147483647 h 27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9"/>
                <a:gd name="T109" fmla="*/ 0 h 279"/>
                <a:gd name="T110" fmla="*/ 179 w 179"/>
                <a:gd name="T111" fmla="*/ 279 h 27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9" h="279">
                  <a:moveTo>
                    <a:pt x="179" y="243"/>
                  </a:moveTo>
                  <a:lnTo>
                    <a:pt x="166" y="264"/>
                  </a:lnTo>
                  <a:lnTo>
                    <a:pt x="143" y="251"/>
                  </a:lnTo>
                  <a:lnTo>
                    <a:pt x="151" y="270"/>
                  </a:lnTo>
                  <a:lnTo>
                    <a:pt x="124" y="264"/>
                  </a:lnTo>
                  <a:lnTo>
                    <a:pt x="116" y="279"/>
                  </a:lnTo>
                  <a:lnTo>
                    <a:pt x="88" y="272"/>
                  </a:lnTo>
                  <a:lnTo>
                    <a:pt x="59" y="255"/>
                  </a:lnTo>
                  <a:lnTo>
                    <a:pt x="71" y="232"/>
                  </a:lnTo>
                  <a:lnTo>
                    <a:pt x="90" y="222"/>
                  </a:lnTo>
                  <a:lnTo>
                    <a:pt x="67" y="215"/>
                  </a:lnTo>
                  <a:lnTo>
                    <a:pt x="56" y="211"/>
                  </a:lnTo>
                  <a:lnTo>
                    <a:pt x="52" y="240"/>
                  </a:lnTo>
                  <a:lnTo>
                    <a:pt x="42" y="207"/>
                  </a:lnTo>
                  <a:lnTo>
                    <a:pt x="31" y="205"/>
                  </a:lnTo>
                  <a:lnTo>
                    <a:pt x="33" y="194"/>
                  </a:lnTo>
                  <a:lnTo>
                    <a:pt x="57" y="198"/>
                  </a:lnTo>
                  <a:lnTo>
                    <a:pt x="52" y="186"/>
                  </a:lnTo>
                  <a:lnTo>
                    <a:pt x="19" y="181"/>
                  </a:lnTo>
                  <a:lnTo>
                    <a:pt x="4" y="171"/>
                  </a:lnTo>
                  <a:lnTo>
                    <a:pt x="0" y="152"/>
                  </a:lnTo>
                  <a:lnTo>
                    <a:pt x="8" y="122"/>
                  </a:lnTo>
                  <a:lnTo>
                    <a:pt x="23" y="122"/>
                  </a:lnTo>
                  <a:lnTo>
                    <a:pt x="37" y="71"/>
                  </a:lnTo>
                  <a:lnTo>
                    <a:pt x="27" y="65"/>
                  </a:lnTo>
                  <a:lnTo>
                    <a:pt x="38" y="42"/>
                  </a:lnTo>
                  <a:lnTo>
                    <a:pt x="52" y="42"/>
                  </a:lnTo>
                  <a:lnTo>
                    <a:pt x="59" y="15"/>
                  </a:lnTo>
                  <a:lnTo>
                    <a:pt x="92" y="12"/>
                  </a:lnTo>
                  <a:lnTo>
                    <a:pt x="105" y="0"/>
                  </a:lnTo>
                  <a:lnTo>
                    <a:pt x="145" y="21"/>
                  </a:lnTo>
                  <a:lnTo>
                    <a:pt x="128" y="82"/>
                  </a:lnTo>
                  <a:lnTo>
                    <a:pt x="120" y="131"/>
                  </a:lnTo>
                  <a:lnTo>
                    <a:pt x="122" y="177"/>
                  </a:lnTo>
                  <a:lnTo>
                    <a:pt x="160" y="230"/>
                  </a:lnTo>
                  <a:lnTo>
                    <a:pt x="179" y="24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5" name="Freeform 362"/>
            <p:cNvSpPr>
              <a:spLocks/>
            </p:cNvSpPr>
            <p:nvPr/>
          </p:nvSpPr>
          <p:spPr bwMode="auto">
            <a:xfrm>
              <a:off x="3757765" y="2081732"/>
              <a:ext cx="240353" cy="264234"/>
            </a:xfrm>
            <a:custGeom>
              <a:avLst/>
              <a:gdLst>
                <a:gd name="T0" fmla="*/ 2147483647 w 441"/>
                <a:gd name="T1" fmla="*/ 2147483647 h 423"/>
                <a:gd name="T2" fmla="*/ 2147483647 w 441"/>
                <a:gd name="T3" fmla="*/ 2147483647 h 423"/>
                <a:gd name="T4" fmla="*/ 2147483647 w 441"/>
                <a:gd name="T5" fmla="*/ 2147483647 h 423"/>
                <a:gd name="T6" fmla="*/ 2147483647 w 441"/>
                <a:gd name="T7" fmla="*/ 2147483647 h 423"/>
                <a:gd name="T8" fmla="*/ 2147483647 w 441"/>
                <a:gd name="T9" fmla="*/ 2147483647 h 423"/>
                <a:gd name="T10" fmla="*/ 2147483647 w 441"/>
                <a:gd name="T11" fmla="*/ 2147483647 h 423"/>
                <a:gd name="T12" fmla="*/ 2147483647 w 441"/>
                <a:gd name="T13" fmla="*/ 2147483647 h 423"/>
                <a:gd name="T14" fmla="*/ 0 w 441"/>
                <a:gd name="T15" fmla="*/ 2147483647 h 423"/>
                <a:gd name="T16" fmla="*/ 2147483647 w 441"/>
                <a:gd name="T17" fmla="*/ 2147483647 h 423"/>
                <a:gd name="T18" fmla="*/ 2147483647 w 441"/>
                <a:gd name="T19" fmla="*/ 2147483647 h 423"/>
                <a:gd name="T20" fmla="*/ 2147483647 w 441"/>
                <a:gd name="T21" fmla="*/ 2147483647 h 423"/>
                <a:gd name="T22" fmla="*/ 2147483647 w 441"/>
                <a:gd name="T23" fmla="*/ 2147483647 h 423"/>
                <a:gd name="T24" fmla="*/ 2147483647 w 441"/>
                <a:gd name="T25" fmla="*/ 2147483647 h 423"/>
                <a:gd name="T26" fmla="*/ 2147483647 w 441"/>
                <a:gd name="T27" fmla="*/ 2147483647 h 423"/>
                <a:gd name="T28" fmla="*/ 2147483647 w 441"/>
                <a:gd name="T29" fmla="*/ 2147483647 h 423"/>
                <a:gd name="T30" fmla="*/ 2147483647 w 441"/>
                <a:gd name="T31" fmla="*/ 2147483647 h 423"/>
                <a:gd name="T32" fmla="*/ 2147483647 w 441"/>
                <a:gd name="T33" fmla="*/ 2147483647 h 423"/>
                <a:gd name="T34" fmla="*/ 2147483647 w 441"/>
                <a:gd name="T35" fmla="*/ 2147483647 h 423"/>
                <a:gd name="T36" fmla="*/ 2147483647 w 441"/>
                <a:gd name="T37" fmla="*/ 2147483647 h 423"/>
                <a:gd name="T38" fmla="*/ 2147483647 w 441"/>
                <a:gd name="T39" fmla="*/ 2147483647 h 423"/>
                <a:gd name="T40" fmla="*/ 2147483647 w 441"/>
                <a:gd name="T41" fmla="*/ 2147483647 h 423"/>
                <a:gd name="T42" fmla="*/ 2147483647 w 441"/>
                <a:gd name="T43" fmla="*/ 2147483647 h 423"/>
                <a:gd name="T44" fmla="*/ 2147483647 w 441"/>
                <a:gd name="T45" fmla="*/ 2147483647 h 423"/>
                <a:gd name="T46" fmla="*/ 2147483647 w 441"/>
                <a:gd name="T47" fmla="*/ 2147483647 h 423"/>
                <a:gd name="T48" fmla="*/ 2147483647 w 441"/>
                <a:gd name="T49" fmla="*/ 2147483647 h 423"/>
                <a:gd name="T50" fmla="*/ 2147483647 w 441"/>
                <a:gd name="T51" fmla="*/ 2147483647 h 423"/>
                <a:gd name="T52" fmla="*/ 2147483647 w 441"/>
                <a:gd name="T53" fmla="*/ 2147483647 h 423"/>
                <a:gd name="T54" fmla="*/ 2147483647 w 441"/>
                <a:gd name="T55" fmla="*/ 2147483647 h 423"/>
                <a:gd name="T56" fmla="*/ 2147483647 w 441"/>
                <a:gd name="T57" fmla="*/ 2147483647 h 423"/>
                <a:gd name="T58" fmla="*/ 2147483647 w 441"/>
                <a:gd name="T59" fmla="*/ 2147483647 h 423"/>
                <a:gd name="T60" fmla="*/ 2147483647 w 441"/>
                <a:gd name="T61" fmla="*/ 0 h 423"/>
                <a:gd name="T62" fmla="*/ 2147483647 w 441"/>
                <a:gd name="T63" fmla="*/ 2147483647 h 423"/>
                <a:gd name="T64" fmla="*/ 2147483647 w 441"/>
                <a:gd name="T65" fmla="*/ 2147483647 h 423"/>
                <a:gd name="T66" fmla="*/ 2147483647 w 441"/>
                <a:gd name="T67" fmla="*/ 2147483647 h 423"/>
                <a:gd name="T68" fmla="*/ 2147483647 w 441"/>
                <a:gd name="T69" fmla="*/ 2147483647 h 423"/>
                <a:gd name="T70" fmla="*/ 2147483647 w 441"/>
                <a:gd name="T71" fmla="*/ 2147483647 h 423"/>
                <a:gd name="T72" fmla="*/ 2147483647 w 441"/>
                <a:gd name="T73" fmla="*/ 2147483647 h 423"/>
                <a:gd name="T74" fmla="*/ 2147483647 w 441"/>
                <a:gd name="T75" fmla="*/ 2147483647 h 423"/>
                <a:gd name="T76" fmla="*/ 2147483647 w 441"/>
                <a:gd name="T77" fmla="*/ 2147483647 h 423"/>
                <a:gd name="T78" fmla="*/ 2147483647 w 441"/>
                <a:gd name="T79" fmla="*/ 2147483647 h 423"/>
                <a:gd name="T80" fmla="*/ 2147483647 w 441"/>
                <a:gd name="T81" fmla="*/ 2147483647 h 423"/>
                <a:gd name="T82" fmla="*/ 2147483647 w 441"/>
                <a:gd name="T83" fmla="*/ 2147483647 h 423"/>
                <a:gd name="T84" fmla="*/ 2147483647 w 441"/>
                <a:gd name="T85" fmla="*/ 2147483647 h 423"/>
                <a:gd name="T86" fmla="*/ 2147483647 w 441"/>
                <a:gd name="T87" fmla="*/ 2147483647 h 423"/>
                <a:gd name="T88" fmla="*/ 2147483647 w 441"/>
                <a:gd name="T89" fmla="*/ 2147483647 h 423"/>
                <a:gd name="T90" fmla="*/ 2147483647 w 441"/>
                <a:gd name="T91" fmla="*/ 2147483647 h 423"/>
                <a:gd name="T92" fmla="*/ 2147483647 w 441"/>
                <a:gd name="T93" fmla="*/ 2147483647 h 423"/>
                <a:gd name="T94" fmla="*/ 2147483647 w 441"/>
                <a:gd name="T95" fmla="*/ 2147483647 h 423"/>
                <a:gd name="T96" fmla="*/ 2147483647 w 441"/>
                <a:gd name="T97" fmla="*/ 2147483647 h 42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41"/>
                <a:gd name="T148" fmla="*/ 0 h 423"/>
                <a:gd name="T149" fmla="*/ 441 w 441"/>
                <a:gd name="T150" fmla="*/ 423 h 42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41" h="423">
                  <a:moveTo>
                    <a:pt x="91" y="423"/>
                  </a:moveTo>
                  <a:lnTo>
                    <a:pt x="78" y="420"/>
                  </a:lnTo>
                  <a:lnTo>
                    <a:pt x="53" y="399"/>
                  </a:lnTo>
                  <a:lnTo>
                    <a:pt x="21" y="414"/>
                  </a:lnTo>
                  <a:lnTo>
                    <a:pt x="15" y="410"/>
                  </a:lnTo>
                  <a:lnTo>
                    <a:pt x="48" y="372"/>
                  </a:lnTo>
                  <a:lnTo>
                    <a:pt x="15" y="378"/>
                  </a:lnTo>
                  <a:lnTo>
                    <a:pt x="0" y="363"/>
                  </a:lnTo>
                  <a:lnTo>
                    <a:pt x="38" y="344"/>
                  </a:lnTo>
                  <a:lnTo>
                    <a:pt x="33" y="332"/>
                  </a:lnTo>
                  <a:lnTo>
                    <a:pt x="40" y="323"/>
                  </a:lnTo>
                  <a:lnTo>
                    <a:pt x="65" y="325"/>
                  </a:lnTo>
                  <a:lnTo>
                    <a:pt x="48" y="300"/>
                  </a:lnTo>
                  <a:lnTo>
                    <a:pt x="71" y="298"/>
                  </a:lnTo>
                  <a:lnTo>
                    <a:pt x="55" y="281"/>
                  </a:lnTo>
                  <a:lnTo>
                    <a:pt x="80" y="271"/>
                  </a:lnTo>
                  <a:lnTo>
                    <a:pt x="65" y="268"/>
                  </a:lnTo>
                  <a:lnTo>
                    <a:pt x="78" y="252"/>
                  </a:lnTo>
                  <a:lnTo>
                    <a:pt x="71" y="243"/>
                  </a:lnTo>
                  <a:lnTo>
                    <a:pt x="57" y="251"/>
                  </a:lnTo>
                  <a:lnTo>
                    <a:pt x="61" y="218"/>
                  </a:lnTo>
                  <a:lnTo>
                    <a:pt x="82" y="224"/>
                  </a:lnTo>
                  <a:lnTo>
                    <a:pt x="135" y="182"/>
                  </a:lnTo>
                  <a:lnTo>
                    <a:pt x="150" y="146"/>
                  </a:lnTo>
                  <a:lnTo>
                    <a:pt x="194" y="106"/>
                  </a:lnTo>
                  <a:lnTo>
                    <a:pt x="213" y="110"/>
                  </a:lnTo>
                  <a:lnTo>
                    <a:pt x="215" y="87"/>
                  </a:lnTo>
                  <a:lnTo>
                    <a:pt x="249" y="87"/>
                  </a:lnTo>
                  <a:lnTo>
                    <a:pt x="304" y="70"/>
                  </a:lnTo>
                  <a:lnTo>
                    <a:pt x="356" y="23"/>
                  </a:lnTo>
                  <a:lnTo>
                    <a:pt x="395" y="0"/>
                  </a:lnTo>
                  <a:lnTo>
                    <a:pt x="420" y="4"/>
                  </a:lnTo>
                  <a:lnTo>
                    <a:pt x="441" y="28"/>
                  </a:lnTo>
                  <a:lnTo>
                    <a:pt x="422" y="89"/>
                  </a:lnTo>
                  <a:lnTo>
                    <a:pt x="293" y="192"/>
                  </a:lnTo>
                  <a:lnTo>
                    <a:pt x="285" y="182"/>
                  </a:lnTo>
                  <a:lnTo>
                    <a:pt x="198" y="241"/>
                  </a:lnTo>
                  <a:lnTo>
                    <a:pt x="198" y="258"/>
                  </a:lnTo>
                  <a:lnTo>
                    <a:pt x="179" y="281"/>
                  </a:lnTo>
                  <a:lnTo>
                    <a:pt x="156" y="273"/>
                  </a:lnTo>
                  <a:lnTo>
                    <a:pt x="156" y="290"/>
                  </a:lnTo>
                  <a:lnTo>
                    <a:pt x="143" y="296"/>
                  </a:lnTo>
                  <a:lnTo>
                    <a:pt x="150" y="319"/>
                  </a:lnTo>
                  <a:lnTo>
                    <a:pt x="118" y="366"/>
                  </a:lnTo>
                  <a:lnTo>
                    <a:pt x="105" y="370"/>
                  </a:lnTo>
                  <a:lnTo>
                    <a:pt x="112" y="384"/>
                  </a:lnTo>
                  <a:lnTo>
                    <a:pt x="97" y="389"/>
                  </a:lnTo>
                  <a:lnTo>
                    <a:pt x="103" y="397"/>
                  </a:lnTo>
                  <a:lnTo>
                    <a:pt x="91" y="423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6" name="Freeform 363"/>
            <p:cNvSpPr>
              <a:spLocks/>
            </p:cNvSpPr>
            <p:nvPr/>
          </p:nvSpPr>
          <p:spPr bwMode="auto">
            <a:xfrm>
              <a:off x="3235163" y="3114224"/>
              <a:ext cx="52922" cy="36084"/>
            </a:xfrm>
            <a:custGeom>
              <a:avLst/>
              <a:gdLst>
                <a:gd name="T0" fmla="*/ 0 w 97"/>
                <a:gd name="T1" fmla="*/ 2147483647 h 59"/>
                <a:gd name="T2" fmla="*/ 2147483647 w 97"/>
                <a:gd name="T3" fmla="*/ 2147483647 h 59"/>
                <a:gd name="T4" fmla="*/ 2147483647 w 97"/>
                <a:gd name="T5" fmla="*/ 2147483647 h 59"/>
                <a:gd name="T6" fmla="*/ 2147483647 w 97"/>
                <a:gd name="T7" fmla="*/ 2147483647 h 59"/>
                <a:gd name="T8" fmla="*/ 2147483647 w 97"/>
                <a:gd name="T9" fmla="*/ 2147483647 h 59"/>
                <a:gd name="T10" fmla="*/ 2147483647 w 97"/>
                <a:gd name="T11" fmla="*/ 2147483647 h 59"/>
                <a:gd name="T12" fmla="*/ 2147483647 w 97"/>
                <a:gd name="T13" fmla="*/ 2147483647 h 59"/>
                <a:gd name="T14" fmla="*/ 2147483647 w 97"/>
                <a:gd name="T15" fmla="*/ 2147483647 h 59"/>
                <a:gd name="T16" fmla="*/ 2147483647 w 97"/>
                <a:gd name="T17" fmla="*/ 2147483647 h 59"/>
                <a:gd name="T18" fmla="*/ 2147483647 w 97"/>
                <a:gd name="T19" fmla="*/ 0 h 59"/>
                <a:gd name="T20" fmla="*/ 2147483647 w 97"/>
                <a:gd name="T21" fmla="*/ 2147483647 h 59"/>
                <a:gd name="T22" fmla="*/ 2147483647 w 97"/>
                <a:gd name="T23" fmla="*/ 2147483647 h 59"/>
                <a:gd name="T24" fmla="*/ 2147483647 w 97"/>
                <a:gd name="T25" fmla="*/ 2147483647 h 59"/>
                <a:gd name="T26" fmla="*/ 2147483647 w 97"/>
                <a:gd name="T27" fmla="*/ 2147483647 h 59"/>
                <a:gd name="T28" fmla="*/ 2147483647 w 97"/>
                <a:gd name="T29" fmla="*/ 2147483647 h 59"/>
                <a:gd name="T30" fmla="*/ 2147483647 w 97"/>
                <a:gd name="T31" fmla="*/ 2147483647 h 59"/>
                <a:gd name="T32" fmla="*/ 2147483647 w 97"/>
                <a:gd name="T33" fmla="*/ 2147483647 h 59"/>
                <a:gd name="T34" fmla="*/ 2147483647 w 97"/>
                <a:gd name="T35" fmla="*/ 2147483647 h 59"/>
                <a:gd name="T36" fmla="*/ 0 w 97"/>
                <a:gd name="T37" fmla="*/ 2147483647 h 5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7"/>
                <a:gd name="T58" fmla="*/ 0 h 59"/>
                <a:gd name="T59" fmla="*/ 97 w 97"/>
                <a:gd name="T60" fmla="*/ 59 h 5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7" h="59">
                  <a:moveTo>
                    <a:pt x="0" y="46"/>
                  </a:moveTo>
                  <a:lnTo>
                    <a:pt x="19" y="38"/>
                  </a:lnTo>
                  <a:lnTo>
                    <a:pt x="4" y="38"/>
                  </a:lnTo>
                  <a:lnTo>
                    <a:pt x="8" y="27"/>
                  </a:lnTo>
                  <a:lnTo>
                    <a:pt x="21" y="23"/>
                  </a:lnTo>
                  <a:lnTo>
                    <a:pt x="33" y="6"/>
                  </a:lnTo>
                  <a:lnTo>
                    <a:pt x="27" y="29"/>
                  </a:lnTo>
                  <a:lnTo>
                    <a:pt x="42" y="33"/>
                  </a:lnTo>
                  <a:lnTo>
                    <a:pt x="46" y="17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54" y="12"/>
                  </a:lnTo>
                  <a:lnTo>
                    <a:pt x="71" y="23"/>
                  </a:lnTo>
                  <a:lnTo>
                    <a:pt x="92" y="23"/>
                  </a:lnTo>
                  <a:lnTo>
                    <a:pt x="97" y="34"/>
                  </a:lnTo>
                  <a:lnTo>
                    <a:pt x="96" y="59"/>
                  </a:lnTo>
                  <a:lnTo>
                    <a:pt x="48" y="59"/>
                  </a:lnTo>
                  <a:lnTo>
                    <a:pt x="12" y="50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7" name="Freeform 364"/>
            <p:cNvSpPr>
              <a:spLocks/>
            </p:cNvSpPr>
            <p:nvPr/>
          </p:nvSpPr>
          <p:spPr bwMode="auto">
            <a:xfrm>
              <a:off x="5109473" y="3149144"/>
              <a:ext cx="51820" cy="242118"/>
            </a:xfrm>
            <a:custGeom>
              <a:avLst/>
              <a:gdLst>
                <a:gd name="T0" fmla="*/ 2147483647 w 95"/>
                <a:gd name="T1" fmla="*/ 0 h 388"/>
                <a:gd name="T2" fmla="*/ 2147483647 w 95"/>
                <a:gd name="T3" fmla="*/ 2147483647 h 388"/>
                <a:gd name="T4" fmla="*/ 2147483647 w 95"/>
                <a:gd name="T5" fmla="*/ 2147483647 h 388"/>
                <a:gd name="T6" fmla="*/ 2147483647 w 95"/>
                <a:gd name="T7" fmla="*/ 2147483647 h 388"/>
                <a:gd name="T8" fmla="*/ 2147483647 w 95"/>
                <a:gd name="T9" fmla="*/ 2147483647 h 388"/>
                <a:gd name="T10" fmla="*/ 2147483647 w 95"/>
                <a:gd name="T11" fmla="*/ 2147483647 h 388"/>
                <a:gd name="T12" fmla="*/ 2147483647 w 95"/>
                <a:gd name="T13" fmla="*/ 2147483647 h 388"/>
                <a:gd name="T14" fmla="*/ 2147483647 w 95"/>
                <a:gd name="T15" fmla="*/ 2147483647 h 388"/>
                <a:gd name="T16" fmla="*/ 2147483647 w 95"/>
                <a:gd name="T17" fmla="*/ 2147483647 h 388"/>
                <a:gd name="T18" fmla="*/ 2147483647 w 95"/>
                <a:gd name="T19" fmla="*/ 2147483647 h 388"/>
                <a:gd name="T20" fmla="*/ 2147483647 w 95"/>
                <a:gd name="T21" fmla="*/ 2147483647 h 388"/>
                <a:gd name="T22" fmla="*/ 2147483647 w 95"/>
                <a:gd name="T23" fmla="*/ 2147483647 h 388"/>
                <a:gd name="T24" fmla="*/ 2147483647 w 95"/>
                <a:gd name="T25" fmla="*/ 2147483647 h 388"/>
                <a:gd name="T26" fmla="*/ 2147483647 w 95"/>
                <a:gd name="T27" fmla="*/ 2147483647 h 388"/>
                <a:gd name="T28" fmla="*/ 0 w 95"/>
                <a:gd name="T29" fmla="*/ 2147483647 h 388"/>
                <a:gd name="T30" fmla="*/ 2147483647 w 95"/>
                <a:gd name="T31" fmla="*/ 2147483647 h 388"/>
                <a:gd name="T32" fmla="*/ 2147483647 w 95"/>
                <a:gd name="T33" fmla="*/ 2147483647 h 388"/>
                <a:gd name="T34" fmla="*/ 2147483647 w 95"/>
                <a:gd name="T35" fmla="*/ 2147483647 h 388"/>
                <a:gd name="T36" fmla="*/ 2147483647 w 95"/>
                <a:gd name="T37" fmla="*/ 2147483647 h 388"/>
                <a:gd name="T38" fmla="*/ 2147483647 w 95"/>
                <a:gd name="T39" fmla="*/ 2147483647 h 388"/>
                <a:gd name="T40" fmla="*/ 2147483647 w 95"/>
                <a:gd name="T41" fmla="*/ 2147483647 h 388"/>
                <a:gd name="T42" fmla="*/ 2147483647 w 95"/>
                <a:gd name="T43" fmla="*/ 2147483647 h 388"/>
                <a:gd name="T44" fmla="*/ 2147483647 w 95"/>
                <a:gd name="T45" fmla="*/ 2147483647 h 388"/>
                <a:gd name="T46" fmla="*/ 2147483647 w 95"/>
                <a:gd name="T47" fmla="*/ 2147483647 h 388"/>
                <a:gd name="T48" fmla="*/ 2147483647 w 95"/>
                <a:gd name="T49" fmla="*/ 0 h 38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5"/>
                <a:gd name="T76" fmla="*/ 0 h 388"/>
                <a:gd name="T77" fmla="*/ 95 w 95"/>
                <a:gd name="T78" fmla="*/ 388 h 38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5" h="388">
                  <a:moveTo>
                    <a:pt x="38" y="0"/>
                  </a:moveTo>
                  <a:lnTo>
                    <a:pt x="51" y="57"/>
                  </a:lnTo>
                  <a:lnTo>
                    <a:pt x="63" y="190"/>
                  </a:lnTo>
                  <a:lnTo>
                    <a:pt x="84" y="243"/>
                  </a:lnTo>
                  <a:lnTo>
                    <a:pt x="95" y="260"/>
                  </a:lnTo>
                  <a:lnTo>
                    <a:pt x="91" y="268"/>
                  </a:lnTo>
                  <a:lnTo>
                    <a:pt x="70" y="247"/>
                  </a:lnTo>
                  <a:lnTo>
                    <a:pt x="44" y="243"/>
                  </a:lnTo>
                  <a:lnTo>
                    <a:pt x="30" y="310"/>
                  </a:lnTo>
                  <a:lnTo>
                    <a:pt x="57" y="340"/>
                  </a:lnTo>
                  <a:lnTo>
                    <a:pt x="57" y="378"/>
                  </a:lnTo>
                  <a:lnTo>
                    <a:pt x="48" y="359"/>
                  </a:lnTo>
                  <a:lnTo>
                    <a:pt x="30" y="352"/>
                  </a:lnTo>
                  <a:lnTo>
                    <a:pt x="13" y="388"/>
                  </a:lnTo>
                  <a:lnTo>
                    <a:pt x="0" y="361"/>
                  </a:lnTo>
                  <a:lnTo>
                    <a:pt x="11" y="338"/>
                  </a:lnTo>
                  <a:lnTo>
                    <a:pt x="8" y="314"/>
                  </a:lnTo>
                  <a:lnTo>
                    <a:pt x="19" y="293"/>
                  </a:lnTo>
                  <a:lnTo>
                    <a:pt x="4" y="262"/>
                  </a:lnTo>
                  <a:lnTo>
                    <a:pt x="17" y="164"/>
                  </a:lnTo>
                  <a:lnTo>
                    <a:pt x="2" y="127"/>
                  </a:lnTo>
                  <a:lnTo>
                    <a:pt x="8" y="48"/>
                  </a:lnTo>
                  <a:lnTo>
                    <a:pt x="23" y="33"/>
                  </a:lnTo>
                  <a:lnTo>
                    <a:pt x="21" y="4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8" name="Freeform 365"/>
            <p:cNvSpPr>
              <a:spLocks/>
            </p:cNvSpPr>
            <p:nvPr/>
          </p:nvSpPr>
          <p:spPr bwMode="auto">
            <a:xfrm>
              <a:off x="3973862" y="3506501"/>
              <a:ext cx="119074" cy="101270"/>
            </a:xfrm>
            <a:custGeom>
              <a:avLst/>
              <a:gdLst>
                <a:gd name="T0" fmla="*/ 2147483647 w 217"/>
                <a:gd name="T1" fmla="*/ 2147483647 h 161"/>
                <a:gd name="T2" fmla="*/ 2147483647 w 217"/>
                <a:gd name="T3" fmla="*/ 2147483647 h 161"/>
                <a:gd name="T4" fmla="*/ 2147483647 w 217"/>
                <a:gd name="T5" fmla="*/ 2147483647 h 161"/>
                <a:gd name="T6" fmla="*/ 2147483647 w 217"/>
                <a:gd name="T7" fmla="*/ 2147483647 h 161"/>
                <a:gd name="T8" fmla="*/ 2147483647 w 217"/>
                <a:gd name="T9" fmla="*/ 2147483647 h 161"/>
                <a:gd name="T10" fmla="*/ 2147483647 w 217"/>
                <a:gd name="T11" fmla="*/ 2147483647 h 161"/>
                <a:gd name="T12" fmla="*/ 2147483647 w 217"/>
                <a:gd name="T13" fmla="*/ 2147483647 h 161"/>
                <a:gd name="T14" fmla="*/ 2147483647 w 217"/>
                <a:gd name="T15" fmla="*/ 2147483647 h 161"/>
                <a:gd name="T16" fmla="*/ 2147483647 w 217"/>
                <a:gd name="T17" fmla="*/ 2147483647 h 161"/>
                <a:gd name="T18" fmla="*/ 2147483647 w 217"/>
                <a:gd name="T19" fmla="*/ 2147483647 h 161"/>
                <a:gd name="T20" fmla="*/ 2147483647 w 217"/>
                <a:gd name="T21" fmla="*/ 2147483647 h 161"/>
                <a:gd name="T22" fmla="*/ 2147483647 w 217"/>
                <a:gd name="T23" fmla="*/ 2147483647 h 161"/>
                <a:gd name="T24" fmla="*/ 2147483647 w 217"/>
                <a:gd name="T25" fmla="*/ 2147483647 h 161"/>
                <a:gd name="T26" fmla="*/ 2147483647 w 217"/>
                <a:gd name="T27" fmla="*/ 2147483647 h 161"/>
                <a:gd name="T28" fmla="*/ 2147483647 w 217"/>
                <a:gd name="T29" fmla="*/ 2147483647 h 161"/>
                <a:gd name="T30" fmla="*/ 2147483647 w 217"/>
                <a:gd name="T31" fmla="*/ 2147483647 h 161"/>
                <a:gd name="T32" fmla="*/ 2147483647 w 217"/>
                <a:gd name="T33" fmla="*/ 2147483647 h 161"/>
                <a:gd name="T34" fmla="*/ 2147483647 w 217"/>
                <a:gd name="T35" fmla="*/ 2147483647 h 161"/>
                <a:gd name="T36" fmla="*/ 0 w 217"/>
                <a:gd name="T37" fmla="*/ 2147483647 h 161"/>
                <a:gd name="T38" fmla="*/ 2147483647 w 217"/>
                <a:gd name="T39" fmla="*/ 2147483647 h 161"/>
                <a:gd name="T40" fmla="*/ 2147483647 w 217"/>
                <a:gd name="T41" fmla="*/ 2147483647 h 161"/>
                <a:gd name="T42" fmla="*/ 2147483647 w 217"/>
                <a:gd name="T43" fmla="*/ 2147483647 h 161"/>
                <a:gd name="T44" fmla="*/ 2147483647 w 217"/>
                <a:gd name="T45" fmla="*/ 2147483647 h 161"/>
                <a:gd name="T46" fmla="*/ 2147483647 w 217"/>
                <a:gd name="T47" fmla="*/ 2147483647 h 161"/>
                <a:gd name="T48" fmla="*/ 2147483647 w 217"/>
                <a:gd name="T49" fmla="*/ 2147483647 h 161"/>
                <a:gd name="T50" fmla="*/ 2147483647 w 217"/>
                <a:gd name="T51" fmla="*/ 2147483647 h 161"/>
                <a:gd name="T52" fmla="*/ 2147483647 w 217"/>
                <a:gd name="T53" fmla="*/ 2147483647 h 161"/>
                <a:gd name="T54" fmla="*/ 2147483647 w 217"/>
                <a:gd name="T55" fmla="*/ 0 h 161"/>
                <a:gd name="T56" fmla="*/ 2147483647 w 217"/>
                <a:gd name="T57" fmla="*/ 2147483647 h 161"/>
                <a:gd name="T58" fmla="*/ 2147483647 w 217"/>
                <a:gd name="T59" fmla="*/ 2147483647 h 161"/>
                <a:gd name="T60" fmla="*/ 2147483647 w 217"/>
                <a:gd name="T61" fmla="*/ 2147483647 h 161"/>
                <a:gd name="T62" fmla="*/ 2147483647 w 217"/>
                <a:gd name="T63" fmla="*/ 2147483647 h 161"/>
                <a:gd name="T64" fmla="*/ 2147483647 w 217"/>
                <a:gd name="T65" fmla="*/ 2147483647 h 161"/>
                <a:gd name="T66" fmla="*/ 2147483647 w 217"/>
                <a:gd name="T67" fmla="*/ 2147483647 h 161"/>
                <a:gd name="T68" fmla="*/ 2147483647 w 217"/>
                <a:gd name="T69" fmla="*/ 2147483647 h 161"/>
                <a:gd name="T70" fmla="*/ 2147483647 w 217"/>
                <a:gd name="T71" fmla="*/ 2147483647 h 161"/>
                <a:gd name="T72" fmla="*/ 2147483647 w 217"/>
                <a:gd name="T73" fmla="*/ 2147483647 h 161"/>
                <a:gd name="T74" fmla="*/ 2147483647 w 217"/>
                <a:gd name="T75" fmla="*/ 2147483647 h 161"/>
                <a:gd name="T76" fmla="*/ 2147483647 w 217"/>
                <a:gd name="T77" fmla="*/ 2147483647 h 161"/>
                <a:gd name="T78" fmla="*/ 2147483647 w 217"/>
                <a:gd name="T79" fmla="*/ 2147483647 h 161"/>
                <a:gd name="T80" fmla="*/ 2147483647 w 217"/>
                <a:gd name="T81" fmla="*/ 2147483647 h 161"/>
                <a:gd name="T82" fmla="*/ 2147483647 w 217"/>
                <a:gd name="T83" fmla="*/ 2147483647 h 161"/>
                <a:gd name="T84" fmla="*/ 2147483647 w 217"/>
                <a:gd name="T85" fmla="*/ 2147483647 h 161"/>
                <a:gd name="T86" fmla="*/ 2147483647 w 217"/>
                <a:gd name="T87" fmla="*/ 2147483647 h 161"/>
                <a:gd name="T88" fmla="*/ 2147483647 w 217"/>
                <a:gd name="T89" fmla="*/ 2147483647 h 161"/>
                <a:gd name="T90" fmla="*/ 2147483647 w 217"/>
                <a:gd name="T91" fmla="*/ 2147483647 h 161"/>
                <a:gd name="T92" fmla="*/ 2147483647 w 217"/>
                <a:gd name="T93" fmla="*/ 2147483647 h 161"/>
                <a:gd name="T94" fmla="*/ 2147483647 w 217"/>
                <a:gd name="T95" fmla="*/ 2147483647 h 161"/>
                <a:gd name="T96" fmla="*/ 2147483647 w 217"/>
                <a:gd name="T97" fmla="*/ 2147483647 h 161"/>
                <a:gd name="T98" fmla="*/ 2147483647 w 217"/>
                <a:gd name="T99" fmla="*/ 2147483647 h 161"/>
                <a:gd name="T100" fmla="*/ 2147483647 w 217"/>
                <a:gd name="T101" fmla="*/ 2147483647 h 161"/>
                <a:gd name="T102" fmla="*/ 2147483647 w 217"/>
                <a:gd name="T103" fmla="*/ 2147483647 h 161"/>
                <a:gd name="T104" fmla="*/ 2147483647 w 217"/>
                <a:gd name="T105" fmla="*/ 2147483647 h 161"/>
                <a:gd name="T106" fmla="*/ 2147483647 w 217"/>
                <a:gd name="T107" fmla="*/ 2147483647 h 161"/>
                <a:gd name="T108" fmla="*/ 2147483647 w 217"/>
                <a:gd name="T109" fmla="*/ 2147483647 h 161"/>
                <a:gd name="T110" fmla="*/ 2147483647 w 217"/>
                <a:gd name="T111" fmla="*/ 2147483647 h 161"/>
                <a:gd name="T112" fmla="*/ 2147483647 w 217"/>
                <a:gd name="T113" fmla="*/ 2147483647 h 161"/>
                <a:gd name="T114" fmla="*/ 2147483647 w 217"/>
                <a:gd name="T115" fmla="*/ 2147483647 h 1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7"/>
                <a:gd name="T175" fmla="*/ 0 h 161"/>
                <a:gd name="T176" fmla="*/ 217 w 217"/>
                <a:gd name="T177" fmla="*/ 161 h 16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7" h="161">
                  <a:moveTo>
                    <a:pt x="209" y="146"/>
                  </a:moveTo>
                  <a:lnTo>
                    <a:pt x="158" y="140"/>
                  </a:lnTo>
                  <a:lnTo>
                    <a:pt x="116" y="161"/>
                  </a:lnTo>
                  <a:lnTo>
                    <a:pt x="118" y="127"/>
                  </a:lnTo>
                  <a:lnTo>
                    <a:pt x="113" y="104"/>
                  </a:lnTo>
                  <a:lnTo>
                    <a:pt x="101" y="99"/>
                  </a:lnTo>
                  <a:lnTo>
                    <a:pt x="78" y="131"/>
                  </a:lnTo>
                  <a:lnTo>
                    <a:pt x="63" y="129"/>
                  </a:lnTo>
                  <a:lnTo>
                    <a:pt x="44" y="140"/>
                  </a:lnTo>
                  <a:lnTo>
                    <a:pt x="16" y="150"/>
                  </a:lnTo>
                  <a:lnTo>
                    <a:pt x="8" y="148"/>
                  </a:lnTo>
                  <a:lnTo>
                    <a:pt x="19" y="129"/>
                  </a:lnTo>
                  <a:lnTo>
                    <a:pt x="25" y="114"/>
                  </a:lnTo>
                  <a:lnTo>
                    <a:pt x="16" y="104"/>
                  </a:lnTo>
                  <a:lnTo>
                    <a:pt x="23" y="83"/>
                  </a:lnTo>
                  <a:lnTo>
                    <a:pt x="12" y="83"/>
                  </a:lnTo>
                  <a:lnTo>
                    <a:pt x="10" y="76"/>
                  </a:lnTo>
                  <a:lnTo>
                    <a:pt x="4" y="78"/>
                  </a:lnTo>
                  <a:lnTo>
                    <a:pt x="0" y="70"/>
                  </a:lnTo>
                  <a:lnTo>
                    <a:pt x="4" y="57"/>
                  </a:lnTo>
                  <a:lnTo>
                    <a:pt x="12" y="55"/>
                  </a:lnTo>
                  <a:lnTo>
                    <a:pt x="17" y="53"/>
                  </a:lnTo>
                  <a:lnTo>
                    <a:pt x="40" y="34"/>
                  </a:lnTo>
                  <a:lnTo>
                    <a:pt x="59" y="21"/>
                  </a:lnTo>
                  <a:lnTo>
                    <a:pt x="54" y="11"/>
                  </a:lnTo>
                  <a:lnTo>
                    <a:pt x="76" y="7"/>
                  </a:lnTo>
                  <a:lnTo>
                    <a:pt x="78" y="2"/>
                  </a:lnTo>
                  <a:lnTo>
                    <a:pt x="90" y="0"/>
                  </a:lnTo>
                  <a:lnTo>
                    <a:pt x="88" y="15"/>
                  </a:lnTo>
                  <a:lnTo>
                    <a:pt x="82" y="21"/>
                  </a:lnTo>
                  <a:lnTo>
                    <a:pt x="88" y="32"/>
                  </a:lnTo>
                  <a:lnTo>
                    <a:pt x="97" y="32"/>
                  </a:lnTo>
                  <a:lnTo>
                    <a:pt x="101" y="38"/>
                  </a:lnTo>
                  <a:lnTo>
                    <a:pt x="94" y="40"/>
                  </a:lnTo>
                  <a:lnTo>
                    <a:pt x="95" y="53"/>
                  </a:lnTo>
                  <a:lnTo>
                    <a:pt x="90" y="53"/>
                  </a:lnTo>
                  <a:lnTo>
                    <a:pt x="86" y="45"/>
                  </a:lnTo>
                  <a:lnTo>
                    <a:pt x="76" y="36"/>
                  </a:lnTo>
                  <a:lnTo>
                    <a:pt x="57" y="34"/>
                  </a:lnTo>
                  <a:lnTo>
                    <a:pt x="57" y="40"/>
                  </a:lnTo>
                  <a:lnTo>
                    <a:pt x="52" y="47"/>
                  </a:lnTo>
                  <a:lnTo>
                    <a:pt x="54" y="63"/>
                  </a:lnTo>
                  <a:lnTo>
                    <a:pt x="74" y="63"/>
                  </a:lnTo>
                  <a:lnTo>
                    <a:pt x="82" y="57"/>
                  </a:lnTo>
                  <a:lnTo>
                    <a:pt x="94" y="59"/>
                  </a:lnTo>
                  <a:lnTo>
                    <a:pt x="101" y="64"/>
                  </a:lnTo>
                  <a:lnTo>
                    <a:pt x="109" y="59"/>
                  </a:lnTo>
                  <a:lnTo>
                    <a:pt x="124" y="63"/>
                  </a:lnTo>
                  <a:lnTo>
                    <a:pt x="124" y="70"/>
                  </a:lnTo>
                  <a:lnTo>
                    <a:pt x="143" y="70"/>
                  </a:lnTo>
                  <a:lnTo>
                    <a:pt x="158" y="57"/>
                  </a:lnTo>
                  <a:lnTo>
                    <a:pt x="175" y="61"/>
                  </a:lnTo>
                  <a:lnTo>
                    <a:pt x="175" y="95"/>
                  </a:lnTo>
                  <a:lnTo>
                    <a:pt x="206" y="100"/>
                  </a:lnTo>
                  <a:lnTo>
                    <a:pt x="206" y="131"/>
                  </a:lnTo>
                  <a:lnTo>
                    <a:pt x="215" y="133"/>
                  </a:lnTo>
                  <a:lnTo>
                    <a:pt x="217" y="142"/>
                  </a:lnTo>
                  <a:lnTo>
                    <a:pt x="209" y="146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89" name="Freeform 366"/>
            <p:cNvSpPr>
              <a:spLocks/>
            </p:cNvSpPr>
            <p:nvPr/>
          </p:nvSpPr>
          <p:spPr bwMode="auto">
            <a:xfrm>
              <a:off x="3745637" y="3466924"/>
              <a:ext cx="216097" cy="176932"/>
            </a:xfrm>
            <a:custGeom>
              <a:avLst/>
              <a:gdLst>
                <a:gd name="T0" fmla="*/ 2147483647 w 396"/>
                <a:gd name="T1" fmla="*/ 2147483647 h 285"/>
                <a:gd name="T2" fmla="*/ 2147483647 w 396"/>
                <a:gd name="T3" fmla="*/ 2147483647 h 285"/>
                <a:gd name="T4" fmla="*/ 2147483647 w 396"/>
                <a:gd name="T5" fmla="*/ 2147483647 h 285"/>
                <a:gd name="T6" fmla="*/ 2147483647 w 396"/>
                <a:gd name="T7" fmla="*/ 2147483647 h 285"/>
                <a:gd name="T8" fmla="*/ 2147483647 w 396"/>
                <a:gd name="T9" fmla="*/ 2147483647 h 285"/>
                <a:gd name="T10" fmla="*/ 2147483647 w 396"/>
                <a:gd name="T11" fmla="*/ 2147483647 h 285"/>
                <a:gd name="T12" fmla="*/ 2147483647 w 396"/>
                <a:gd name="T13" fmla="*/ 2147483647 h 285"/>
                <a:gd name="T14" fmla="*/ 2147483647 w 396"/>
                <a:gd name="T15" fmla="*/ 2147483647 h 285"/>
                <a:gd name="T16" fmla="*/ 2147483647 w 396"/>
                <a:gd name="T17" fmla="*/ 2147483647 h 285"/>
                <a:gd name="T18" fmla="*/ 2147483647 w 396"/>
                <a:gd name="T19" fmla="*/ 2147483647 h 285"/>
                <a:gd name="T20" fmla="*/ 2147483647 w 396"/>
                <a:gd name="T21" fmla="*/ 2147483647 h 285"/>
                <a:gd name="T22" fmla="*/ 2147483647 w 396"/>
                <a:gd name="T23" fmla="*/ 2147483647 h 285"/>
                <a:gd name="T24" fmla="*/ 2147483647 w 396"/>
                <a:gd name="T25" fmla="*/ 2147483647 h 285"/>
                <a:gd name="T26" fmla="*/ 2147483647 w 396"/>
                <a:gd name="T27" fmla="*/ 2147483647 h 285"/>
                <a:gd name="T28" fmla="*/ 2147483647 w 396"/>
                <a:gd name="T29" fmla="*/ 2147483647 h 285"/>
                <a:gd name="T30" fmla="*/ 2147483647 w 396"/>
                <a:gd name="T31" fmla="*/ 2147483647 h 285"/>
                <a:gd name="T32" fmla="*/ 2147483647 w 396"/>
                <a:gd name="T33" fmla="*/ 2147483647 h 285"/>
                <a:gd name="T34" fmla="*/ 2147483647 w 396"/>
                <a:gd name="T35" fmla="*/ 2147483647 h 285"/>
                <a:gd name="T36" fmla="*/ 2147483647 w 396"/>
                <a:gd name="T37" fmla="*/ 2147483647 h 285"/>
                <a:gd name="T38" fmla="*/ 2147483647 w 396"/>
                <a:gd name="T39" fmla="*/ 2147483647 h 285"/>
                <a:gd name="T40" fmla="*/ 2147483647 w 396"/>
                <a:gd name="T41" fmla="*/ 2147483647 h 285"/>
                <a:gd name="T42" fmla="*/ 2147483647 w 396"/>
                <a:gd name="T43" fmla="*/ 2147483647 h 285"/>
                <a:gd name="T44" fmla="*/ 2147483647 w 396"/>
                <a:gd name="T45" fmla="*/ 2147483647 h 285"/>
                <a:gd name="T46" fmla="*/ 2147483647 w 396"/>
                <a:gd name="T47" fmla="*/ 2147483647 h 285"/>
                <a:gd name="T48" fmla="*/ 2147483647 w 396"/>
                <a:gd name="T49" fmla="*/ 2147483647 h 285"/>
                <a:gd name="T50" fmla="*/ 2147483647 w 396"/>
                <a:gd name="T51" fmla="*/ 2147483647 h 285"/>
                <a:gd name="T52" fmla="*/ 2147483647 w 396"/>
                <a:gd name="T53" fmla="*/ 2147483647 h 285"/>
                <a:gd name="T54" fmla="*/ 2147483647 w 396"/>
                <a:gd name="T55" fmla="*/ 0 h 285"/>
                <a:gd name="T56" fmla="*/ 2147483647 w 396"/>
                <a:gd name="T57" fmla="*/ 2147483647 h 285"/>
                <a:gd name="T58" fmla="*/ 2147483647 w 396"/>
                <a:gd name="T59" fmla="*/ 2147483647 h 285"/>
                <a:gd name="T60" fmla="*/ 2147483647 w 396"/>
                <a:gd name="T61" fmla="*/ 2147483647 h 285"/>
                <a:gd name="T62" fmla="*/ 2147483647 w 396"/>
                <a:gd name="T63" fmla="*/ 2147483647 h 285"/>
                <a:gd name="T64" fmla="*/ 2147483647 w 396"/>
                <a:gd name="T65" fmla="*/ 2147483647 h 285"/>
                <a:gd name="T66" fmla="*/ 2147483647 w 396"/>
                <a:gd name="T67" fmla="*/ 2147483647 h 285"/>
                <a:gd name="T68" fmla="*/ 2147483647 w 396"/>
                <a:gd name="T69" fmla="*/ 2147483647 h 285"/>
                <a:gd name="T70" fmla="*/ 2147483647 w 396"/>
                <a:gd name="T71" fmla="*/ 2147483647 h 285"/>
                <a:gd name="T72" fmla="*/ 2147483647 w 396"/>
                <a:gd name="T73" fmla="*/ 2147483647 h 28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6"/>
                <a:gd name="T112" fmla="*/ 0 h 285"/>
                <a:gd name="T113" fmla="*/ 396 w 396"/>
                <a:gd name="T114" fmla="*/ 285 h 28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6" h="285">
                  <a:moveTo>
                    <a:pt x="396" y="211"/>
                  </a:moveTo>
                  <a:lnTo>
                    <a:pt x="371" y="207"/>
                  </a:lnTo>
                  <a:lnTo>
                    <a:pt x="354" y="209"/>
                  </a:lnTo>
                  <a:lnTo>
                    <a:pt x="335" y="249"/>
                  </a:lnTo>
                  <a:lnTo>
                    <a:pt x="299" y="260"/>
                  </a:lnTo>
                  <a:lnTo>
                    <a:pt x="278" y="285"/>
                  </a:lnTo>
                  <a:lnTo>
                    <a:pt x="266" y="270"/>
                  </a:lnTo>
                  <a:lnTo>
                    <a:pt x="244" y="264"/>
                  </a:lnTo>
                  <a:lnTo>
                    <a:pt x="244" y="234"/>
                  </a:lnTo>
                  <a:lnTo>
                    <a:pt x="219" y="230"/>
                  </a:lnTo>
                  <a:lnTo>
                    <a:pt x="185" y="198"/>
                  </a:lnTo>
                  <a:lnTo>
                    <a:pt x="141" y="188"/>
                  </a:lnTo>
                  <a:lnTo>
                    <a:pt x="130" y="171"/>
                  </a:lnTo>
                  <a:lnTo>
                    <a:pt x="111" y="183"/>
                  </a:lnTo>
                  <a:lnTo>
                    <a:pt x="82" y="186"/>
                  </a:lnTo>
                  <a:lnTo>
                    <a:pt x="61" y="207"/>
                  </a:lnTo>
                  <a:lnTo>
                    <a:pt x="44" y="209"/>
                  </a:lnTo>
                  <a:lnTo>
                    <a:pt x="38" y="194"/>
                  </a:lnTo>
                  <a:lnTo>
                    <a:pt x="40" y="154"/>
                  </a:lnTo>
                  <a:lnTo>
                    <a:pt x="33" y="139"/>
                  </a:lnTo>
                  <a:lnTo>
                    <a:pt x="17" y="143"/>
                  </a:lnTo>
                  <a:lnTo>
                    <a:pt x="12" y="131"/>
                  </a:lnTo>
                  <a:lnTo>
                    <a:pt x="19" y="126"/>
                  </a:lnTo>
                  <a:lnTo>
                    <a:pt x="35" y="129"/>
                  </a:lnTo>
                  <a:lnTo>
                    <a:pt x="38" y="109"/>
                  </a:lnTo>
                  <a:lnTo>
                    <a:pt x="19" y="103"/>
                  </a:lnTo>
                  <a:lnTo>
                    <a:pt x="14" y="116"/>
                  </a:lnTo>
                  <a:lnTo>
                    <a:pt x="2" y="103"/>
                  </a:lnTo>
                  <a:lnTo>
                    <a:pt x="12" y="74"/>
                  </a:lnTo>
                  <a:lnTo>
                    <a:pt x="21" y="78"/>
                  </a:lnTo>
                  <a:lnTo>
                    <a:pt x="50" y="76"/>
                  </a:lnTo>
                  <a:lnTo>
                    <a:pt x="61" y="65"/>
                  </a:lnTo>
                  <a:lnTo>
                    <a:pt x="44" y="46"/>
                  </a:lnTo>
                  <a:lnTo>
                    <a:pt x="38" y="19"/>
                  </a:lnTo>
                  <a:lnTo>
                    <a:pt x="16" y="25"/>
                  </a:lnTo>
                  <a:lnTo>
                    <a:pt x="14" y="61"/>
                  </a:lnTo>
                  <a:lnTo>
                    <a:pt x="0" y="36"/>
                  </a:lnTo>
                  <a:lnTo>
                    <a:pt x="6" y="25"/>
                  </a:lnTo>
                  <a:lnTo>
                    <a:pt x="21" y="15"/>
                  </a:lnTo>
                  <a:lnTo>
                    <a:pt x="48" y="14"/>
                  </a:lnTo>
                  <a:lnTo>
                    <a:pt x="65" y="27"/>
                  </a:lnTo>
                  <a:lnTo>
                    <a:pt x="71" y="44"/>
                  </a:lnTo>
                  <a:lnTo>
                    <a:pt x="84" y="53"/>
                  </a:lnTo>
                  <a:lnTo>
                    <a:pt x="93" y="52"/>
                  </a:lnTo>
                  <a:lnTo>
                    <a:pt x="116" y="52"/>
                  </a:lnTo>
                  <a:lnTo>
                    <a:pt x="128" y="53"/>
                  </a:lnTo>
                  <a:lnTo>
                    <a:pt x="131" y="50"/>
                  </a:lnTo>
                  <a:lnTo>
                    <a:pt x="128" y="40"/>
                  </a:lnTo>
                  <a:lnTo>
                    <a:pt x="139" y="23"/>
                  </a:lnTo>
                  <a:lnTo>
                    <a:pt x="147" y="25"/>
                  </a:lnTo>
                  <a:lnTo>
                    <a:pt x="147" y="15"/>
                  </a:lnTo>
                  <a:lnTo>
                    <a:pt x="150" y="12"/>
                  </a:lnTo>
                  <a:lnTo>
                    <a:pt x="166" y="23"/>
                  </a:lnTo>
                  <a:lnTo>
                    <a:pt x="169" y="15"/>
                  </a:lnTo>
                  <a:lnTo>
                    <a:pt x="160" y="8"/>
                  </a:lnTo>
                  <a:lnTo>
                    <a:pt x="164" y="0"/>
                  </a:lnTo>
                  <a:lnTo>
                    <a:pt x="198" y="14"/>
                  </a:lnTo>
                  <a:lnTo>
                    <a:pt x="213" y="19"/>
                  </a:lnTo>
                  <a:lnTo>
                    <a:pt x="217" y="31"/>
                  </a:lnTo>
                  <a:lnTo>
                    <a:pt x="209" y="40"/>
                  </a:lnTo>
                  <a:lnTo>
                    <a:pt x="217" y="59"/>
                  </a:lnTo>
                  <a:lnTo>
                    <a:pt x="247" y="61"/>
                  </a:lnTo>
                  <a:lnTo>
                    <a:pt x="257" y="59"/>
                  </a:lnTo>
                  <a:lnTo>
                    <a:pt x="266" y="67"/>
                  </a:lnTo>
                  <a:lnTo>
                    <a:pt x="268" y="88"/>
                  </a:lnTo>
                  <a:lnTo>
                    <a:pt x="283" y="105"/>
                  </a:lnTo>
                  <a:lnTo>
                    <a:pt x="306" y="122"/>
                  </a:lnTo>
                  <a:lnTo>
                    <a:pt x="333" y="152"/>
                  </a:lnTo>
                  <a:lnTo>
                    <a:pt x="350" y="162"/>
                  </a:lnTo>
                  <a:lnTo>
                    <a:pt x="361" y="179"/>
                  </a:lnTo>
                  <a:lnTo>
                    <a:pt x="373" y="177"/>
                  </a:lnTo>
                  <a:lnTo>
                    <a:pt x="392" y="186"/>
                  </a:lnTo>
                  <a:lnTo>
                    <a:pt x="394" y="202"/>
                  </a:lnTo>
                  <a:lnTo>
                    <a:pt x="396" y="211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0" name="Freeform 367"/>
            <p:cNvSpPr>
              <a:spLocks/>
            </p:cNvSpPr>
            <p:nvPr/>
          </p:nvSpPr>
          <p:spPr bwMode="auto">
            <a:xfrm>
              <a:off x="3274854" y="3214330"/>
              <a:ext cx="276737" cy="209525"/>
            </a:xfrm>
            <a:custGeom>
              <a:avLst/>
              <a:gdLst>
                <a:gd name="T0" fmla="*/ 2147483647 w 509"/>
                <a:gd name="T1" fmla="*/ 2147483647 h 336"/>
                <a:gd name="T2" fmla="*/ 2147483647 w 509"/>
                <a:gd name="T3" fmla="*/ 2147483647 h 336"/>
                <a:gd name="T4" fmla="*/ 2147483647 w 509"/>
                <a:gd name="T5" fmla="*/ 2147483647 h 336"/>
                <a:gd name="T6" fmla="*/ 2147483647 w 509"/>
                <a:gd name="T7" fmla="*/ 2147483647 h 336"/>
                <a:gd name="T8" fmla="*/ 2147483647 w 509"/>
                <a:gd name="T9" fmla="*/ 2147483647 h 336"/>
                <a:gd name="T10" fmla="*/ 2147483647 w 509"/>
                <a:gd name="T11" fmla="*/ 2147483647 h 336"/>
                <a:gd name="T12" fmla="*/ 2147483647 w 509"/>
                <a:gd name="T13" fmla="*/ 2147483647 h 336"/>
                <a:gd name="T14" fmla="*/ 2147483647 w 509"/>
                <a:gd name="T15" fmla="*/ 2147483647 h 336"/>
                <a:gd name="T16" fmla="*/ 2147483647 w 509"/>
                <a:gd name="T17" fmla="*/ 2147483647 h 336"/>
                <a:gd name="T18" fmla="*/ 2147483647 w 509"/>
                <a:gd name="T19" fmla="*/ 2147483647 h 336"/>
                <a:gd name="T20" fmla="*/ 2147483647 w 509"/>
                <a:gd name="T21" fmla="*/ 2147483647 h 336"/>
                <a:gd name="T22" fmla="*/ 2147483647 w 509"/>
                <a:gd name="T23" fmla="*/ 2147483647 h 336"/>
                <a:gd name="T24" fmla="*/ 2147483647 w 509"/>
                <a:gd name="T25" fmla="*/ 2147483647 h 336"/>
                <a:gd name="T26" fmla="*/ 2147483647 w 509"/>
                <a:gd name="T27" fmla="*/ 2147483647 h 336"/>
                <a:gd name="T28" fmla="*/ 2147483647 w 509"/>
                <a:gd name="T29" fmla="*/ 2147483647 h 336"/>
                <a:gd name="T30" fmla="*/ 2147483647 w 509"/>
                <a:gd name="T31" fmla="*/ 0 h 336"/>
                <a:gd name="T32" fmla="*/ 2147483647 w 509"/>
                <a:gd name="T33" fmla="*/ 0 h 336"/>
                <a:gd name="T34" fmla="*/ 2147483647 w 509"/>
                <a:gd name="T35" fmla="*/ 2147483647 h 336"/>
                <a:gd name="T36" fmla="*/ 2147483647 w 509"/>
                <a:gd name="T37" fmla="*/ 2147483647 h 336"/>
                <a:gd name="T38" fmla="*/ 2147483647 w 509"/>
                <a:gd name="T39" fmla="*/ 2147483647 h 336"/>
                <a:gd name="T40" fmla="*/ 2147483647 w 509"/>
                <a:gd name="T41" fmla="*/ 2147483647 h 336"/>
                <a:gd name="T42" fmla="*/ 2147483647 w 509"/>
                <a:gd name="T43" fmla="*/ 2147483647 h 336"/>
                <a:gd name="T44" fmla="*/ 2147483647 w 509"/>
                <a:gd name="T45" fmla="*/ 2147483647 h 336"/>
                <a:gd name="T46" fmla="*/ 2147483647 w 509"/>
                <a:gd name="T47" fmla="*/ 2147483647 h 336"/>
                <a:gd name="T48" fmla="*/ 2147483647 w 509"/>
                <a:gd name="T49" fmla="*/ 2147483647 h 336"/>
                <a:gd name="T50" fmla="*/ 2147483647 w 509"/>
                <a:gd name="T51" fmla="*/ 2147483647 h 336"/>
                <a:gd name="T52" fmla="*/ 2147483647 w 509"/>
                <a:gd name="T53" fmla="*/ 2147483647 h 336"/>
                <a:gd name="T54" fmla="*/ 2147483647 w 509"/>
                <a:gd name="T55" fmla="*/ 2147483647 h 336"/>
                <a:gd name="T56" fmla="*/ 2147483647 w 509"/>
                <a:gd name="T57" fmla="*/ 2147483647 h 336"/>
                <a:gd name="T58" fmla="*/ 2147483647 w 509"/>
                <a:gd name="T59" fmla="*/ 2147483647 h 336"/>
                <a:gd name="T60" fmla="*/ 2147483647 w 509"/>
                <a:gd name="T61" fmla="*/ 2147483647 h 336"/>
                <a:gd name="T62" fmla="*/ 2147483647 w 509"/>
                <a:gd name="T63" fmla="*/ 2147483647 h 336"/>
                <a:gd name="T64" fmla="*/ 2147483647 w 509"/>
                <a:gd name="T65" fmla="*/ 2147483647 h 336"/>
                <a:gd name="T66" fmla="*/ 2147483647 w 509"/>
                <a:gd name="T67" fmla="*/ 2147483647 h 336"/>
                <a:gd name="T68" fmla="*/ 2147483647 w 509"/>
                <a:gd name="T69" fmla="*/ 2147483647 h 336"/>
                <a:gd name="T70" fmla="*/ 2147483647 w 509"/>
                <a:gd name="T71" fmla="*/ 2147483647 h 336"/>
                <a:gd name="T72" fmla="*/ 2147483647 w 509"/>
                <a:gd name="T73" fmla="*/ 2147483647 h 336"/>
                <a:gd name="T74" fmla="*/ 2147483647 w 509"/>
                <a:gd name="T75" fmla="*/ 2147483647 h 336"/>
                <a:gd name="T76" fmla="*/ 2147483647 w 509"/>
                <a:gd name="T77" fmla="*/ 2147483647 h 336"/>
                <a:gd name="T78" fmla="*/ 2147483647 w 509"/>
                <a:gd name="T79" fmla="*/ 2147483647 h 336"/>
                <a:gd name="T80" fmla="*/ 2147483647 w 509"/>
                <a:gd name="T81" fmla="*/ 2147483647 h 336"/>
                <a:gd name="T82" fmla="*/ 2147483647 w 509"/>
                <a:gd name="T83" fmla="*/ 2147483647 h 336"/>
                <a:gd name="T84" fmla="*/ 2147483647 w 509"/>
                <a:gd name="T85" fmla="*/ 2147483647 h 336"/>
                <a:gd name="T86" fmla="*/ 2147483647 w 509"/>
                <a:gd name="T87" fmla="*/ 2147483647 h 336"/>
                <a:gd name="T88" fmla="*/ 2147483647 w 509"/>
                <a:gd name="T89" fmla="*/ 2147483647 h 336"/>
                <a:gd name="T90" fmla="*/ 2147483647 w 509"/>
                <a:gd name="T91" fmla="*/ 2147483647 h 336"/>
                <a:gd name="T92" fmla="*/ 2147483647 w 509"/>
                <a:gd name="T93" fmla="*/ 2147483647 h 336"/>
                <a:gd name="T94" fmla="*/ 2147483647 w 509"/>
                <a:gd name="T95" fmla="*/ 2147483647 h 336"/>
                <a:gd name="T96" fmla="*/ 2147483647 w 509"/>
                <a:gd name="T97" fmla="*/ 2147483647 h 336"/>
                <a:gd name="T98" fmla="*/ 2147483647 w 509"/>
                <a:gd name="T99" fmla="*/ 2147483647 h 336"/>
                <a:gd name="T100" fmla="*/ 2147483647 w 509"/>
                <a:gd name="T101" fmla="*/ 2147483647 h 336"/>
                <a:gd name="T102" fmla="*/ 2147483647 w 509"/>
                <a:gd name="T103" fmla="*/ 2147483647 h 336"/>
                <a:gd name="T104" fmla="*/ 2147483647 w 509"/>
                <a:gd name="T105" fmla="*/ 2147483647 h 336"/>
                <a:gd name="T106" fmla="*/ 2147483647 w 509"/>
                <a:gd name="T107" fmla="*/ 2147483647 h 336"/>
                <a:gd name="T108" fmla="*/ 2147483647 w 509"/>
                <a:gd name="T109" fmla="*/ 2147483647 h 336"/>
                <a:gd name="T110" fmla="*/ 2147483647 w 509"/>
                <a:gd name="T111" fmla="*/ 2147483647 h 336"/>
                <a:gd name="T112" fmla="*/ 2147483647 w 509"/>
                <a:gd name="T113" fmla="*/ 2147483647 h 336"/>
                <a:gd name="T114" fmla="*/ 2147483647 w 509"/>
                <a:gd name="T115" fmla="*/ 2147483647 h 336"/>
                <a:gd name="T116" fmla="*/ 2147483647 w 509"/>
                <a:gd name="T117" fmla="*/ 2147483647 h 336"/>
                <a:gd name="T118" fmla="*/ 0 w 509"/>
                <a:gd name="T119" fmla="*/ 2147483647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09"/>
                <a:gd name="T181" fmla="*/ 0 h 336"/>
                <a:gd name="T182" fmla="*/ 509 w 509"/>
                <a:gd name="T183" fmla="*/ 336 h 3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09" h="336">
                  <a:moveTo>
                    <a:pt x="7" y="142"/>
                  </a:moveTo>
                  <a:lnTo>
                    <a:pt x="21" y="142"/>
                  </a:lnTo>
                  <a:lnTo>
                    <a:pt x="11" y="129"/>
                  </a:lnTo>
                  <a:lnTo>
                    <a:pt x="26" y="108"/>
                  </a:lnTo>
                  <a:lnTo>
                    <a:pt x="47" y="95"/>
                  </a:lnTo>
                  <a:lnTo>
                    <a:pt x="55" y="85"/>
                  </a:lnTo>
                  <a:lnTo>
                    <a:pt x="43" y="76"/>
                  </a:lnTo>
                  <a:lnTo>
                    <a:pt x="47" y="64"/>
                  </a:lnTo>
                  <a:lnTo>
                    <a:pt x="38" y="36"/>
                  </a:lnTo>
                  <a:lnTo>
                    <a:pt x="38" y="26"/>
                  </a:lnTo>
                  <a:lnTo>
                    <a:pt x="53" y="36"/>
                  </a:lnTo>
                  <a:lnTo>
                    <a:pt x="64" y="15"/>
                  </a:lnTo>
                  <a:lnTo>
                    <a:pt x="78" y="13"/>
                  </a:lnTo>
                  <a:lnTo>
                    <a:pt x="102" y="13"/>
                  </a:lnTo>
                  <a:lnTo>
                    <a:pt x="114" y="24"/>
                  </a:lnTo>
                  <a:lnTo>
                    <a:pt x="142" y="21"/>
                  </a:lnTo>
                  <a:lnTo>
                    <a:pt x="154" y="30"/>
                  </a:lnTo>
                  <a:lnTo>
                    <a:pt x="159" y="40"/>
                  </a:lnTo>
                  <a:lnTo>
                    <a:pt x="167" y="30"/>
                  </a:lnTo>
                  <a:lnTo>
                    <a:pt x="178" y="36"/>
                  </a:lnTo>
                  <a:lnTo>
                    <a:pt x="180" y="30"/>
                  </a:lnTo>
                  <a:lnTo>
                    <a:pt x="190" y="38"/>
                  </a:lnTo>
                  <a:lnTo>
                    <a:pt x="197" y="30"/>
                  </a:lnTo>
                  <a:lnTo>
                    <a:pt x="205" y="40"/>
                  </a:lnTo>
                  <a:lnTo>
                    <a:pt x="222" y="34"/>
                  </a:lnTo>
                  <a:lnTo>
                    <a:pt x="241" y="47"/>
                  </a:lnTo>
                  <a:lnTo>
                    <a:pt x="245" y="40"/>
                  </a:lnTo>
                  <a:lnTo>
                    <a:pt x="241" y="26"/>
                  </a:lnTo>
                  <a:lnTo>
                    <a:pt x="254" y="3"/>
                  </a:lnTo>
                  <a:lnTo>
                    <a:pt x="266" y="5"/>
                  </a:lnTo>
                  <a:lnTo>
                    <a:pt x="275" y="13"/>
                  </a:lnTo>
                  <a:lnTo>
                    <a:pt x="285" y="0"/>
                  </a:lnTo>
                  <a:lnTo>
                    <a:pt x="296" y="5"/>
                  </a:lnTo>
                  <a:lnTo>
                    <a:pt x="313" y="0"/>
                  </a:lnTo>
                  <a:lnTo>
                    <a:pt x="328" y="2"/>
                  </a:lnTo>
                  <a:lnTo>
                    <a:pt x="338" y="17"/>
                  </a:lnTo>
                  <a:lnTo>
                    <a:pt x="344" y="17"/>
                  </a:lnTo>
                  <a:lnTo>
                    <a:pt x="342" y="36"/>
                  </a:lnTo>
                  <a:lnTo>
                    <a:pt x="368" y="43"/>
                  </a:lnTo>
                  <a:lnTo>
                    <a:pt x="378" y="59"/>
                  </a:lnTo>
                  <a:lnTo>
                    <a:pt x="380" y="87"/>
                  </a:lnTo>
                  <a:lnTo>
                    <a:pt x="403" y="89"/>
                  </a:lnTo>
                  <a:lnTo>
                    <a:pt x="412" y="98"/>
                  </a:lnTo>
                  <a:lnTo>
                    <a:pt x="422" y="89"/>
                  </a:lnTo>
                  <a:lnTo>
                    <a:pt x="439" y="85"/>
                  </a:lnTo>
                  <a:lnTo>
                    <a:pt x="441" y="98"/>
                  </a:lnTo>
                  <a:lnTo>
                    <a:pt x="444" y="102"/>
                  </a:lnTo>
                  <a:lnTo>
                    <a:pt x="458" y="104"/>
                  </a:lnTo>
                  <a:lnTo>
                    <a:pt x="461" y="112"/>
                  </a:lnTo>
                  <a:lnTo>
                    <a:pt x="471" y="106"/>
                  </a:lnTo>
                  <a:lnTo>
                    <a:pt x="479" y="116"/>
                  </a:lnTo>
                  <a:lnTo>
                    <a:pt x="509" y="129"/>
                  </a:lnTo>
                  <a:lnTo>
                    <a:pt x="498" y="142"/>
                  </a:lnTo>
                  <a:lnTo>
                    <a:pt x="503" y="152"/>
                  </a:lnTo>
                  <a:lnTo>
                    <a:pt x="498" y="157"/>
                  </a:lnTo>
                  <a:lnTo>
                    <a:pt x="505" y="167"/>
                  </a:lnTo>
                  <a:lnTo>
                    <a:pt x="496" y="190"/>
                  </a:lnTo>
                  <a:lnTo>
                    <a:pt x="475" y="192"/>
                  </a:lnTo>
                  <a:lnTo>
                    <a:pt x="461" y="222"/>
                  </a:lnTo>
                  <a:lnTo>
                    <a:pt x="446" y="218"/>
                  </a:lnTo>
                  <a:lnTo>
                    <a:pt x="408" y="235"/>
                  </a:lnTo>
                  <a:lnTo>
                    <a:pt x="391" y="247"/>
                  </a:lnTo>
                  <a:lnTo>
                    <a:pt x="382" y="245"/>
                  </a:lnTo>
                  <a:lnTo>
                    <a:pt x="372" y="254"/>
                  </a:lnTo>
                  <a:lnTo>
                    <a:pt x="363" y="247"/>
                  </a:lnTo>
                  <a:lnTo>
                    <a:pt x="349" y="262"/>
                  </a:lnTo>
                  <a:lnTo>
                    <a:pt x="378" y="294"/>
                  </a:lnTo>
                  <a:lnTo>
                    <a:pt x="410" y="290"/>
                  </a:lnTo>
                  <a:lnTo>
                    <a:pt x="404" y="311"/>
                  </a:lnTo>
                  <a:lnTo>
                    <a:pt x="391" y="313"/>
                  </a:lnTo>
                  <a:lnTo>
                    <a:pt x="380" y="307"/>
                  </a:lnTo>
                  <a:lnTo>
                    <a:pt x="368" y="319"/>
                  </a:lnTo>
                  <a:lnTo>
                    <a:pt x="351" y="323"/>
                  </a:lnTo>
                  <a:lnTo>
                    <a:pt x="334" y="336"/>
                  </a:lnTo>
                  <a:lnTo>
                    <a:pt x="313" y="330"/>
                  </a:lnTo>
                  <a:lnTo>
                    <a:pt x="323" y="323"/>
                  </a:lnTo>
                  <a:lnTo>
                    <a:pt x="325" y="305"/>
                  </a:lnTo>
                  <a:lnTo>
                    <a:pt x="309" y="296"/>
                  </a:lnTo>
                  <a:lnTo>
                    <a:pt x="292" y="294"/>
                  </a:lnTo>
                  <a:lnTo>
                    <a:pt x="315" y="273"/>
                  </a:lnTo>
                  <a:lnTo>
                    <a:pt x="328" y="269"/>
                  </a:lnTo>
                  <a:lnTo>
                    <a:pt x="323" y="264"/>
                  </a:lnTo>
                  <a:lnTo>
                    <a:pt x="309" y="260"/>
                  </a:lnTo>
                  <a:lnTo>
                    <a:pt x="266" y="262"/>
                  </a:lnTo>
                  <a:lnTo>
                    <a:pt x="279" y="252"/>
                  </a:lnTo>
                  <a:lnTo>
                    <a:pt x="262" y="247"/>
                  </a:lnTo>
                  <a:lnTo>
                    <a:pt x="275" y="241"/>
                  </a:lnTo>
                  <a:lnTo>
                    <a:pt x="247" y="245"/>
                  </a:lnTo>
                  <a:lnTo>
                    <a:pt x="235" y="260"/>
                  </a:lnTo>
                  <a:lnTo>
                    <a:pt x="224" y="250"/>
                  </a:lnTo>
                  <a:lnTo>
                    <a:pt x="220" y="258"/>
                  </a:lnTo>
                  <a:lnTo>
                    <a:pt x="232" y="267"/>
                  </a:lnTo>
                  <a:lnTo>
                    <a:pt x="220" y="285"/>
                  </a:lnTo>
                  <a:lnTo>
                    <a:pt x="207" y="294"/>
                  </a:lnTo>
                  <a:lnTo>
                    <a:pt x="207" y="305"/>
                  </a:lnTo>
                  <a:lnTo>
                    <a:pt x="195" y="296"/>
                  </a:lnTo>
                  <a:lnTo>
                    <a:pt x="182" y="305"/>
                  </a:lnTo>
                  <a:lnTo>
                    <a:pt x="171" y="302"/>
                  </a:lnTo>
                  <a:lnTo>
                    <a:pt x="163" y="294"/>
                  </a:lnTo>
                  <a:lnTo>
                    <a:pt x="178" y="288"/>
                  </a:lnTo>
                  <a:lnTo>
                    <a:pt x="186" y="283"/>
                  </a:lnTo>
                  <a:lnTo>
                    <a:pt x="186" y="271"/>
                  </a:lnTo>
                  <a:lnTo>
                    <a:pt x="190" y="260"/>
                  </a:lnTo>
                  <a:lnTo>
                    <a:pt x="197" y="262"/>
                  </a:lnTo>
                  <a:lnTo>
                    <a:pt x="201" y="254"/>
                  </a:lnTo>
                  <a:lnTo>
                    <a:pt x="209" y="260"/>
                  </a:lnTo>
                  <a:lnTo>
                    <a:pt x="218" y="258"/>
                  </a:lnTo>
                  <a:lnTo>
                    <a:pt x="216" y="237"/>
                  </a:lnTo>
                  <a:lnTo>
                    <a:pt x="207" y="218"/>
                  </a:lnTo>
                  <a:lnTo>
                    <a:pt x="203" y="203"/>
                  </a:lnTo>
                  <a:lnTo>
                    <a:pt x="180" y="186"/>
                  </a:lnTo>
                  <a:lnTo>
                    <a:pt x="171" y="188"/>
                  </a:lnTo>
                  <a:lnTo>
                    <a:pt x="163" y="180"/>
                  </a:lnTo>
                  <a:lnTo>
                    <a:pt x="156" y="184"/>
                  </a:lnTo>
                  <a:lnTo>
                    <a:pt x="152" y="174"/>
                  </a:lnTo>
                  <a:lnTo>
                    <a:pt x="129" y="180"/>
                  </a:lnTo>
                  <a:lnTo>
                    <a:pt x="85" y="197"/>
                  </a:lnTo>
                  <a:lnTo>
                    <a:pt x="30" y="186"/>
                  </a:lnTo>
                  <a:lnTo>
                    <a:pt x="21" y="193"/>
                  </a:lnTo>
                  <a:lnTo>
                    <a:pt x="0" y="169"/>
                  </a:lnTo>
                  <a:lnTo>
                    <a:pt x="7" y="142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1" name="Freeform 368"/>
            <p:cNvSpPr>
              <a:spLocks/>
            </p:cNvSpPr>
            <p:nvPr/>
          </p:nvSpPr>
          <p:spPr bwMode="auto">
            <a:xfrm>
              <a:off x="3796354" y="3395918"/>
              <a:ext cx="267917" cy="203704"/>
            </a:xfrm>
            <a:custGeom>
              <a:avLst/>
              <a:gdLst>
                <a:gd name="T0" fmla="*/ 2147483647 w 492"/>
                <a:gd name="T1" fmla="*/ 2147483647 h 327"/>
                <a:gd name="T2" fmla="*/ 2147483647 w 492"/>
                <a:gd name="T3" fmla="*/ 2147483647 h 327"/>
                <a:gd name="T4" fmla="*/ 2147483647 w 492"/>
                <a:gd name="T5" fmla="*/ 2147483647 h 327"/>
                <a:gd name="T6" fmla="*/ 2147483647 w 492"/>
                <a:gd name="T7" fmla="*/ 2147483647 h 327"/>
                <a:gd name="T8" fmla="*/ 2147483647 w 492"/>
                <a:gd name="T9" fmla="*/ 2147483647 h 327"/>
                <a:gd name="T10" fmla="*/ 2147483647 w 492"/>
                <a:gd name="T11" fmla="*/ 2147483647 h 327"/>
                <a:gd name="T12" fmla="*/ 2147483647 w 492"/>
                <a:gd name="T13" fmla="*/ 2147483647 h 327"/>
                <a:gd name="T14" fmla="*/ 2147483647 w 492"/>
                <a:gd name="T15" fmla="*/ 2147483647 h 327"/>
                <a:gd name="T16" fmla="*/ 2147483647 w 492"/>
                <a:gd name="T17" fmla="*/ 2147483647 h 327"/>
                <a:gd name="T18" fmla="*/ 2147483647 w 492"/>
                <a:gd name="T19" fmla="*/ 2147483647 h 327"/>
                <a:gd name="T20" fmla="*/ 2147483647 w 492"/>
                <a:gd name="T21" fmla="*/ 2147483647 h 327"/>
                <a:gd name="T22" fmla="*/ 2147483647 w 492"/>
                <a:gd name="T23" fmla="*/ 2147483647 h 327"/>
                <a:gd name="T24" fmla="*/ 2147483647 w 492"/>
                <a:gd name="T25" fmla="*/ 2147483647 h 327"/>
                <a:gd name="T26" fmla="*/ 2147483647 w 492"/>
                <a:gd name="T27" fmla="*/ 2147483647 h 327"/>
                <a:gd name="T28" fmla="*/ 2147483647 w 492"/>
                <a:gd name="T29" fmla="*/ 2147483647 h 327"/>
                <a:gd name="T30" fmla="*/ 0 w 492"/>
                <a:gd name="T31" fmla="*/ 2147483647 h 327"/>
                <a:gd name="T32" fmla="*/ 2147483647 w 492"/>
                <a:gd name="T33" fmla="*/ 0 h 327"/>
                <a:gd name="T34" fmla="*/ 2147483647 w 492"/>
                <a:gd name="T35" fmla="*/ 2147483647 h 327"/>
                <a:gd name="T36" fmla="*/ 2147483647 w 492"/>
                <a:gd name="T37" fmla="*/ 2147483647 h 327"/>
                <a:gd name="T38" fmla="*/ 2147483647 w 492"/>
                <a:gd name="T39" fmla="*/ 2147483647 h 327"/>
                <a:gd name="T40" fmla="*/ 2147483647 w 492"/>
                <a:gd name="T41" fmla="*/ 2147483647 h 327"/>
                <a:gd name="T42" fmla="*/ 2147483647 w 492"/>
                <a:gd name="T43" fmla="*/ 2147483647 h 327"/>
                <a:gd name="T44" fmla="*/ 2147483647 w 492"/>
                <a:gd name="T45" fmla="*/ 2147483647 h 327"/>
                <a:gd name="T46" fmla="*/ 2147483647 w 492"/>
                <a:gd name="T47" fmla="*/ 2147483647 h 327"/>
                <a:gd name="T48" fmla="*/ 2147483647 w 492"/>
                <a:gd name="T49" fmla="*/ 2147483647 h 327"/>
                <a:gd name="T50" fmla="*/ 2147483647 w 492"/>
                <a:gd name="T51" fmla="*/ 2147483647 h 327"/>
                <a:gd name="T52" fmla="*/ 2147483647 w 492"/>
                <a:gd name="T53" fmla="*/ 2147483647 h 327"/>
                <a:gd name="T54" fmla="*/ 2147483647 w 492"/>
                <a:gd name="T55" fmla="*/ 2147483647 h 327"/>
                <a:gd name="T56" fmla="*/ 2147483647 w 492"/>
                <a:gd name="T57" fmla="*/ 2147483647 h 327"/>
                <a:gd name="T58" fmla="*/ 2147483647 w 492"/>
                <a:gd name="T59" fmla="*/ 2147483647 h 327"/>
                <a:gd name="T60" fmla="*/ 2147483647 w 492"/>
                <a:gd name="T61" fmla="*/ 2147483647 h 327"/>
                <a:gd name="T62" fmla="*/ 2147483647 w 492"/>
                <a:gd name="T63" fmla="*/ 2147483647 h 327"/>
                <a:gd name="T64" fmla="*/ 2147483647 w 492"/>
                <a:gd name="T65" fmla="*/ 2147483647 h 327"/>
                <a:gd name="T66" fmla="*/ 2147483647 w 492"/>
                <a:gd name="T67" fmla="*/ 2147483647 h 327"/>
                <a:gd name="T68" fmla="*/ 2147483647 w 492"/>
                <a:gd name="T69" fmla="*/ 2147483647 h 327"/>
                <a:gd name="T70" fmla="*/ 2147483647 w 492"/>
                <a:gd name="T71" fmla="*/ 2147483647 h 327"/>
                <a:gd name="T72" fmla="*/ 2147483647 w 492"/>
                <a:gd name="T73" fmla="*/ 2147483647 h 327"/>
                <a:gd name="T74" fmla="*/ 2147483647 w 492"/>
                <a:gd name="T75" fmla="*/ 2147483647 h 327"/>
                <a:gd name="T76" fmla="*/ 2147483647 w 492"/>
                <a:gd name="T77" fmla="*/ 2147483647 h 327"/>
                <a:gd name="T78" fmla="*/ 2147483647 w 492"/>
                <a:gd name="T79" fmla="*/ 2147483647 h 327"/>
                <a:gd name="T80" fmla="*/ 2147483647 w 492"/>
                <a:gd name="T81" fmla="*/ 2147483647 h 327"/>
                <a:gd name="T82" fmla="*/ 2147483647 w 492"/>
                <a:gd name="T83" fmla="*/ 2147483647 h 327"/>
                <a:gd name="T84" fmla="*/ 2147483647 w 492"/>
                <a:gd name="T85" fmla="*/ 2147483647 h 327"/>
                <a:gd name="T86" fmla="*/ 2147483647 w 492"/>
                <a:gd name="T87" fmla="*/ 2147483647 h 327"/>
                <a:gd name="T88" fmla="*/ 2147483647 w 492"/>
                <a:gd name="T89" fmla="*/ 2147483647 h 327"/>
                <a:gd name="T90" fmla="*/ 2147483647 w 492"/>
                <a:gd name="T91" fmla="*/ 2147483647 h 327"/>
                <a:gd name="T92" fmla="*/ 2147483647 w 492"/>
                <a:gd name="T93" fmla="*/ 2147483647 h 327"/>
                <a:gd name="T94" fmla="*/ 2147483647 w 492"/>
                <a:gd name="T95" fmla="*/ 2147483647 h 327"/>
                <a:gd name="T96" fmla="*/ 2147483647 w 492"/>
                <a:gd name="T97" fmla="*/ 2147483647 h 327"/>
                <a:gd name="T98" fmla="*/ 2147483647 w 492"/>
                <a:gd name="T99" fmla="*/ 2147483647 h 32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92"/>
                <a:gd name="T151" fmla="*/ 0 h 327"/>
                <a:gd name="T152" fmla="*/ 492 w 492"/>
                <a:gd name="T153" fmla="*/ 327 h 32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92" h="327">
                  <a:moveTo>
                    <a:pt x="336" y="327"/>
                  </a:moveTo>
                  <a:lnTo>
                    <a:pt x="304" y="325"/>
                  </a:lnTo>
                  <a:lnTo>
                    <a:pt x="302" y="316"/>
                  </a:lnTo>
                  <a:lnTo>
                    <a:pt x="300" y="300"/>
                  </a:lnTo>
                  <a:lnTo>
                    <a:pt x="279" y="291"/>
                  </a:lnTo>
                  <a:lnTo>
                    <a:pt x="267" y="291"/>
                  </a:lnTo>
                  <a:lnTo>
                    <a:pt x="258" y="276"/>
                  </a:lnTo>
                  <a:lnTo>
                    <a:pt x="241" y="266"/>
                  </a:lnTo>
                  <a:lnTo>
                    <a:pt x="214" y="236"/>
                  </a:lnTo>
                  <a:lnTo>
                    <a:pt x="191" y="219"/>
                  </a:lnTo>
                  <a:lnTo>
                    <a:pt x="176" y="200"/>
                  </a:lnTo>
                  <a:lnTo>
                    <a:pt x="174" y="181"/>
                  </a:lnTo>
                  <a:lnTo>
                    <a:pt x="163" y="171"/>
                  </a:lnTo>
                  <a:lnTo>
                    <a:pt x="153" y="175"/>
                  </a:lnTo>
                  <a:lnTo>
                    <a:pt x="125" y="173"/>
                  </a:lnTo>
                  <a:lnTo>
                    <a:pt x="117" y="154"/>
                  </a:lnTo>
                  <a:lnTo>
                    <a:pt x="123" y="143"/>
                  </a:lnTo>
                  <a:lnTo>
                    <a:pt x="119" y="133"/>
                  </a:lnTo>
                  <a:lnTo>
                    <a:pt x="106" y="12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76" y="129"/>
                  </a:lnTo>
                  <a:lnTo>
                    <a:pt x="72" y="137"/>
                  </a:lnTo>
                  <a:lnTo>
                    <a:pt x="57" y="124"/>
                  </a:lnTo>
                  <a:lnTo>
                    <a:pt x="55" y="128"/>
                  </a:lnTo>
                  <a:lnTo>
                    <a:pt x="55" y="137"/>
                  </a:lnTo>
                  <a:lnTo>
                    <a:pt x="45" y="137"/>
                  </a:lnTo>
                  <a:lnTo>
                    <a:pt x="36" y="152"/>
                  </a:lnTo>
                  <a:lnTo>
                    <a:pt x="38" y="162"/>
                  </a:lnTo>
                  <a:lnTo>
                    <a:pt x="34" y="167"/>
                  </a:lnTo>
                  <a:lnTo>
                    <a:pt x="22" y="164"/>
                  </a:lnTo>
                  <a:lnTo>
                    <a:pt x="0" y="166"/>
                  </a:lnTo>
                  <a:lnTo>
                    <a:pt x="0" y="25"/>
                  </a:lnTo>
                  <a:lnTo>
                    <a:pt x="76" y="0"/>
                  </a:lnTo>
                  <a:lnTo>
                    <a:pt x="66" y="19"/>
                  </a:lnTo>
                  <a:lnTo>
                    <a:pt x="68" y="80"/>
                  </a:lnTo>
                  <a:lnTo>
                    <a:pt x="85" y="76"/>
                  </a:lnTo>
                  <a:lnTo>
                    <a:pt x="91" y="101"/>
                  </a:lnTo>
                  <a:lnTo>
                    <a:pt x="96" y="78"/>
                  </a:lnTo>
                  <a:lnTo>
                    <a:pt x="110" y="84"/>
                  </a:lnTo>
                  <a:lnTo>
                    <a:pt x="125" y="86"/>
                  </a:lnTo>
                  <a:lnTo>
                    <a:pt x="140" y="65"/>
                  </a:lnTo>
                  <a:lnTo>
                    <a:pt x="148" y="67"/>
                  </a:lnTo>
                  <a:lnTo>
                    <a:pt x="155" y="55"/>
                  </a:lnTo>
                  <a:lnTo>
                    <a:pt x="178" y="84"/>
                  </a:lnTo>
                  <a:lnTo>
                    <a:pt x="237" y="82"/>
                  </a:lnTo>
                  <a:lnTo>
                    <a:pt x="247" y="72"/>
                  </a:lnTo>
                  <a:lnTo>
                    <a:pt x="267" y="88"/>
                  </a:lnTo>
                  <a:lnTo>
                    <a:pt x="275" y="107"/>
                  </a:lnTo>
                  <a:lnTo>
                    <a:pt x="285" y="107"/>
                  </a:lnTo>
                  <a:lnTo>
                    <a:pt x="285" y="131"/>
                  </a:lnTo>
                  <a:lnTo>
                    <a:pt x="275" y="131"/>
                  </a:lnTo>
                  <a:lnTo>
                    <a:pt x="271" y="145"/>
                  </a:lnTo>
                  <a:lnTo>
                    <a:pt x="296" y="150"/>
                  </a:lnTo>
                  <a:lnTo>
                    <a:pt x="300" y="169"/>
                  </a:lnTo>
                  <a:lnTo>
                    <a:pt x="357" y="181"/>
                  </a:lnTo>
                  <a:lnTo>
                    <a:pt x="370" y="164"/>
                  </a:lnTo>
                  <a:lnTo>
                    <a:pt x="406" y="135"/>
                  </a:lnTo>
                  <a:lnTo>
                    <a:pt x="431" y="126"/>
                  </a:lnTo>
                  <a:lnTo>
                    <a:pt x="439" y="131"/>
                  </a:lnTo>
                  <a:lnTo>
                    <a:pt x="440" y="141"/>
                  </a:lnTo>
                  <a:lnTo>
                    <a:pt x="414" y="154"/>
                  </a:lnTo>
                  <a:lnTo>
                    <a:pt x="412" y="164"/>
                  </a:lnTo>
                  <a:lnTo>
                    <a:pt x="420" y="164"/>
                  </a:lnTo>
                  <a:lnTo>
                    <a:pt x="425" y="171"/>
                  </a:lnTo>
                  <a:lnTo>
                    <a:pt x="446" y="167"/>
                  </a:lnTo>
                  <a:lnTo>
                    <a:pt x="461" y="177"/>
                  </a:lnTo>
                  <a:lnTo>
                    <a:pt x="473" y="185"/>
                  </a:lnTo>
                  <a:lnTo>
                    <a:pt x="492" y="185"/>
                  </a:lnTo>
                  <a:lnTo>
                    <a:pt x="492" y="192"/>
                  </a:lnTo>
                  <a:lnTo>
                    <a:pt x="482" y="200"/>
                  </a:lnTo>
                  <a:lnTo>
                    <a:pt x="471" y="198"/>
                  </a:lnTo>
                  <a:lnTo>
                    <a:pt x="463" y="204"/>
                  </a:lnTo>
                  <a:lnTo>
                    <a:pt x="458" y="211"/>
                  </a:lnTo>
                  <a:lnTo>
                    <a:pt x="440" y="205"/>
                  </a:lnTo>
                  <a:lnTo>
                    <a:pt x="437" y="213"/>
                  </a:lnTo>
                  <a:lnTo>
                    <a:pt x="439" y="228"/>
                  </a:lnTo>
                  <a:lnTo>
                    <a:pt x="433" y="226"/>
                  </a:lnTo>
                  <a:lnTo>
                    <a:pt x="429" y="217"/>
                  </a:lnTo>
                  <a:lnTo>
                    <a:pt x="425" y="209"/>
                  </a:lnTo>
                  <a:lnTo>
                    <a:pt x="416" y="209"/>
                  </a:lnTo>
                  <a:lnTo>
                    <a:pt x="410" y="198"/>
                  </a:lnTo>
                  <a:lnTo>
                    <a:pt x="416" y="192"/>
                  </a:lnTo>
                  <a:lnTo>
                    <a:pt x="418" y="177"/>
                  </a:lnTo>
                  <a:lnTo>
                    <a:pt x="406" y="179"/>
                  </a:lnTo>
                  <a:lnTo>
                    <a:pt x="404" y="185"/>
                  </a:lnTo>
                  <a:lnTo>
                    <a:pt x="381" y="190"/>
                  </a:lnTo>
                  <a:lnTo>
                    <a:pt x="385" y="198"/>
                  </a:lnTo>
                  <a:lnTo>
                    <a:pt x="368" y="211"/>
                  </a:lnTo>
                  <a:lnTo>
                    <a:pt x="343" y="230"/>
                  </a:lnTo>
                  <a:lnTo>
                    <a:pt x="340" y="234"/>
                  </a:lnTo>
                  <a:lnTo>
                    <a:pt x="332" y="234"/>
                  </a:lnTo>
                  <a:lnTo>
                    <a:pt x="328" y="247"/>
                  </a:lnTo>
                  <a:lnTo>
                    <a:pt x="330" y="255"/>
                  </a:lnTo>
                  <a:lnTo>
                    <a:pt x="338" y="253"/>
                  </a:lnTo>
                  <a:lnTo>
                    <a:pt x="340" y="262"/>
                  </a:lnTo>
                  <a:lnTo>
                    <a:pt x="351" y="261"/>
                  </a:lnTo>
                  <a:lnTo>
                    <a:pt x="343" y="281"/>
                  </a:lnTo>
                  <a:lnTo>
                    <a:pt x="353" y="291"/>
                  </a:lnTo>
                  <a:lnTo>
                    <a:pt x="345" y="306"/>
                  </a:lnTo>
                  <a:lnTo>
                    <a:pt x="336" y="32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2" name="Freeform 369"/>
            <p:cNvSpPr>
              <a:spLocks/>
            </p:cNvSpPr>
            <p:nvPr/>
          </p:nvSpPr>
          <p:spPr bwMode="auto">
            <a:xfrm>
              <a:off x="3292494" y="3093271"/>
              <a:ext cx="141125" cy="150159"/>
            </a:xfrm>
            <a:custGeom>
              <a:avLst/>
              <a:gdLst>
                <a:gd name="T0" fmla="*/ 2147483647 w 260"/>
                <a:gd name="T1" fmla="*/ 2147483647 h 243"/>
                <a:gd name="T2" fmla="*/ 2147483647 w 260"/>
                <a:gd name="T3" fmla="*/ 2147483647 h 243"/>
                <a:gd name="T4" fmla="*/ 2147483647 w 260"/>
                <a:gd name="T5" fmla="*/ 2147483647 h 243"/>
                <a:gd name="T6" fmla="*/ 2147483647 w 260"/>
                <a:gd name="T7" fmla="*/ 2147483647 h 243"/>
                <a:gd name="T8" fmla="*/ 2147483647 w 260"/>
                <a:gd name="T9" fmla="*/ 2147483647 h 243"/>
                <a:gd name="T10" fmla="*/ 2147483647 w 260"/>
                <a:gd name="T11" fmla="*/ 2147483647 h 243"/>
                <a:gd name="T12" fmla="*/ 2147483647 w 260"/>
                <a:gd name="T13" fmla="*/ 2147483647 h 243"/>
                <a:gd name="T14" fmla="*/ 2147483647 w 260"/>
                <a:gd name="T15" fmla="*/ 2147483647 h 243"/>
                <a:gd name="T16" fmla="*/ 2147483647 w 260"/>
                <a:gd name="T17" fmla="*/ 2147483647 h 243"/>
                <a:gd name="T18" fmla="*/ 2147483647 w 260"/>
                <a:gd name="T19" fmla="*/ 2147483647 h 243"/>
                <a:gd name="T20" fmla="*/ 2147483647 w 260"/>
                <a:gd name="T21" fmla="*/ 2147483647 h 243"/>
                <a:gd name="T22" fmla="*/ 2147483647 w 260"/>
                <a:gd name="T23" fmla="*/ 2147483647 h 243"/>
                <a:gd name="T24" fmla="*/ 2147483647 w 260"/>
                <a:gd name="T25" fmla="*/ 2147483647 h 243"/>
                <a:gd name="T26" fmla="*/ 2147483647 w 260"/>
                <a:gd name="T27" fmla="*/ 2147483647 h 243"/>
                <a:gd name="T28" fmla="*/ 2147483647 w 260"/>
                <a:gd name="T29" fmla="*/ 2147483647 h 243"/>
                <a:gd name="T30" fmla="*/ 2147483647 w 260"/>
                <a:gd name="T31" fmla="*/ 2147483647 h 243"/>
                <a:gd name="T32" fmla="*/ 2147483647 w 260"/>
                <a:gd name="T33" fmla="*/ 2147483647 h 243"/>
                <a:gd name="T34" fmla="*/ 2147483647 w 260"/>
                <a:gd name="T35" fmla="*/ 2147483647 h 243"/>
                <a:gd name="T36" fmla="*/ 2147483647 w 260"/>
                <a:gd name="T37" fmla="*/ 2147483647 h 243"/>
                <a:gd name="T38" fmla="*/ 2147483647 w 260"/>
                <a:gd name="T39" fmla="*/ 2147483647 h 243"/>
                <a:gd name="T40" fmla="*/ 2147483647 w 260"/>
                <a:gd name="T41" fmla="*/ 2147483647 h 243"/>
                <a:gd name="T42" fmla="*/ 2147483647 w 260"/>
                <a:gd name="T43" fmla="*/ 2147483647 h 243"/>
                <a:gd name="T44" fmla="*/ 2147483647 w 260"/>
                <a:gd name="T45" fmla="*/ 2147483647 h 243"/>
                <a:gd name="T46" fmla="*/ 2147483647 w 260"/>
                <a:gd name="T47" fmla="*/ 2147483647 h 243"/>
                <a:gd name="T48" fmla="*/ 2147483647 w 260"/>
                <a:gd name="T49" fmla="*/ 2147483647 h 243"/>
                <a:gd name="T50" fmla="*/ 2147483647 w 260"/>
                <a:gd name="T51" fmla="*/ 2147483647 h 243"/>
                <a:gd name="T52" fmla="*/ 2147483647 w 260"/>
                <a:gd name="T53" fmla="*/ 2147483647 h 243"/>
                <a:gd name="T54" fmla="*/ 2147483647 w 260"/>
                <a:gd name="T55" fmla="*/ 2147483647 h 243"/>
                <a:gd name="T56" fmla="*/ 2147483647 w 260"/>
                <a:gd name="T57" fmla="*/ 2147483647 h 243"/>
                <a:gd name="T58" fmla="*/ 2147483647 w 260"/>
                <a:gd name="T59" fmla="*/ 2147483647 h 243"/>
                <a:gd name="T60" fmla="*/ 2147483647 w 260"/>
                <a:gd name="T61" fmla="*/ 2147483647 h 243"/>
                <a:gd name="T62" fmla="*/ 2147483647 w 260"/>
                <a:gd name="T63" fmla="*/ 2147483647 h 243"/>
                <a:gd name="T64" fmla="*/ 2147483647 w 260"/>
                <a:gd name="T65" fmla="*/ 2147483647 h 2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60"/>
                <a:gd name="T100" fmla="*/ 0 h 243"/>
                <a:gd name="T101" fmla="*/ 260 w 260"/>
                <a:gd name="T102" fmla="*/ 243 h 2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60" h="243">
                  <a:moveTo>
                    <a:pt x="84" y="40"/>
                  </a:moveTo>
                  <a:lnTo>
                    <a:pt x="110" y="27"/>
                  </a:lnTo>
                  <a:lnTo>
                    <a:pt x="120" y="21"/>
                  </a:lnTo>
                  <a:lnTo>
                    <a:pt x="127" y="2"/>
                  </a:lnTo>
                  <a:lnTo>
                    <a:pt x="129" y="0"/>
                  </a:lnTo>
                  <a:lnTo>
                    <a:pt x="139" y="4"/>
                  </a:lnTo>
                  <a:lnTo>
                    <a:pt x="144" y="4"/>
                  </a:lnTo>
                  <a:lnTo>
                    <a:pt x="150" y="13"/>
                  </a:lnTo>
                  <a:lnTo>
                    <a:pt x="167" y="11"/>
                  </a:lnTo>
                  <a:lnTo>
                    <a:pt x="173" y="27"/>
                  </a:lnTo>
                  <a:lnTo>
                    <a:pt x="192" y="23"/>
                  </a:lnTo>
                  <a:lnTo>
                    <a:pt x="213" y="38"/>
                  </a:lnTo>
                  <a:lnTo>
                    <a:pt x="219" y="63"/>
                  </a:lnTo>
                  <a:lnTo>
                    <a:pt x="215" y="74"/>
                  </a:lnTo>
                  <a:lnTo>
                    <a:pt x="222" y="89"/>
                  </a:lnTo>
                  <a:lnTo>
                    <a:pt x="220" y="103"/>
                  </a:lnTo>
                  <a:lnTo>
                    <a:pt x="228" y="112"/>
                  </a:lnTo>
                  <a:lnTo>
                    <a:pt x="232" y="131"/>
                  </a:lnTo>
                  <a:lnTo>
                    <a:pt x="247" y="127"/>
                  </a:lnTo>
                  <a:lnTo>
                    <a:pt x="249" y="141"/>
                  </a:lnTo>
                  <a:lnTo>
                    <a:pt x="260" y="141"/>
                  </a:lnTo>
                  <a:lnTo>
                    <a:pt x="253" y="156"/>
                  </a:lnTo>
                  <a:lnTo>
                    <a:pt x="247" y="161"/>
                  </a:lnTo>
                  <a:lnTo>
                    <a:pt x="232" y="156"/>
                  </a:lnTo>
                  <a:lnTo>
                    <a:pt x="228" y="163"/>
                  </a:lnTo>
                  <a:lnTo>
                    <a:pt x="234" y="186"/>
                  </a:lnTo>
                  <a:lnTo>
                    <a:pt x="234" y="201"/>
                  </a:lnTo>
                  <a:lnTo>
                    <a:pt x="220" y="199"/>
                  </a:lnTo>
                  <a:lnTo>
                    <a:pt x="209" y="222"/>
                  </a:lnTo>
                  <a:lnTo>
                    <a:pt x="213" y="236"/>
                  </a:lnTo>
                  <a:lnTo>
                    <a:pt x="209" y="243"/>
                  </a:lnTo>
                  <a:lnTo>
                    <a:pt x="190" y="230"/>
                  </a:lnTo>
                  <a:lnTo>
                    <a:pt x="173" y="236"/>
                  </a:lnTo>
                  <a:lnTo>
                    <a:pt x="165" y="226"/>
                  </a:lnTo>
                  <a:lnTo>
                    <a:pt x="158" y="234"/>
                  </a:lnTo>
                  <a:lnTo>
                    <a:pt x="150" y="226"/>
                  </a:lnTo>
                  <a:lnTo>
                    <a:pt x="146" y="232"/>
                  </a:lnTo>
                  <a:lnTo>
                    <a:pt x="135" y="226"/>
                  </a:lnTo>
                  <a:lnTo>
                    <a:pt x="127" y="236"/>
                  </a:lnTo>
                  <a:lnTo>
                    <a:pt x="124" y="226"/>
                  </a:lnTo>
                  <a:lnTo>
                    <a:pt x="110" y="217"/>
                  </a:lnTo>
                  <a:lnTo>
                    <a:pt x="82" y="220"/>
                  </a:lnTo>
                  <a:lnTo>
                    <a:pt x="70" y="209"/>
                  </a:lnTo>
                  <a:lnTo>
                    <a:pt x="46" y="207"/>
                  </a:lnTo>
                  <a:lnTo>
                    <a:pt x="32" y="211"/>
                  </a:lnTo>
                  <a:lnTo>
                    <a:pt x="21" y="232"/>
                  </a:lnTo>
                  <a:lnTo>
                    <a:pt x="8" y="222"/>
                  </a:lnTo>
                  <a:lnTo>
                    <a:pt x="11" y="203"/>
                  </a:lnTo>
                  <a:lnTo>
                    <a:pt x="0" y="184"/>
                  </a:lnTo>
                  <a:lnTo>
                    <a:pt x="21" y="177"/>
                  </a:lnTo>
                  <a:lnTo>
                    <a:pt x="21" y="161"/>
                  </a:lnTo>
                  <a:lnTo>
                    <a:pt x="11" y="144"/>
                  </a:lnTo>
                  <a:lnTo>
                    <a:pt x="11" y="120"/>
                  </a:lnTo>
                  <a:lnTo>
                    <a:pt x="25" y="103"/>
                  </a:lnTo>
                  <a:lnTo>
                    <a:pt x="42" y="105"/>
                  </a:lnTo>
                  <a:lnTo>
                    <a:pt x="53" y="101"/>
                  </a:lnTo>
                  <a:lnTo>
                    <a:pt x="65" y="105"/>
                  </a:lnTo>
                  <a:lnTo>
                    <a:pt x="63" y="95"/>
                  </a:lnTo>
                  <a:lnTo>
                    <a:pt x="67" y="80"/>
                  </a:lnTo>
                  <a:lnTo>
                    <a:pt x="80" y="67"/>
                  </a:lnTo>
                  <a:lnTo>
                    <a:pt x="82" y="53"/>
                  </a:lnTo>
                  <a:lnTo>
                    <a:pt x="87" y="55"/>
                  </a:lnTo>
                  <a:lnTo>
                    <a:pt x="91" y="53"/>
                  </a:lnTo>
                  <a:lnTo>
                    <a:pt x="89" y="48"/>
                  </a:lnTo>
                  <a:lnTo>
                    <a:pt x="82" y="48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3" name="Freeform 370"/>
            <p:cNvSpPr>
              <a:spLocks/>
            </p:cNvSpPr>
            <p:nvPr/>
          </p:nvSpPr>
          <p:spPr bwMode="auto">
            <a:xfrm>
              <a:off x="1821712" y="2000250"/>
              <a:ext cx="836825" cy="975455"/>
            </a:xfrm>
            <a:custGeom>
              <a:avLst/>
              <a:gdLst>
                <a:gd name="T0" fmla="*/ 2147483647 w 1533"/>
                <a:gd name="T1" fmla="*/ 2147483647 h 1563"/>
                <a:gd name="T2" fmla="*/ 2147483647 w 1533"/>
                <a:gd name="T3" fmla="*/ 2147483647 h 1563"/>
                <a:gd name="T4" fmla="*/ 2147483647 w 1533"/>
                <a:gd name="T5" fmla="*/ 2147483647 h 1563"/>
                <a:gd name="T6" fmla="*/ 2147483647 w 1533"/>
                <a:gd name="T7" fmla="*/ 2147483647 h 1563"/>
                <a:gd name="T8" fmla="*/ 2147483647 w 1533"/>
                <a:gd name="T9" fmla="*/ 2147483647 h 1563"/>
                <a:gd name="T10" fmla="*/ 2147483647 w 1533"/>
                <a:gd name="T11" fmla="*/ 2147483647 h 1563"/>
                <a:gd name="T12" fmla="*/ 2147483647 w 1533"/>
                <a:gd name="T13" fmla="*/ 2147483647 h 1563"/>
                <a:gd name="T14" fmla="*/ 2147483647 w 1533"/>
                <a:gd name="T15" fmla="*/ 2147483647 h 1563"/>
                <a:gd name="T16" fmla="*/ 2147483647 w 1533"/>
                <a:gd name="T17" fmla="*/ 2147483647 h 1563"/>
                <a:gd name="T18" fmla="*/ 2147483647 w 1533"/>
                <a:gd name="T19" fmla="*/ 2147483647 h 1563"/>
                <a:gd name="T20" fmla="*/ 2147483647 w 1533"/>
                <a:gd name="T21" fmla="*/ 2147483647 h 1563"/>
                <a:gd name="T22" fmla="*/ 2147483647 w 1533"/>
                <a:gd name="T23" fmla="*/ 2147483647 h 1563"/>
                <a:gd name="T24" fmla="*/ 2147483647 w 1533"/>
                <a:gd name="T25" fmla="*/ 2147483647 h 1563"/>
                <a:gd name="T26" fmla="*/ 2147483647 w 1533"/>
                <a:gd name="T27" fmla="*/ 2147483647 h 1563"/>
                <a:gd name="T28" fmla="*/ 2147483647 w 1533"/>
                <a:gd name="T29" fmla="*/ 2147483647 h 1563"/>
                <a:gd name="T30" fmla="*/ 2147483647 w 1533"/>
                <a:gd name="T31" fmla="*/ 2147483647 h 1563"/>
                <a:gd name="T32" fmla="*/ 2147483647 w 1533"/>
                <a:gd name="T33" fmla="*/ 2147483647 h 1563"/>
                <a:gd name="T34" fmla="*/ 2147483647 w 1533"/>
                <a:gd name="T35" fmla="*/ 2147483647 h 1563"/>
                <a:gd name="T36" fmla="*/ 2147483647 w 1533"/>
                <a:gd name="T37" fmla="*/ 2147483647 h 1563"/>
                <a:gd name="T38" fmla="*/ 2147483647 w 1533"/>
                <a:gd name="T39" fmla="*/ 2147483647 h 1563"/>
                <a:gd name="T40" fmla="*/ 2147483647 w 1533"/>
                <a:gd name="T41" fmla="*/ 2147483647 h 1563"/>
                <a:gd name="T42" fmla="*/ 2147483647 w 1533"/>
                <a:gd name="T43" fmla="*/ 2147483647 h 1563"/>
                <a:gd name="T44" fmla="*/ 2147483647 w 1533"/>
                <a:gd name="T45" fmla="*/ 2147483647 h 1563"/>
                <a:gd name="T46" fmla="*/ 2147483647 w 1533"/>
                <a:gd name="T47" fmla="*/ 2147483647 h 1563"/>
                <a:gd name="T48" fmla="*/ 2147483647 w 1533"/>
                <a:gd name="T49" fmla="*/ 2147483647 h 1563"/>
                <a:gd name="T50" fmla="*/ 2147483647 w 1533"/>
                <a:gd name="T51" fmla="*/ 2147483647 h 1563"/>
                <a:gd name="T52" fmla="*/ 2147483647 w 1533"/>
                <a:gd name="T53" fmla="*/ 2147483647 h 1563"/>
                <a:gd name="T54" fmla="*/ 2147483647 w 1533"/>
                <a:gd name="T55" fmla="*/ 2147483647 h 1563"/>
                <a:gd name="T56" fmla="*/ 2147483647 w 1533"/>
                <a:gd name="T57" fmla="*/ 2147483647 h 1563"/>
                <a:gd name="T58" fmla="*/ 2147483647 w 1533"/>
                <a:gd name="T59" fmla="*/ 2147483647 h 1563"/>
                <a:gd name="T60" fmla="*/ 2147483647 w 1533"/>
                <a:gd name="T61" fmla="*/ 2147483647 h 1563"/>
                <a:gd name="T62" fmla="*/ 2147483647 w 1533"/>
                <a:gd name="T63" fmla="*/ 2147483647 h 1563"/>
                <a:gd name="T64" fmla="*/ 2147483647 w 1533"/>
                <a:gd name="T65" fmla="*/ 2147483647 h 1563"/>
                <a:gd name="T66" fmla="*/ 2147483647 w 1533"/>
                <a:gd name="T67" fmla="*/ 2147483647 h 1563"/>
                <a:gd name="T68" fmla="*/ 2147483647 w 1533"/>
                <a:gd name="T69" fmla="*/ 2147483647 h 1563"/>
                <a:gd name="T70" fmla="*/ 2147483647 w 1533"/>
                <a:gd name="T71" fmla="*/ 2147483647 h 1563"/>
                <a:gd name="T72" fmla="*/ 2147483647 w 1533"/>
                <a:gd name="T73" fmla="*/ 2147483647 h 1563"/>
                <a:gd name="T74" fmla="*/ 2147483647 w 1533"/>
                <a:gd name="T75" fmla="*/ 2147483647 h 1563"/>
                <a:gd name="T76" fmla="*/ 2147483647 w 1533"/>
                <a:gd name="T77" fmla="*/ 2147483647 h 1563"/>
                <a:gd name="T78" fmla="*/ 2147483647 w 1533"/>
                <a:gd name="T79" fmla="*/ 2147483647 h 1563"/>
                <a:gd name="T80" fmla="*/ 2147483647 w 1533"/>
                <a:gd name="T81" fmla="*/ 2147483647 h 1563"/>
                <a:gd name="T82" fmla="*/ 2147483647 w 1533"/>
                <a:gd name="T83" fmla="*/ 2147483647 h 1563"/>
                <a:gd name="T84" fmla="*/ 2147483647 w 1533"/>
                <a:gd name="T85" fmla="*/ 2147483647 h 1563"/>
                <a:gd name="T86" fmla="*/ 2147483647 w 1533"/>
                <a:gd name="T87" fmla="*/ 2147483647 h 1563"/>
                <a:gd name="T88" fmla="*/ 2147483647 w 1533"/>
                <a:gd name="T89" fmla="*/ 2147483647 h 1563"/>
                <a:gd name="T90" fmla="*/ 2147483647 w 1533"/>
                <a:gd name="T91" fmla="*/ 2147483647 h 1563"/>
                <a:gd name="T92" fmla="*/ 2147483647 w 1533"/>
                <a:gd name="T93" fmla="*/ 2147483647 h 1563"/>
                <a:gd name="T94" fmla="*/ 2147483647 w 1533"/>
                <a:gd name="T95" fmla="*/ 2147483647 h 1563"/>
                <a:gd name="T96" fmla="*/ 2147483647 w 1533"/>
                <a:gd name="T97" fmla="*/ 2147483647 h 1563"/>
                <a:gd name="T98" fmla="*/ 2147483647 w 1533"/>
                <a:gd name="T99" fmla="*/ 2147483647 h 156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33"/>
                <a:gd name="T151" fmla="*/ 0 h 1563"/>
                <a:gd name="T152" fmla="*/ 1533 w 1533"/>
                <a:gd name="T153" fmla="*/ 1563 h 156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33" h="1563">
                  <a:moveTo>
                    <a:pt x="640" y="1417"/>
                  </a:moveTo>
                  <a:lnTo>
                    <a:pt x="606" y="1346"/>
                  </a:lnTo>
                  <a:lnTo>
                    <a:pt x="581" y="1305"/>
                  </a:lnTo>
                  <a:lnTo>
                    <a:pt x="598" y="1280"/>
                  </a:lnTo>
                  <a:lnTo>
                    <a:pt x="590" y="1272"/>
                  </a:lnTo>
                  <a:lnTo>
                    <a:pt x="577" y="1286"/>
                  </a:lnTo>
                  <a:lnTo>
                    <a:pt x="562" y="1204"/>
                  </a:lnTo>
                  <a:lnTo>
                    <a:pt x="533" y="1168"/>
                  </a:lnTo>
                  <a:lnTo>
                    <a:pt x="530" y="1136"/>
                  </a:lnTo>
                  <a:lnTo>
                    <a:pt x="530" y="1029"/>
                  </a:lnTo>
                  <a:lnTo>
                    <a:pt x="549" y="1006"/>
                  </a:lnTo>
                  <a:lnTo>
                    <a:pt x="528" y="987"/>
                  </a:lnTo>
                  <a:lnTo>
                    <a:pt x="554" y="953"/>
                  </a:lnTo>
                  <a:lnTo>
                    <a:pt x="604" y="961"/>
                  </a:lnTo>
                  <a:lnTo>
                    <a:pt x="606" y="866"/>
                  </a:lnTo>
                  <a:lnTo>
                    <a:pt x="522" y="826"/>
                  </a:lnTo>
                  <a:lnTo>
                    <a:pt x="503" y="801"/>
                  </a:lnTo>
                  <a:lnTo>
                    <a:pt x="520" y="784"/>
                  </a:lnTo>
                  <a:lnTo>
                    <a:pt x="590" y="818"/>
                  </a:lnTo>
                  <a:lnTo>
                    <a:pt x="606" y="779"/>
                  </a:lnTo>
                  <a:lnTo>
                    <a:pt x="549" y="731"/>
                  </a:lnTo>
                  <a:lnTo>
                    <a:pt x="537" y="684"/>
                  </a:lnTo>
                  <a:lnTo>
                    <a:pt x="499" y="725"/>
                  </a:lnTo>
                  <a:lnTo>
                    <a:pt x="467" y="701"/>
                  </a:lnTo>
                  <a:lnTo>
                    <a:pt x="475" y="646"/>
                  </a:lnTo>
                  <a:lnTo>
                    <a:pt x="476" y="608"/>
                  </a:lnTo>
                  <a:lnTo>
                    <a:pt x="452" y="416"/>
                  </a:lnTo>
                  <a:lnTo>
                    <a:pt x="406" y="355"/>
                  </a:lnTo>
                  <a:lnTo>
                    <a:pt x="402" y="279"/>
                  </a:lnTo>
                  <a:lnTo>
                    <a:pt x="332" y="239"/>
                  </a:lnTo>
                  <a:lnTo>
                    <a:pt x="273" y="230"/>
                  </a:lnTo>
                  <a:lnTo>
                    <a:pt x="254" y="256"/>
                  </a:lnTo>
                  <a:lnTo>
                    <a:pt x="243" y="235"/>
                  </a:lnTo>
                  <a:lnTo>
                    <a:pt x="210" y="243"/>
                  </a:lnTo>
                  <a:lnTo>
                    <a:pt x="203" y="220"/>
                  </a:lnTo>
                  <a:lnTo>
                    <a:pt x="163" y="213"/>
                  </a:lnTo>
                  <a:lnTo>
                    <a:pt x="165" y="254"/>
                  </a:lnTo>
                  <a:lnTo>
                    <a:pt x="115" y="222"/>
                  </a:lnTo>
                  <a:lnTo>
                    <a:pt x="81" y="173"/>
                  </a:lnTo>
                  <a:lnTo>
                    <a:pt x="125" y="146"/>
                  </a:lnTo>
                  <a:lnTo>
                    <a:pt x="47" y="127"/>
                  </a:lnTo>
                  <a:lnTo>
                    <a:pt x="55" y="95"/>
                  </a:lnTo>
                  <a:lnTo>
                    <a:pt x="93" y="99"/>
                  </a:lnTo>
                  <a:lnTo>
                    <a:pt x="112" y="83"/>
                  </a:lnTo>
                  <a:lnTo>
                    <a:pt x="182" y="83"/>
                  </a:lnTo>
                  <a:lnTo>
                    <a:pt x="161" y="62"/>
                  </a:lnTo>
                  <a:lnTo>
                    <a:pt x="106" y="78"/>
                  </a:lnTo>
                  <a:lnTo>
                    <a:pt x="68" y="62"/>
                  </a:lnTo>
                  <a:lnTo>
                    <a:pt x="57" y="40"/>
                  </a:lnTo>
                  <a:lnTo>
                    <a:pt x="68" y="21"/>
                  </a:lnTo>
                  <a:lnTo>
                    <a:pt x="3" y="11"/>
                  </a:lnTo>
                  <a:lnTo>
                    <a:pt x="0" y="0"/>
                  </a:lnTo>
                  <a:lnTo>
                    <a:pt x="1487" y="0"/>
                  </a:lnTo>
                  <a:lnTo>
                    <a:pt x="1522" y="17"/>
                  </a:lnTo>
                  <a:lnTo>
                    <a:pt x="1508" y="32"/>
                  </a:lnTo>
                  <a:lnTo>
                    <a:pt x="1478" y="15"/>
                  </a:lnTo>
                  <a:lnTo>
                    <a:pt x="1480" y="59"/>
                  </a:lnTo>
                  <a:lnTo>
                    <a:pt x="1533" y="72"/>
                  </a:lnTo>
                  <a:lnTo>
                    <a:pt x="1529" y="119"/>
                  </a:lnTo>
                  <a:lnTo>
                    <a:pt x="1470" y="104"/>
                  </a:lnTo>
                  <a:lnTo>
                    <a:pt x="1438" y="137"/>
                  </a:lnTo>
                  <a:lnTo>
                    <a:pt x="1446" y="216"/>
                  </a:lnTo>
                  <a:lnTo>
                    <a:pt x="1497" y="214"/>
                  </a:lnTo>
                  <a:lnTo>
                    <a:pt x="1495" y="249"/>
                  </a:lnTo>
                  <a:lnTo>
                    <a:pt x="1474" y="256"/>
                  </a:lnTo>
                  <a:lnTo>
                    <a:pt x="1495" y="271"/>
                  </a:lnTo>
                  <a:lnTo>
                    <a:pt x="1501" y="302"/>
                  </a:lnTo>
                  <a:lnTo>
                    <a:pt x="1493" y="349"/>
                  </a:lnTo>
                  <a:lnTo>
                    <a:pt x="1484" y="353"/>
                  </a:lnTo>
                  <a:lnTo>
                    <a:pt x="1476" y="332"/>
                  </a:lnTo>
                  <a:lnTo>
                    <a:pt x="1459" y="332"/>
                  </a:lnTo>
                  <a:lnTo>
                    <a:pt x="1461" y="359"/>
                  </a:lnTo>
                  <a:lnTo>
                    <a:pt x="1506" y="410"/>
                  </a:lnTo>
                  <a:lnTo>
                    <a:pt x="1487" y="448"/>
                  </a:lnTo>
                  <a:lnTo>
                    <a:pt x="1457" y="461"/>
                  </a:lnTo>
                  <a:lnTo>
                    <a:pt x="1434" y="448"/>
                  </a:lnTo>
                  <a:lnTo>
                    <a:pt x="1417" y="480"/>
                  </a:lnTo>
                  <a:lnTo>
                    <a:pt x="1440" y="475"/>
                  </a:lnTo>
                  <a:lnTo>
                    <a:pt x="1467" y="482"/>
                  </a:lnTo>
                  <a:lnTo>
                    <a:pt x="1467" y="522"/>
                  </a:lnTo>
                  <a:lnTo>
                    <a:pt x="1444" y="518"/>
                  </a:lnTo>
                  <a:lnTo>
                    <a:pt x="1415" y="549"/>
                  </a:lnTo>
                  <a:lnTo>
                    <a:pt x="1368" y="515"/>
                  </a:lnTo>
                  <a:lnTo>
                    <a:pt x="1349" y="535"/>
                  </a:lnTo>
                  <a:lnTo>
                    <a:pt x="1396" y="556"/>
                  </a:lnTo>
                  <a:lnTo>
                    <a:pt x="1423" y="579"/>
                  </a:lnTo>
                  <a:lnTo>
                    <a:pt x="1429" y="602"/>
                  </a:lnTo>
                  <a:lnTo>
                    <a:pt x="1389" y="602"/>
                  </a:lnTo>
                  <a:lnTo>
                    <a:pt x="1425" y="628"/>
                  </a:lnTo>
                  <a:lnTo>
                    <a:pt x="1421" y="659"/>
                  </a:lnTo>
                  <a:lnTo>
                    <a:pt x="1354" y="632"/>
                  </a:lnTo>
                  <a:lnTo>
                    <a:pt x="1343" y="646"/>
                  </a:lnTo>
                  <a:lnTo>
                    <a:pt x="1406" y="676"/>
                  </a:lnTo>
                  <a:lnTo>
                    <a:pt x="1398" y="693"/>
                  </a:lnTo>
                  <a:lnTo>
                    <a:pt x="1430" y="697"/>
                  </a:lnTo>
                  <a:lnTo>
                    <a:pt x="1413" y="737"/>
                  </a:lnTo>
                  <a:lnTo>
                    <a:pt x="1438" y="723"/>
                  </a:lnTo>
                  <a:lnTo>
                    <a:pt x="1440" y="824"/>
                  </a:lnTo>
                  <a:lnTo>
                    <a:pt x="1373" y="807"/>
                  </a:lnTo>
                  <a:lnTo>
                    <a:pt x="1364" y="746"/>
                  </a:lnTo>
                  <a:lnTo>
                    <a:pt x="1330" y="712"/>
                  </a:lnTo>
                  <a:lnTo>
                    <a:pt x="1314" y="714"/>
                  </a:lnTo>
                  <a:lnTo>
                    <a:pt x="1339" y="737"/>
                  </a:lnTo>
                  <a:lnTo>
                    <a:pt x="1318" y="761"/>
                  </a:lnTo>
                  <a:lnTo>
                    <a:pt x="1337" y="788"/>
                  </a:lnTo>
                  <a:lnTo>
                    <a:pt x="1290" y="809"/>
                  </a:lnTo>
                  <a:lnTo>
                    <a:pt x="1313" y="843"/>
                  </a:lnTo>
                  <a:lnTo>
                    <a:pt x="1343" y="828"/>
                  </a:lnTo>
                  <a:lnTo>
                    <a:pt x="1396" y="847"/>
                  </a:lnTo>
                  <a:lnTo>
                    <a:pt x="1413" y="843"/>
                  </a:lnTo>
                  <a:lnTo>
                    <a:pt x="1419" y="851"/>
                  </a:lnTo>
                  <a:lnTo>
                    <a:pt x="1377" y="891"/>
                  </a:lnTo>
                  <a:lnTo>
                    <a:pt x="1295" y="957"/>
                  </a:lnTo>
                  <a:lnTo>
                    <a:pt x="1204" y="997"/>
                  </a:lnTo>
                  <a:lnTo>
                    <a:pt x="1151" y="1006"/>
                  </a:lnTo>
                  <a:lnTo>
                    <a:pt x="1155" y="987"/>
                  </a:lnTo>
                  <a:lnTo>
                    <a:pt x="1130" y="974"/>
                  </a:lnTo>
                  <a:lnTo>
                    <a:pt x="1140" y="1006"/>
                  </a:lnTo>
                  <a:lnTo>
                    <a:pt x="1119" y="1024"/>
                  </a:lnTo>
                  <a:lnTo>
                    <a:pt x="1092" y="1119"/>
                  </a:lnTo>
                  <a:lnTo>
                    <a:pt x="1073" y="1122"/>
                  </a:lnTo>
                  <a:lnTo>
                    <a:pt x="1069" y="1136"/>
                  </a:lnTo>
                  <a:lnTo>
                    <a:pt x="1016" y="1176"/>
                  </a:lnTo>
                  <a:lnTo>
                    <a:pt x="997" y="1179"/>
                  </a:lnTo>
                  <a:lnTo>
                    <a:pt x="984" y="1198"/>
                  </a:lnTo>
                  <a:lnTo>
                    <a:pt x="923" y="1212"/>
                  </a:lnTo>
                  <a:lnTo>
                    <a:pt x="923" y="1229"/>
                  </a:lnTo>
                  <a:lnTo>
                    <a:pt x="891" y="1234"/>
                  </a:lnTo>
                  <a:lnTo>
                    <a:pt x="904" y="1263"/>
                  </a:lnTo>
                  <a:lnTo>
                    <a:pt x="898" y="1316"/>
                  </a:lnTo>
                  <a:lnTo>
                    <a:pt x="881" y="1331"/>
                  </a:lnTo>
                  <a:lnTo>
                    <a:pt x="870" y="1371"/>
                  </a:lnTo>
                  <a:lnTo>
                    <a:pt x="855" y="1373"/>
                  </a:lnTo>
                  <a:lnTo>
                    <a:pt x="851" y="1417"/>
                  </a:lnTo>
                  <a:lnTo>
                    <a:pt x="866" y="1419"/>
                  </a:lnTo>
                  <a:lnTo>
                    <a:pt x="866" y="1441"/>
                  </a:lnTo>
                  <a:lnTo>
                    <a:pt x="822" y="1489"/>
                  </a:lnTo>
                  <a:lnTo>
                    <a:pt x="834" y="1497"/>
                  </a:lnTo>
                  <a:lnTo>
                    <a:pt x="820" y="1519"/>
                  </a:lnTo>
                  <a:lnTo>
                    <a:pt x="828" y="1535"/>
                  </a:lnTo>
                  <a:lnTo>
                    <a:pt x="811" y="1563"/>
                  </a:lnTo>
                  <a:lnTo>
                    <a:pt x="763" y="1536"/>
                  </a:lnTo>
                  <a:lnTo>
                    <a:pt x="775" y="1519"/>
                  </a:lnTo>
                  <a:lnTo>
                    <a:pt x="754" y="1498"/>
                  </a:lnTo>
                  <a:lnTo>
                    <a:pt x="743" y="1481"/>
                  </a:lnTo>
                  <a:lnTo>
                    <a:pt x="714" y="1485"/>
                  </a:lnTo>
                  <a:lnTo>
                    <a:pt x="689" y="1502"/>
                  </a:lnTo>
                  <a:lnTo>
                    <a:pt x="668" y="1476"/>
                  </a:lnTo>
                  <a:lnTo>
                    <a:pt x="651" y="1451"/>
                  </a:lnTo>
                  <a:lnTo>
                    <a:pt x="663" y="1440"/>
                  </a:lnTo>
                  <a:lnTo>
                    <a:pt x="640" y="1417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4" name="Freeform 371"/>
            <p:cNvSpPr>
              <a:spLocks/>
            </p:cNvSpPr>
            <p:nvPr/>
          </p:nvSpPr>
          <p:spPr bwMode="auto">
            <a:xfrm>
              <a:off x="2094038" y="2517078"/>
              <a:ext cx="44101" cy="52381"/>
            </a:xfrm>
            <a:custGeom>
              <a:avLst/>
              <a:gdLst>
                <a:gd name="T0" fmla="*/ 2147483647 w 82"/>
                <a:gd name="T1" fmla="*/ 0 h 84"/>
                <a:gd name="T2" fmla="*/ 2147483647 w 82"/>
                <a:gd name="T3" fmla="*/ 2147483647 h 84"/>
                <a:gd name="T4" fmla="*/ 2147483647 w 82"/>
                <a:gd name="T5" fmla="*/ 2147483647 h 84"/>
                <a:gd name="T6" fmla="*/ 2147483647 w 82"/>
                <a:gd name="T7" fmla="*/ 2147483647 h 84"/>
                <a:gd name="T8" fmla="*/ 2147483647 w 82"/>
                <a:gd name="T9" fmla="*/ 2147483647 h 84"/>
                <a:gd name="T10" fmla="*/ 2147483647 w 82"/>
                <a:gd name="T11" fmla="*/ 2147483647 h 84"/>
                <a:gd name="T12" fmla="*/ 2147483647 w 82"/>
                <a:gd name="T13" fmla="*/ 2147483647 h 84"/>
                <a:gd name="T14" fmla="*/ 0 w 82"/>
                <a:gd name="T15" fmla="*/ 2147483647 h 84"/>
                <a:gd name="T16" fmla="*/ 0 w 82"/>
                <a:gd name="T17" fmla="*/ 2147483647 h 84"/>
                <a:gd name="T18" fmla="*/ 2147483647 w 82"/>
                <a:gd name="T19" fmla="*/ 0 h 8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84"/>
                <a:gd name="T32" fmla="*/ 82 w 82"/>
                <a:gd name="T33" fmla="*/ 84 h 8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84">
                  <a:moveTo>
                    <a:pt x="17" y="0"/>
                  </a:moveTo>
                  <a:lnTo>
                    <a:pt x="48" y="15"/>
                  </a:lnTo>
                  <a:lnTo>
                    <a:pt x="61" y="30"/>
                  </a:lnTo>
                  <a:lnTo>
                    <a:pt x="82" y="38"/>
                  </a:lnTo>
                  <a:lnTo>
                    <a:pt x="76" y="65"/>
                  </a:lnTo>
                  <a:lnTo>
                    <a:pt x="34" y="84"/>
                  </a:lnTo>
                  <a:lnTo>
                    <a:pt x="23" y="65"/>
                  </a:lnTo>
                  <a:lnTo>
                    <a:pt x="0" y="59"/>
                  </a:lnTo>
                  <a:lnTo>
                    <a:pt x="0" y="9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5" name="Freeform 309"/>
            <p:cNvSpPr>
              <a:spLocks/>
            </p:cNvSpPr>
            <p:nvPr/>
          </p:nvSpPr>
          <p:spPr bwMode="auto">
            <a:xfrm>
              <a:off x="1781201" y="3447796"/>
              <a:ext cx="63947" cy="71005"/>
            </a:xfrm>
            <a:custGeom>
              <a:avLst/>
              <a:gdLst>
                <a:gd name="T0" fmla="*/ 2147483647 w 118"/>
                <a:gd name="T1" fmla="*/ 0 h 114"/>
                <a:gd name="T2" fmla="*/ 2147483647 w 118"/>
                <a:gd name="T3" fmla="*/ 2147483647 h 114"/>
                <a:gd name="T4" fmla="*/ 2147483647 w 118"/>
                <a:gd name="T5" fmla="*/ 2147483647 h 114"/>
                <a:gd name="T6" fmla="*/ 2147483647 w 118"/>
                <a:gd name="T7" fmla="*/ 0 h 114"/>
                <a:gd name="T8" fmla="*/ 2147483647 w 118"/>
                <a:gd name="T9" fmla="*/ 2147483647 h 114"/>
                <a:gd name="T10" fmla="*/ 2147483647 w 118"/>
                <a:gd name="T11" fmla="*/ 2147483647 h 114"/>
                <a:gd name="T12" fmla="*/ 2147483647 w 118"/>
                <a:gd name="T13" fmla="*/ 2147483647 h 114"/>
                <a:gd name="T14" fmla="*/ 2147483647 w 118"/>
                <a:gd name="T15" fmla="*/ 2147483647 h 114"/>
                <a:gd name="T16" fmla="*/ 2147483647 w 118"/>
                <a:gd name="T17" fmla="*/ 2147483647 h 114"/>
                <a:gd name="T18" fmla="*/ 2147483647 w 118"/>
                <a:gd name="T19" fmla="*/ 2147483647 h 114"/>
                <a:gd name="T20" fmla="*/ 2147483647 w 118"/>
                <a:gd name="T21" fmla="*/ 2147483647 h 114"/>
                <a:gd name="T22" fmla="*/ 2147483647 w 118"/>
                <a:gd name="T23" fmla="*/ 2147483647 h 114"/>
                <a:gd name="T24" fmla="*/ 2147483647 w 118"/>
                <a:gd name="T25" fmla="*/ 2147483647 h 114"/>
                <a:gd name="T26" fmla="*/ 2147483647 w 118"/>
                <a:gd name="T27" fmla="*/ 2147483647 h 114"/>
                <a:gd name="T28" fmla="*/ 0 w 118"/>
                <a:gd name="T29" fmla="*/ 2147483647 h 114"/>
                <a:gd name="T30" fmla="*/ 2147483647 w 118"/>
                <a:gd name="T31" fmla="*/ 0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8"/>
                <a:gd name="T49" fmla="*/ 0 h 114"/>
                <a:gd name="T50" fmla="*/ 118 w 118"/>
                <a:gd name="T51" fmla="*/ 114 h 1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8" h="114">
                  <a:moveTo>
                    <a:pt x="4" y="0"/>
                  </a:moveTo>
                  <a:lnTo>
                    <a:pt x="51" y="17"/>
                  </a:lnTo>
                  <a:lnTo>
                    <a:pt x="80" y="4"/>
                  </a:lnTo>
                  <a:lnTo>
                    <a:pt x="101" y="0"/>
                  </a:lnTo>
                  <a:lnTo>
                    <a:pt x="112" y="6"/>
                  </a:lnTo>
                  <a:lnTo>
                    <a:pt x="118" y="63"/>
                  </a:lnTo>
                  <a:lnTo>
                    <a:pt x="107" y="57"/>
                  </a:lnTo>
                  <a:lnTo>
                    <a:pt x="95" y="80"/>
                  </a:lnTo>
                  <a:lnTo>
                    <a:pt x="112" y="101"/>
                  </a:lnTo>
                  <a:lnTo>
                    <a:pt x="86" y="91"/>
                  </a:lnTo>
                  <a:lnTo>
                    <a:pt x="76" y="110"/>
                  </a:lnTo>
                  <a:lnTo>
                    <a:pt x="46" y="114"/>
                  </a:lnTo>
                  <a:lnTo>
                    <a:pt x="19" y="72"/>
                  </a:lnTo>
                  <a:lnTo>
                    <a:pt x="27" y="65"/>
                  </a:lnTo>
                  <a:lnTo>
                    <a:pt x="0" y="17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  <p:sp>
          <p:nvSpPr>
            <p:cNvPr id="396" name="Freeform 309"/>
            <p:cNvSpPr>
              <a:spLocks/>
            </p:cNvSpPr>
            <p:nvPr/>
          </p:nvSpPr>
          <p:spPr bwMode="auto">
            <a:xfrm>
              <a:off x="5161293" y="5114022"/>
              <a:ext cx="63947" cy="71005"/>
            </a:xfrm>
            <a:custGeom>
              <a:avLst/>
              <a:gdLst>
                <a:gd name="T0" fmla="*/ 2147483647 w 118"/>
                <a:gd name="T1" fmla="*/ 0 h 114"/>
                <a:gd name="T2" fmla="*/ 2147483647 w 118"/>
                <a:gd name="T3" fmla="*/ 2147483647 h 114"/>
                <a:gd name="T4" fmla="*/ 2147483647 w 118"/>
                <a:gd name="T5" fmla="*/ 2147483647 h 114"/>
                <a:gd name="T6" fmla="*/ 2147483647 w 118"/>
                <a:gd name="T7" fmla="*/ 0 h 114"/>
                <a:gd name="T8" fmla="*/ 2147483647 w 118"/>
                <a:gd name="T9" fmla="*/ 2147483647 h 114"/>
                <a:gd name="T10" fmla="*/ 2147483647 w 118"/>
                <a:gd name="T11" fmla="*/ 2147483647 h 114"/>
                <a:gd name="T12" fmla="*/ 2147483647 w 118"/>
                <a:gd name="T13" fmla="*/ 2147483647 h 114"/>
                <a:gd name="T14" fmla="*/ 2147483647 w 118"/>
                <a:gd name="T15" fmla="*/ 2147483647 h 114"/>
                <a:gd name="T16" fmla="*/ 2147483647 w 118"/>
                <a:gd name="T17" fmla="*/ 2147483647 h 114"/>
                <a:gd name="T18" fmla="*/ 2147483647 w 118"/>
                <a:gd name="T19" fmla="*/ 2147483647 h 114"/>
                <a:gd name="T20" fmla="*/ 2147483647 w 118"/>
                <a:gd name="T21" fmla="*/ 2147483647 h 114"/>
                <a:gd name="T22" fmla="*/ 2147483647 w 118"/>
                <a:gd name="T23" fmla="*/ 2147483647 h 114"/>
                <a:gd name="T24" fmla="*/ 2147483647 w 118"/>
                <a:gd name="T25" fmla="*/ 2147483647 h 114"/>
                <a:gd name="T26" fmla="*/ 2147483647 w 118"/>
                <a:gd name="T27" fmla="*/ 2147483647 h 114"/>
                <a:gd name="T28" fmla="*/ 0 w 118"/>
                <a:gd name="T29" fmla="*/ 2147483647 h 114"/>
                <a:gd name="T30" fmla="*/ 2147483647 w 118"/>
                <a:gd name="T31" fmla="*/ 0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8"/>
                <a:gd name="T49" fmla="*/ 0 h 114"/>
                <a:gd name="T50" fmla="*/ 118 w 118"/>
                <a:gd name="T51" fmla="*/ 114 h 1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8" h="114">
                  <a:moveTo>
                    <a:pt x="4" y="0"/>
                  </a:moveTo>
                  <a:lnTo>
                    <a:pt x="51" y="17"/>
                  </a:lnTo>
                  <a:lnTo>
                    <a:pt x="80" y="4"/>
                  </a:lnTo>
                  <a:lnTo>
                    <a:pt x="101" y="0"/>
                  </a:lnTo>
                  <a:lnTo>
                    <a:pt x="112" y="6"/>
                  </a:lnTo>
                  <a:lnTo>
                    <a:pt x="118" y="63"/>
                  </a:lnTo>
                  <a:lnTo>
                    <a:pt x="107" y="57"/>
                  </a:lnTo>
                  <a:lnTo>
                    <a:pt x="95" y="80"/>
                  </a:lnTo>
                  <a:lnTo>
                    <a:pt x="112" y="101"/>
                  </a:lnTo>
                  <a:lnTo>
                    <a:pt x="86" y="91"/>
                  </a:lnTo>
                  <a:lnTo>
                    <a:pt x="76" y="110"/>
                  </a:lnTo>
                  <a:lnTo>
                    <a:pt x="46" y="114"/>
                  </a:lnTo>
                  <a:lnTo>
                    <a:pt x="19" y="72"/>
                  </a:lnTo>
                  <a:lnTo>
                    <a:pt x="27" y="65"/>
                  </a:lnTo>
                  <a:lnTo>
                    <a:pt x="0" y="17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s-ES">
                <a:solidFill>
                  <a:srgbClr val="000000"/>
                </a:solidFill>
              </a:endParaRPr>
            </a:p>
          </p:txBody>
        </p:sp>
      </p:grpSp>
      <p:sp>
        <p:nvSpPr>
          <p:cNvPr id="397" name="Oval 1"/>
          <p:cNvSpPr/>
          <p:nvPr/>
        </p:nvSpPr>
        <p:spPr bwMode="auto">
          <a:xfrm>
            <a:off x="3200175" y="2904513"/>
            <a:ext cx="315762" cy="551468"/>
          </a:xfrm>
          <a:prstGeom prst="ellipse">
            <a:avLst/>
          </a:prstGeom>
          <a:solidFill>
            <a:srgbClr val="A40800">
              <a:alpha val="35000"/>
            </a:srgbClr>
          </a:solidFill>
          <a:ln w="31750" cap="flat" cmpd="sng" algn="ctr">
            <a:solidFill>
              <a:srgbClr val="A40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42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398" name="AutoShape 18"/>
          <p:cNvSpPr>
            <a:spLocks noChangeArrowheads="1"/>
          </p:cNvSpPr>
          <p:nvPr/>
        </p:nvSpPr>
        <p:spPr bwMode="auto">
          <a:xfrm>
            <a:off x="204190" y="4800601"/>
            <a:ext cx="4537205" cy="952468"/>
          </a:xfrm>
          <a:prstGeom prst="roundRect">
            <a:avLst>
              <a:gd name="adj" fmla="val 8997"/>
            </a:avLst>
          </a:prstGeom>
          <a:solidFill>
            <a:srgbClr val="EAEAEA"/>
          </a:solidFill>
          <a:ln w="9525" algn="ctr">
            <a:solidFill>
              <a:srgbClr val="7D09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72000" rIns="36000" bIns="72000" anchor="ctr"/>
          <a:lstStyle/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sz="1300" dirty="0" smtClean="0"/>
              <a:t>The size of the housewares market is the U.S. is ~$58 </a:t>
            </a:r>
            <a:r>
              <a:rPr lang="en-US" sz="1300" dirty="0"/>
              <a:t>billion (retail</a:t>
            </a:r>
            <a:r>
              <a:rPr lang="en-US" sz="1300" dirty="0" smtClean="0"/>
              <a:t>) with steady growth of 2-3% per year</a:t>
            </a:r>
            <a:endParaRPr lang="en-US" sz="1300" baseline="30000" dirty="0" smtClean="0"/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300" dirty="0" smtClean="0">
                <a:sym typeface="Garamond" charset="0"/>
              </a:rPr>
              <a:t>Casual tableware is the segment with the highest growth reflecting a general change in lifestyle</a:t>
            </a:r>
          </a:p>
        </p:txBody>
      </p:sp>
      <p:grpSp>
        <p:nvGrpSpPr>
          <p:cNvPr id="399" name="Group 53"/>
          <p:cNvGrpSpPr>
            <a:grpSpLocks/>
          </p:cNvGrpSpPr>
          <p:nvPr/>
        </p:nvGrpSpPr>
        <p:grpSpPr bwMode="auto">
          <a:xfrm>
            <a:off x="8595181" y="2424654"/>
            <a:ext cx="260350" cy="255588"/>
            <a:chOff x="1298" y="2947"/>
            <a:chExt cx="161" cy="161"/>
          </a:xfrm>
        </p:grpSpPr>
        <p:sp>
          <p:nvSpPr>
            <p:cNvPr id="400" name="Oval 54"/>
            <p:cNvSpPr>
              <a:spLocks noChangeArrowheads="1"/>
            </p:cNvSpPr>
            <p:nvPr/>
          </p:nvSpPr>
          <p:spPr bwMode="auto">
            <a:xfrm flipH="1">
              <a:off x="1298" y="2947"/>
              <a:ext cx="161" cy="161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91440" rIns="45720" bIns="91440" anchor="ctr"/>
            <a:lstStyle/>
            <a:p>
              <a:pPr eaLnBrk="0" hangingPunct="0">
                <a:lnSpc>
                  <a:spcPct val="85000"/>
                </a:lnSpc>
                <a:spcBef>
                  <a:spcPct val="0"/>
                </a:spcBef>
                <a:buClrTx/>
              </a:pPr>
              <a:endParaRPr lang="pt-BR" sz="1400"/>
            </a:p>
          </p:txBody>
        </p:sp>
        <p:sp>
          <p:nvSpPr>
            <p:cNvPr id="401" name="Arc 55"/>
            <p:cNvSpPr>
              <a:spLocks/>
            </p:cNvSpPr>
            <p:nvPr/>
          </p:nvSpPr>
          <p:spPr bwMode="auto">
            <a:xfrm flipH="1">
              <a:off x="1298" y="2947"/>
              <a:ext cx="77" cy="7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91440" rIns="45720" bIns="91440" anchor="ctr"/>
            <a:lstStyle/>
            <a:p>
              <a:endParaRPr lang="es-ES"/>
            </a:p>
          </p:txBody>
        </p:sp>
      </p:grpSp>
      <p:grpSp>
        <p:nvGrpSpPr>
          <p:cNvPr id="402" name="Group 53"/>
          <p:cNvGrpSpPr>
            <a:grpSpLocks/>
          </p:cNvGrpSpPr>
          <p:nvPr/>
        </p:nvGrpSpPr>
        <p:grpSpPr bwMode="auto">
          <a:xfrm>
            <a:off x="8589521" y="1581775"/>
            <a:ext cx="260350" cy="255588"/>
            <a:chOff x="1298" y="2947"/>
            <a:chExt cx="161" cy="161"/>
          </a:xfrm>
        </p:grpSpPr>
        <p:sp>
          <p:nvSpPr>
            <p:cNvPr id="403" name="Oval 54"/>
            <p:cNvSpPr>
              <a:spLocks noChangeArrowheads="1"/>
            </p:cNvSpPr>
            <p:nvPr/>
          </p:nvSpPr>
          <p:spPr bwMode="auto">
            <a:xfrm flipH="1">
              <a:off x="1298" y="2947"/>
              <a:ext cx="161" cy="161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91440" rIns="45720" bIns="91440" anchor="ctr"/>
            <a:lstStyle/>
            <a:p>
              <a:pPr eaLnBrk="0" hangingPunct="0">
                <a:lnSpc>
                  <a:spcPct val="85000"/>
                </a:lnSpc>
                <a:spcBef>
                  <a:spcPct val="0"/>
                </a:spcBef>
                <a:buClrTx/>
              </a:pPr>
              <a:endParaRPr lang="pt-BR" sz="1400"/>
            </a:p>
          </p:txBody>
        </p:sp>
        <p:sp>
          <p:nvSpPr>
            <p:cNvPr id="404" name="Arc 55"/>
            <p:cNvSpPr>
              <a:spLocks/>
            </p:cNvSpPr>
            <p:nvPr/>
          </p:nvSpPr>
          <p:spPr bwMode="auto">
            <a:xfrm flipH="1">
              <a:off x="1298" y="2947"/>
              <a:ext cx="77" cy="7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91440" rIns="45720" bIns="91440" anchor="ctr"/>
            <a:lstStyle/>
            <a:p>
              <a:endParaRPr lang="es-ES"/>
            </a:p>
          </p:txBody>
        </p:sp>
      </p:grpSp>
      <p:sp>
        <p:nvSpPr>
          <p:cNvPr id="405" name="Oval 117"/>
          <p:cNvSpPr>
            <a:spLocks noChangeArrowheads="1"/>
          </p:cNvSpPr>
          <p:nvPr/>
        </p:nvSpPr>
        <p:spPr bwMode="auto">
          <a:xfrm flipH="1">
            <a:off x="8601603" y="4519460"/>
            <a:ext cx="255600" cy="2556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17961" dir="135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91440" rIns="45720" bIns="91440" anchor="ctr"/>
          <a:lstStyle/>
          <a:p>
            <a: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406" name="Curved Connector 431"/>
          <p:cNvCxnSpPr>
            <a:stCxn id="397" idx="3"/>
          </p:cNvCxnSpPr>
          <p:nvPr/>
        </p:nvCxnSpPr>
        <p:spPr bwMode="auto">
          <a:xfrm rot="5400000" flipH="1">
            <a:off x="1849736" y="1978539"/>
            <a:ext cx="484154" cy="2309208"/>
          </a:xfrm>
          <a:prstGeom prst="curvedConnector4">
            <a:avLst>
              <a:gd name="adj1" fmla="val -47216"/>
              <a:gd name="adj2" fmla="val 120297"/>
            </a:avLst>
          </a:prstGeom>
          <a:noFill/>
          <a:ln w="25400">
            <a:solidFill>
              <a:srgbClr val="800000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7" name="Rectangle 22"/>
          <p:cNvSpPr>
            <a:spLocks noChangeArrowheads="1"/>
          </p:cNvSpPr>
          <p:nvPr/>
        </p:nvSpPr>
        <p:spPr bwMode="auto">
          <a:xfrm>
            <a:off x="246063" y="6660857"/>
            <a:ext cx="71135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3F3F3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l" eaLnBrk="0" hangingPunct="0">
              <a:tabLst>
                <a:tab pos="447675" algn="l"/>
              </a:tabLst>
            </a:pPr>
            <a:r>
              <a:rPr lang="en-US" sz="900" b="0" dirty="0">
                <a:solidFill>
                  <a:srgbClr val="4D4D4D"/>
                </a:solidFill>
              </a:rPr>
              <a:t>Notes: (1) </a:t>
            </a:r>
            <a:r>
              <a:rPr lang="en-US" sz="900" dirty="0">
                <a:solidFill>
                  <a:srgbClr val="4D4D4D"/>
                </a:solidFill>
              </a:rPr>
              <a:t>Figures from the National Housewares Manufacturers Association</a:t>
            </a:r>
            <a:endParaRPr lang="en-US" sz="900" b="0" dirty="0">
              <a:solidFill>
                <a:srgbClr val="4D4D4D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6</a:t>
            </a:fld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M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ANAGEMENT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T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EAM</a:t>
            </a: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title"/>
          </p:nvPr>
        </p:nvSpPr>
        <p:spPr>
          <a:xfrm>
            <a:off x="246063" y="596900"/>
            <a:ext cx="8647112" cy="503215"/>
          </a:xfrm>
          <a:noFill/>
          <a:ln/>
        </p:spPr>
        <p:txBody>
          <a:bodyPr/>
          <a:lstStyle/>
          <a:p>
            <a:r>
              <a:rPr lang="en-US" sz="2000" dirty="0" smtClean="0"/>
              <a:t>NFG has </a:t>
            </a:r>
            <a:r>
              <a:rPr lang="en-US" sz="2000" dirty="0"/>
              <a:t>an international team</a:t>
            </a:r>
            <a:r>
              <a:rPr lang="en-US" sz="2000" dirty="0" smtClean="0"/>
              <a:t> with </a:t>
            </a:r>
            <a:r>
              <a:rPr lang="en-US" sz="2000" dirty="0"/>
              <a:t>solid</a:t>
            </a:r>
            <a:r>
              <a:rPr lang="en-US" sz="2000" dirty="0" smtClean="0"/>
              <a:t> international business, finance, entrepreneurship, marketing and legal experience</a:t>
            </a:r>
            <a:endParaRPr lang="en-US" sz="2000" dirty="0"/>
          </a:p>
        </p:txBody>
      </p:sp>
      <p:sp>
        <p:nvSpPr>
          <p:cNvPr id="22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latin typeface="+mj-lt"/>
            </a:endParaRPr>
          </a:p>
        </p:txBody>
      </p:sp>
      <p:sp>
        <p:nvSpPr>
          <p:cNvPr id="24" name="Rectangle 2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j-lt"/>
                <a:sym typeface="Garamond" charset="0"/>
              </a:rPr>
              <a:t>IIIC: Group A3</a:t>
            </a:r>
          </a:p>
        </p:txBody>
      </p:sp>
      <p:sp>
        <p:nvSpPr>
          <p:cNvPr id="32" name="15 Rectángulo"/>
          <p:cNvSpPr/>
          <p:nvPr/>
        </p:nvSpPr>
        <p:spPr bwMode="auto">
          <a:xfrm>
            <a:off x="0" y="1171700"/>
            <a:ext cx="9144000" cy="16002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pic>
        <p:nvPicPr>
          <p:cNvPr id="33" name="Picture 29" descr="P1000838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376994">
            <a:off x="2115369" y="1277008"/>
            <a:ext cx="1767908" cy="13259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" name="Picture 31" descr="edu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2354" y="1324121"/>
            <a:ext cx="1144371" cy="11901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7" name="Picture 32" descr="massai.bm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316829">
            <a:off x="7817057" y="1226599"/>
            <a:ext cx="1255452" cy="13534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8" name="Imagem 42" descr="fritzlindoooooooooo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176884">
            <a:off x="3716163" y="1378188"/>
            <a:ext cx="1541133" cy="11510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9" name="Picture 30" descr="Ghana_107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342679">
            <a:off x="5102084" y="1361198"/>
            <a:ext cx="1703299" cy="11533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0" name="Rectangle 24"/>
          <p:cNvSpPr>
            <a:spLocks noChangeArrowheads="1"/>
          </p:cNvSpPr>
          <p:nvPr/>
        </p:nvSpPr>
        <p:spPr bwMode="auto">
          <a:xfrm>
            <a:off x="2059626" y="2907475"/>
            <a:ext cx="1657349" cy="292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chemeClr val="hlink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Entrepreneurship,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Business Development</a:t>
            </a:r>
            <a:endParaRPr lang="en-US" sz="1100" b="1" dirty="0">
              <a:solidFill>
                <a:srgbClr val="4D4D4D"/>
              </a:solidFill>
              <a:latin typeface="Arial"/>
              <a:cs typeface="Arial"/>
            </a:endParaRPr>
          </a:p>
        </p:txBody>
      </p:sp>
      <p:sp>
        <p:nvSpPr>
          <p:cNvPr id="41" name="Rectangle 24"/>
          <p:cNvSpPr>
            <a:spLocks noChangeArrowheads="1"/>
          </p:cNvSpPr>
          <p:nvPr/>
        </p:nvSpPr>
        <p:spPr bwMode="auto">
          <a:xfrm>
            <a:off x="3593526" y="2907475"/>
            <a:ext cx="1657349" cy="287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chemeClr val="hlink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Business Development, Growth Strategy</a:t>
            </a:r>
          </a:p>
        </p:txBody>
      </p:sp>
      <p:sp>
        <p:nvSpPr>
          <p:cNvPr id="42" name="Rectangle 24"/>
          <p:cNvSpPr>
            <a:spLocks noChangeArrowheads="1"/>
          </p:cNvSpPr>
          <p:nvPr/>
        </p:nvSpPr>
        <p:spPr bwMode="auto">
          <a:xfrm>
            <a:off x="5000500" y="2907475"/>
            <a:ext cx="1657349" cy="292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chemeClr val="hlink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Legal,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Finance</a:t>
            </a:r>
            <a:endParaRPr lang="en-US" sz="1100" b="1" dirty="0">
              <a:solidFill>
                <a:srgbClr val="4D4D4D"/>
              </a:solidFill>
              <a:latin typeface="Arial"/>
              <a:cs typeface="Arial"/>
            </a:endParaRPr>
          </a:p>
        </p:txBody>
      </p:sp>
      <p:sp>
        <p:nvSpPr>
          <p:cNvPr id="43" name="Rectangle 24"/>
          <p:cNvSpPr>
            <a:spLocks noChangeArrowheads="1"/>
          </p:cNvSpPr>
          <p:nvPr/>
        </p:nvSpPr>
        <p:spPr bwMode="auto">
          <a:xfrm>
            <a:off x="6383975" y="2907475"/>
            <a:ext cx="1657349" cy="292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chemeClr val="hlink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Growth Strategy, 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Corporate Development</a:t>
            </a:r>
            <a:endParaRPr lang="en-US" sz="1100" b="1" dirty="0">
              <a:solidFill>
                <a:srgbClr val="4D4D4D"/>
              </a:solidFill>
              <a:latin typeface="Arial"/>
              <a:cs typeface="Arial"/>
            </a:endParaRPr>
          </a:p>
        </p:txBody>
      </p:sp>
      <p:sp>
        <p:nvSpPr>
          <p:cNvPr id="44" name="Rectangle 24"/>
          <p:cNvSpPr>
            <a:spLocks noChangeArrowheads="1"/>
          </p:cNvSpPr>
          <p:nvPr/>
        </p:nvSpPr>
        <p:spPr bwMode="auto">
          <a:xfrm>
            <a:off x="7970325" y="2907475"/>
            <a:ext cx="1066800" cy="292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chemeClr val="hlink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Brand</a:t>
            </a:r>
          </a:p>
          <a:p>
            <a:pPr algn="ctr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4D4D4D"/>
                </a:solidFill>
                <a:latin typeface="Arial"/>
                <a:cs typeface="Arial"/>
              </a:rPr>
              <a:t>Management</a:t>
            </a:r>
            <a:endParaRPr lang="en-US" sz="1100" b="1" dirty="0">
              <a:solidFill>
                <a:srgbClr val="4D4D4D"/>
              </a:solidFill>
              <a:latin typeface="Arial"/>
              <a:cs typeface="Arial"/>
            </a:endParaRPr>
          </a:p>
        </p:txBody>
      </p:sp>
      <p:graphicFrame>
        <p:nvGraphicFramePr>
          <p:cNvPr id="45" name="8 Tabla"/>
          <p:cNvGraphicFramePr>
            <a:graphicFrameLocks noGrp="1"/>
          </p:cNvGraphicFramePr>
          <p:nvPr/>
        </p:nvGraphicFramePr>
        <p:xfrm>
          <a:off x="164274" y="3255178"/>
          <a:ext cx="8979725" cy="2724047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133601"/>
                <a:gridCol w="1371600"/>
                <a:gridCol w="1447800"/>
                <a:gridCol w="1419300"/>
                <a:gridCol w="1346959"/>
                <a:gridCol w="1260465"/>
              </a:tblGrid>
              <a:tr h="365828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Emerging Markets</a:t>
                      </a:r>
                      <a:endParaRPr lang="en-US" sz="1200" b="1" dirty="0"/>
                    </a:p>
                  </a:txBody>
                  <a:tcPr marL="144000" marR="144000" marB="108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 marL="144000" marR="144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 marL="144000" marR="144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 marL="144000" marR="144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 marL="144000" marR="144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 marL="144000" marR="144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733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Finance 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11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Entrepreneurship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825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Marketing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338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Business</a:t>
                      </a:r>
                      <a:r>
                        <a:rPr lang="en-US" sz="1200" b="1" baseline="0" dirty="0" smtClean="0"/>
                        <a:t> Development</a:t>
                      </a:r>
                      <a:endParaRPr lang="en-US" sz="1200" b="1" dirty="0" smtClean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206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Operations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206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IT Strategy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3206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Legal /</a:t>
                      </a:r>
                      <a:r>
                        <a:rPr lang="en-US" sz="1200" b="1" baseline="0" dirty="0" smtClean="0"/>
                        <a:t> </a:t>
                      </a:r>
                      <a:r>
                        <a:rPr lang="en-US" sz="1200" b="1" dirty="0" smtClean="0"/>
                        <a:t>Regulatory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X</a:t>
                      </a:r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A940BA-82E8-441F-A8D9-7D3872C332EE}" type="slidenum">
              <a:rPr lang="en-US"/>
              <a:pPr/>
              <a:t>7</a:t>
            </a:fld>
            <a:endParaRPr lang="en-US"/>
          </a:p>
        </p:txBody>
      </p:sp>
      <p:sp>
        <p:nvSpPr>
          <p:cNvPr id="36" name="Rectangle 5"/>
          <p:cNvSpPr>
            <a:spLocks/>
          </p:cNvSpPr>
          <p:nvPr/>
        </p:nvSpPr>
        <p:spPr bwMode="auto">
          <a:xfrm>
            <a:off x="1612900" y="6083300"/>
            <a:ext cx="7543800" cy="33020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Rectangle 6"/>
          <p:cNvSpPr>
            <a:spLocks/>
          </p:cNvSpPr>
          <p:nvPr/>
        </p:nvSpPr>
        <p:spPr bwMode="auto">
          <a:xfrm>
            <a:off x="1117600" y="6019800"/>
            <a:ext cx="6883400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D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UE</a:t>
            </a:r>
            <a:r>
              <a:rPr lang="en-US" sz="24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 D</a:t>
            </a:r>
            <a:r>
              <a:rPr lang="en-US" sz="2000" i="1" dirty="0" smtClean="0">
                <a:solidFill>
                  <a:srgbClr val="FFFFFF"/>
                </a:solidFill>
                <a:latin typeface="Garamond" pitchFamily="18" charset="0"/>
                <a:cs typeface="Arial"/>
                <a:sym typeface="Garamond" charset="0"/>
              </a:rPr>
              <a:t>ILIGENCE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title"/>
          </p:nvPr>
        </p:nvSpPr>
        <p:spPr>
          <a:xfrm>
            <a:off x="246063" y="596900"/>
            <a:ext cx="8647112" cy="503215"/>
          </a:xfrm>
          <a:noFill/>
          <a:ln/>
        </p:spPr>
        <p:txBody>
          <a:bodyPr/>
          <a:lstStyle/>
          <a:p>
            <a:r>
              <a:rPr lang="en-US" sz="2000" dirty="0" smtClean="0"/>
              <a:t>Tequila Deal: </a:t>
            </a:r>
            <a:r>
              <a:rPr lang="en-US" sz="2000" dirty="0" err="1" smtClean="0"/>
              <a:t>Tranquila</a:t>
            </a:r>
            <a:r>
              <a:rPr lang="en-US" sz="2000" dirty="0" smtClean="0"/>
              <a:t>, an exclusive tequila brand that will maximize financial and social return through laser-focus implementation</a:t>
            </a:r>
          </a:p>
        </p:txBody>
      </p:sp>
      <p:sp>
        <p:nvSpPr>
          <p:cNvPr id="6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latin typeface="+mj-lt"/>
            </a:endParaRPr>
          </a:p>
        </p:txBody>
      </p:sp>
      <p:sp>
        <p:nvSpPr>
          <p:cNvPr id="7" name="Rectangle 2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j-lt"/>
                <a:sym typeface="Garamond" charset="0"/>
              </a:rPr>
              <a:t>IIIC: Group A3</a:t>
            </a:r>
          </a:p>
        </p:txBody>
      </p:sp>
      <p:graphicFrame>
        <p:nvGraphicFramePr>
          <p:cNvPr id="13" name="Table 2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xmlns:mv="urn:schemas-microsoft-com:mac:vml" xmlns:mc="http://schemas.openxmlformats.org/markup-compatibility/2006" val="1991393949"/>
              </p:ext>
            </p:extLst>
          </p:nvPr>
        </p:nvGraphicFramePr>
        <p:xfrm>
          <a:off x="4952999" y="1524000"/>
          <a:ext cx="4038601" cy="4064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001"/>
                <a:gridCol w="3024094"/>
                <a:gridCol w="633506"/>
              </a:tblGrid>
              <a:tr h="6096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F</a:t>
                      </a:r>
                      <a:endParaRPr kumimoji="0" lang="en-US" sz="1200" b="1" i="1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23.7% Return over seven-year period, 3.0x Cash-on-Cash Return</a:t>
                      </a:r>
                    </a:p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Available grants could create 29.7% Return, 3.7x Cash-on-Cash Return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679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A</a:t>
                      </a:r>
                      <a:endParaRPr kumimoji="0" lang="en-US" sz="1200" b="1" i="1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Experienced management team with a nationally distributed wine brand</a:t>
                      </a:r>
                    </a:p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Local monitoring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96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C</a:t>
                      </a:r>
                      <a:endParaRPr kumimoji="0" lang="en-US" sz="1200" b="1" i="1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Leverage local expertise on agave production to increase connectedness to brand and quality of tequila</a:t>
                      </a:r>
                    </a:p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Pay living wage plus benefits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930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E</a:t>
                      </a:r>
                      <a:endParaRPr kumimoji="0" lang="en-US" sz="1200" b="1" i="1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Ensure continued growth and sustainability of  agave plant</a:t>
                      </a:r>
                    </a:p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Rebuild local tequila manufacturing</a:t>
                      </a:r>
                    </a:p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Recycled packaging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07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S</a:t>
                      </a:r>
                      <a:endParaRPr kumimoji="0" lang="en-US" sz="1200" b="1" i="1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0800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Access to established distribution channels</a:t>
                      </a:r>
                    </a:p>
                    <a:p>
                      <a:pPr marL="125413" marR="0" lvl="0" indent="-1143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141066"/>
                        </a:buClr>
                        <a:buSzPct val="100000"/>
                        <a:buFontTx/>
                        <a:buChar char="•"/>
                        <a:tabLst>
                          <a:tab pos="914400" algn="l"/>
                        </a:tabLst>
                        <a:defRPr/>
                      </a:pPr>
                      <a:r>
                        <a:rPr lang="en-US" altLang="zh-CN" sz="1200" kern="1200" dirty="0" smtClean="0">
                          <a:solidFill>
                            <a:srgbClr val="4D4D4D"/>
                          </a:solidFill>
                          <a:latin typeface="+mj-lt"/>
                          <a:ea typeface="ヒラギノ角ゴ ProN W3" charset="-128"/>
                          <a:cs typeface="Arial" pitchFamily="34" charset="0"/>
                          <a:sym typeface="Garamond" charset="0"/>
                        </a:rPr>
                        <a:t>Develop local labor skills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Oval 117"/>
          <p:cNvSpPr>
            <a:spLocks noChangeArrowheads="1"/>
          </p:cNvSpPr>
          <p:nvPr/>
        </p:nvSpPr>
        <p:spPr bwMode="auto">
          <a:xfrm flipH="1">
            <a:off x="8550780" y="1806750"/>
            <a:ext cx="255600" cy="2556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17961" dir="135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91440" rIns="45720" bIns="91440" anchor="ctr"/>
          <a:lstStyle/>
          <a:p>
            <a: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Oval 117"/>
          <p:cNvSpPr>
            <a:spLocks noChangeArrowheads="1"/>
          </p:cNvSpPr>
          <p:nvPr/>
        </p:nvSpPr>
        <p:spPr bwMode="auto">
          <a:xfrm flipH="1">
            <a:off x="8550780" y="3471276"/>
            <a:ext cx="255600" cy="2556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17961" dir="135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91440" rIns="45720" bIns="91440" anchor="ctr"/>
          <a:lstStyle/>
          <a:p>
            <a: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pt-BR" sz="1400" b="1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16" name="Group 97"/>
          <p:cNvGrpSpPr>
            <a:grpSpLocks/>
          </p:cNvGrpSpPr>
          <p:nvPr/>
        </p:nvGrpSpPr>
        <p:grpSpPr bwMode="auto">
          <a:xfrm>
            <a:off x="8550780" y="4303539"/>
            <a:ext cx="255600" cy="255600"/>
            <a:chOff x="939" y="2058"/>
            <a:chExt cx="109" cy="109"/>
          </a:xfrm>
        </p:grpSpPr>
        <p:sp>
          <p:nvSpPr>
            <p:cNvPr id="17" name="Oval 98"/>
            <p:cNvSpPr>
              <a:spLocks noChangeArrowheads="1"/>
            </p:cNvSpPr>
            <p:nvPr/>
          </p:nvSpPr>
          <p:spPr bwMode="auto">
            <a:xfrm flipH="1">
              <a:off x="939" y="2058"/>
              <a:ext cx="109" cy="1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 xmlns:mv="urn:schemas-microsoft-com:mac:vml" xmlns:mc="http://schemas.openxmlformats.org/markup-compatibility/2006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91440" rIns="45720" bIns="91440" anchor="ctr"/>
            <a:lstStyle/>
            <a:p>
              <a:pPr algn="ctr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endParaRPr lang="pt-BR" sz="1400" b="1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8" name="Arc 99"/>
            <p:cNvSpPr>
              <a:spLocks/>
            </p:cNvSpPr>
            <p:nvPr/>
          </p:nvSpPr>
          <p:spPr bwMode="auto">
            <a:xfrm>
              <a:off x="996" y="2061"/>
              <a:ext cx="52" cy="10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6"/>
                <a:gd name="T2" fmla="*/ 400 w 21600"/>
                <a:gd name="T3" fmla="*/ 43196 h 43196"/>
                <a:gd name="T4" fmla="*/ 0 w 21600"/>
                <a:gd name="T5" fmla="*/ 21600 h 43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6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</a:path>
                <a:path w="21600" h="43196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 xmlns:mv="urn:schemas-microsoft-com:mac:vml" xmlns:mc="http://schemas.openxmlformats.org/markup-compatibility/2006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91440" rIns="45720" bIns="91440" anchor="ctr"/>
            <a:lstStyle/>
            <a:p>
              <a:pPr algn="r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7D0900"/>
                </a:buClr>
              </a:pPr>
              <a:endParaRPr lang="es-ES" sz="1400" i="1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19" name="Group 97"/>
          <p:cNvGrpSpPr>
            <a:grpSpLocks/>
          </p:cNvGrpSpPr>
          <p:nvPr/>
        </p:nvGrpSpPr>
        <p:grpSpPr bwMode="auto">
          <a:xfrm>
            <a:off x="8550780" y="5135800"/>
            <a:ext cx="255600" cy="255600"/>
            <a:chOff x="939" y="2058"/>
            <a:chExt cx="109" cy="109"/>
          </a:xfrm>
        </p:grpSpPr>
        <p:sp>
          <p:nvSpPr>
            <p:cNvPr id="20" name="Oval 98"/>
            <p:cNvSpPr>
              <a:spLocks noChangeArrowheads="1"/>
            </p:cNvSpPr>
            <p:nvPr/>
          </p:nvSpPr>
          <p:spPr bwMode="auto">
            <a:xfrm flipH="1">
              <a:off x="939" y="2058"/>
              <a:ext cx="109" cy="1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 xmlns:mv="urn:schemas-microsoft-com:mac:vml" xmlns:mc="http://schemas.openxmlformats.org/markup-compatibility/2006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91440" rIns="45720" bIns="91440" anchor="ctr"/>
            <a:lstStyle/>
            <a:p>
              <a:pPr algn="ctr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endParaRPr lang="pt-BR" sz="1400" b="1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1" name="Arc 99"/>
            <p:cNvSpPr>
              <a:spLocks/>
            </p:cNvSpPr>
            <p:nvPr/>
          </p:nvSpPr>
          <p:spPr bwMode="auto">
            <a:xfrm>
              <a:off x="996" y="2061"/>
              <a:ext cx="52" cy="10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6"/>
                <a:gd name="T2" fmla="*/ 400 w 21600"/>
                <a:gd name="T3" fmla="*/ 43196 h 43196"/>
                <a:gd name="T4" fmla="*/ 0 w 21600"/>
                <a:gd name="T5" fmla="*/ 21600 h 43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6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</a:path>
                <a:path w="21600" h="43196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 xmlns:mv="urn:schemas-microsoft-com:mac:vml" xmlns:mc="http://schemas.openxmlformats.org/markup-compatibility/2006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91440" rIns="45720" bIns="91440" anchor="ctr"/>
            <a:lstStyle/>
            <a:p>
              <a:pPr algn="r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7D0900"/>
                </a:buClr>
              </a:pPr>
              <a:endParaRPr lang="es-ES" sz="1400" i="1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24" name="AutoShape 18"/>
          <p:cNvSpPr>
            <a:spLocks noChangeArrowheads="1"/>
          </p:cNvSpPr>
          <p:nvPr/>
        </p:nvSpPr>
        <p:spPr bwMode="auto">
          <a:xfrm>
            <a:off x="204190" y="4724400"/>
            <a:ext cx="4537205" cy="1217905"/>
          </a:xfrm>
          <a:prstGeom prst="roundRect">
            <a:avLst>
              <a:gd name="adj" fmla="val 6565"/>
            </a:avLst>
          </a:prstGeom>
          <a:solidFill>
            <a:srgbClr val="EAEAEA"/>
          </a:solidFill>
          <a:ln w="9525" algn="ctr">
            <a:solidFill>
              <a:srgbClr val="7D09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72000" rIns="36000" bIns="72000" anchor="ctr"/>
          <a:lstStyle/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70% of current premium tequila is bottled outside Mexico</a:t>
            </a:r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Tequila is rapidly growing: 45% in the United States and 26% in Mexico in the past five years</a:t>
            </a:r>
          </a:p>
          <a:p>
            <a:pPr marL="173038" indent="-114300" algn="l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buFontTx/>
              <a:buChar char="•"/>
              <a:tabLst>
                <a:tab pos="914400" algn="l"/>
              </a:tabLst>
              <a:defRPr/>
            </a:pPr>
            <a:r>
              <a:rPr lang="en-US" altLang="zh-CN" sz="1200" dirty="0" err="1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Arandasregion</a:t>
            </a:r>
            <a:r>
              <a:rPr lang="en-US" altLang="zh-CN" sz="1200" dirty="0" smtClean="0">
                <a:solidFill>
                  <a:srgbClr val="4D4D4D"/>
                </a:solidFill>
                <a:latin typeface="+mj-lt"/>
                <a:cs typeface="Arial" pitchFamily="34" charset="0"/>
                <a:sym typeface="Garamond" charset="0"/>
              </a:rPr>
              <a:t> is missing out from the premium Tequila high growth and profit margins (2x vs. lower end ones)</a:t>
            </a:r>
          </a:p>
        </p:txBody>
      </p:sp>
      <p:grpSp>
        <p:nvGrpSpPr>
          <p:cNvPr id="27" name="Group 97"/>
          <p:cNvGrpSpPr>
            <a:grpSpLocks/>
          </p:cNvGrpSpPr>
          <p:nvPr/>
        </p:nvGrpSpPr>
        <p:grpSpPr bwMode="auto">
          <a:xfrm>
            <a:off x="8550780" y="2639013"/>
            <a:ext cx="255600" cy="255600"/>
            <a:chOff x="939" y="2058"/>
            <a:chExt cx="109" cy="109"/>
          </a:xfrm>
        </p:grpSpPr>
        <p:sp>
          <p:nvSpPr>
            <p:cNvPr id="28" name="Oval 98"/>
            <p:cNvSpPr>
              <a:spLocks noChangeArrowheads="1"/>
            </p:cNvSpPr>
            <p:nvPr/>
          </p:nvSpPr>
          <p:spPr bwMode="auto">
            <a:xfrm flipH="1">
              <a:off x="939" y="2058"/>
              <a:ext cx="109" cy="10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 xmlns:mv="urn:schemas-microsoft-com:mac:vml" xmlns:mc="http://schemas.openxmlformats.org/markup-compatibility/2006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91440" rIns="45720" bIns="91440" anchor="ctr"/>
            <a:lstStyle/>
            <a:p>
              <a:pPr algn="ctr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endParaRPr lang="pt-BR" sz="1400" b="1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29" name="Arc 99"/>
            <p:cNvSpPr>
              <a:spLocks/>
            </p:cNvSpPr>
            <p:nvPr/>
          </p:nvSpPr>
          <p:spPr bwMode="auto">
            <a:xfrm>
              <a:off x="996" y="2061"/>
              <a:ext cx="52" cy="10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196"/>
                <a:gd name="T2" fmla="*/ 400 w 21600"/>
                <a:gd name="T3" fmla="*/ 43196 h 43196"/>
                <a:gd name="T4" fmla="*/ 0 w 21600"/>
                <a:gd name="T5" fmla="*/ 21600 h 43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196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</a:path>
                <a:path w="21600" h="43196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373"/>
                    <a:pt x="12171" y="42978"/>
                    <a:pt x="400" y="43196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 xmlns:mv="urn:schemas-microsoft-com:mac:vml" xmlns:mc="http://schemas.openxmlformats.org/markup-compatibility/2006">
                  <a:effectLst>
                    <a:outerShdw dist="17961" dir="135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91440" rIns="45720" bIns="91440" anchor="ctr"/>
            <a:lstStyle/>
            <a:p>
              <a:pPr algn="r"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7D0900"/>
                </a:buClr>
              </a:pPr>
              <a:endParaRPr lang="es-ES" sz="1400" i="1">
                <a:solidFill>
                  <a:srgbClr val="000000"/>
                </a:solidFill>
                <a:latin typeface="+mj-lt"/>
              </a:endParaRPr>
            </a:p>
          </p:txBody>
        </p:sp>
      </p:grpSp>
      <p:pic>
        <p:nvPicPr>
          <p:cNvPr id="30" name="Picture 419" descr="tranquila_final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2686" y="1278575"/>
            <a:ext cx="2308139" cy="3253364"/>
          </a:xfrm>
          <a:prstGeom prst="rect">
            <a:avLst/>
          </a:prstGeom>
          <a:ln w="76200" cmpd="sng">
            <a:solidFill>
              <a:schemeClr val="tx1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9C6658-56AF-4E2C-90E0-57F049F0C66C}" type="slidenum">
              <a:rPr lang="en-US"/>
              <a:pPr/>
              <a:t>8</a:t>
            </a:fld>
            <a:endParaRPr lang="en-US"/>
          </a:p>
        </p:txBody>
      </p:sp>
      <p:sp>
        <p:nvSpPr>
          <p:cNvPr id="51203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1205" name="Rectangle 3"/>
          <p:cNvSpPr>
            <a:spLocks noGrp="1" noChangeArrowheads="1"/>
          </p:cNvSpPr>
          <p:nvPr>
            <p:ph type="title"/>
          </p:nvPr>
        </p:nvSpPr>
        <p:spPr>
          <a:xfrm>
            <a:off x="246063" y="596900"/>
            <a:ext cx="8647112" cy="1495425"/>
          </a:xfrm>
        </p:spPr>
        <p:txBody>
          <a:bodyPr/>
          <a:lstStyle/>
          <a:p>
            <a:r>
              <a:rPr lang="en-US" sz="2000" dirty="0" smtClean="0"/>
              <a:t>Tequila Deal: </a:t>
            </a:r>
            <a:r>
              <a:rPr lang="en-US" sz="2000" dirty="0" smtClean="0">
                <a:sym typeface="Garamond" charset="0"/>
              </a:rPr>
              <a:t>Analysis of similar cost structures</a:t>
            </a:r>
          </a:p>
        </p:txBody>
      </p:sp>
      <p:sp>
        <p:nvSpPr>
          <p:cNvPr id="7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graphicFrame>
        <p:nvGraphicFramePr>
          <p:cNvPr id="20483" name="Object 3"/>
          <p:cNvGraphicFramePr>
            <a:graphicFrameLocks noChangeAspect="1"/>
          </p:cNvGraphicFramePr>
          <p:nvPr/>
        </p:nvGraphicFramePr>
        <p:xfrm>
          <a:off x="111282" y="1447800"/>
          <a:ext cx="8921436" cy="3659186"/>
        </p:xfrm>
        <a:graphic>
          <a:graphicData uri="http://schemas.openxmlformats.org/presentationml/2006/ole">
            <p:oleObj spid="_x0000_s20483" name="Worksheet" r:id="rId4" imgW="10874609" imgH="4459055" progId="Excel.Sheet.8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1AC35B-BC9C-46E6-BA7F-CB78D4BB1736}" type="slidenum">
              <a:rPr lang="en-US"/>
              <a:pPr/>
              <a:t>9</a:t>
            </a:fld>
            <a:endParaRPr lang="en-US"/>
          </a:p>
        </p:txBody>
      </p:sp>
      <p:sp>
        <p:nvSpPr>
          <p:cNvPr id="52227" name="Line 1"/>
          <p:cNvSpPr>
            <a:spLocks noChangeShapeType="1"/>
          </p:cNvSpPr>
          <p:nvPr/>
        </p:nvSpPr>
        <p:spPr bwMode="auto">
          <a:xfrm>
            <a:off x="1295400" y="457200"/>
            <a:ext cx="7615238" cy="0"/>
          </a:xfrm>
          <a:prstGeom prst="line">
            <a:avLst/>
          </a:prstGeom>
          <a:noFill/>
          <a:ln w="28575">
            <a:solidFill>
              <a:srgbClr val="FF271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2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Tequila Deal: Analysis </a:t>
            </a:r>
            <a:r>
              <a:rPr lang="en-US" sz="2000" dirty="0" smtClean="0">
                <a:sym typeface="Garamond" charset="0"/>
              </a:rPr>
              <a:t>depicting of the profit formula</a:t>
            </a:r>
            <a:br>
              <a:rPr lang="en-US" sz="2000" dirty="0" smtClean="0">
                <a:sym typeface="Garamond" charset="0"/>
              </a:rPr>
            </a:br>
            <a:endParaRPr lang="en-US" sz="2000" dirty="0" smtClean="0">
              <a:sym typeface="Garamond" charset="0"/>
            </a:endParaRPr>
          </a:p>
        </p:txBody>
      </p:sp>
      <p:sp>
        <p:nvSpPr>
          <p:cNvPr id="7" name="Rectangle 3"/>
          <p:cNvSpPr>
            <a:spLocks/>
          </p:cNvSpPr>
          <p:nvPr/>
        </p:nvSpPr>
        <p:spPr bwMode="auto">
          <a:xfrm>
            <a:off x="246063" y="377825"/>
            <a:ext cx="1290637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l">
              <a:lnSpc>
                <a:spcPct val="90000"/>
              </a:lnSpc>
            </a:pPr>
            <a:r>
              <a:rPr lang="en-US" sz="1200" b="1" dirty="0">
                <a:solidFill>
                  <a:schemeClr val="tx1"/>
                </a:solidFill>
                <a:latin typeface="+mn-lt"/>
                <a:sym typeface="Garamond" charset="0"/>
              </a:rPr>
              <a:t>IIIC: Group A3</a:t>
            </a:r>
          </a:p>
        </p:txBody>
      </p:sp>
      <p:graphicFrame>
        <p:nvGraphicFramePr>
          <p:cNvPr id="21511" name="Object 7"/>
          <p:cNvGraphicFramePr>
            <a:graphicFrameLocks noChangeAspect="1"/>
          </p:cNvGraphicFramePr>
          <p:nvPr/>
        </p:nvGraphicFramePr>
        <p:xfrm>
          <a:off x="1066800" y="838200"/>
          <a:ext cx="6858000" cy="5334000"/>
        </p:xfrm>
        <a:graphic>
          <a:graphicData uri="http://schemas.openxmlformats.org/presentationml/2006/ole">
            <p:oleObj spid="_x0000_s21511" name="Worksheet" r:id="rId4" imgW="7860694" imgH="10204873" progId="Excel.Sheet.8">
              <p:embed/>
            </p:oleObj>
          </a:graphicData>
        </a:graphic>
      </p:graphicFrame>
      <p:sp>
        <p:nvSpPr>
          <p:cNvPr id="10" name="AutoShape 18"/>
          <p:cNvSpPr>
            <a:spLocks noChangeArrowheads="1"/>
          </p:cNvSpPr>
          <p:nvPr/>
        </p:nvSpPr>
        <p:spPr bwMode="auto">
          <a:xfrm>
            <a:off x="1333500" y="6324600"/>
            <a:ext cx="6324600" cy="381000"/>
          </a:xfrm>
          <a:prstGeom prst="roundRect">
            <a:avLst>
              <a:gd name="adj" fmla="val 6565"/>
            </a:avLst>
          </a:prstGeom>
          <a:solidFill>
            <a:srgbClr val="00B050"/>
          </a:solidFill>
          <a:ln w="9525" algn="ctr">
            <a:noFill/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 xmlns:mv="urn:schemas-microsoft-com:mac:vml" xmlns:mc="http://schemas.openxmlformats.org/markup-compatibility/2006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72000" rIns="36000" bIns="72000" anchor="ctr"/>
          <a:lstStyle/>
          <a:p>
            <a:pPr marL="114300" indent="-114300" eaLnBrk="0" hangingPunct="0">
              <a:spcBef>
                <a:spcPct val="30000"/>
              </a:spcBef>
              <a:spcAft>
                <a:spcPts val="0"/>
              </a:spcAft>
              <a:buClr>
                <a:srgbClr val="141066"/>
              </a:buClr>
              <a:buSzPct val="100000"/>
              <a:tabLst>
                <a:tab pos="914400" algn="l"/>
              </a:tabLst>
              <a:defRPr/>
            </a:pPr>
            <a:r>
              <a:rPr lang="pt-PT" altLang="zh-CN" sz="1200" b="1" dirty="0" smtClean="0">
                <a:solidFill>
                  <a:schemeClr val="bg1"/>
                </a:solidFill>
                <a:latin typeface="+mj-lt"/>
                <a:cs typeface="Arial" pitchFamily="34" charset="0"/>
                <a:sym typeface="Garamond" charset="0"/>
              </a:rPr>
              <a:t>7-year Revenue             CAGR: 34,0% IRR: 23.7%             Cash-on-Cash: 3.0x</a:t>
            </a:r>
            <a:endParaRPr lang="en-US" altLang="zh-CN" sz="1200" b="1" dirty="0" smtClean="0">
              <a:solidFill>
                <a:schemeClr val="bg1"/>
              </a:solidFill>
              <a:latin typeface="+mj-lt"/>
              <a:cs typeface="Arial" pitchFamily="34" charset="0"/>
              <a:sym typeface="Garamond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aew9pAMEevgsTbbt0VHg"/>
</p:tagLst>
</file>

<file path=ppt/theme/theme1.xml><?xml version="1.0" encoding="utf-8"?>
<a:theme xmlns:a="http://schemas.openxmlformats.org/drawingml/2006/main" name="Default - Title and Content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1A1A1A"/>
      </a:accent1>
      <a:accent2>
        <a:srgbClr val="333399"/>
      </a:accent2>
      <a:accent3>
        <a:srgbClr val="FFFFFF"/>
      </a:accent3>
      <a:accent4>
        <a:srgbClr val="000000"/>
      </a:accent4>
      <a:accent5>
        <a:srgbClr val="ABABAB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- Title and Content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-128"/>
            <a:cs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-128"/>
            <a:cs typeface="ヒラギノ角ゴ ProN W3" charset="-128"/>
            <a:sym typeface="Gill Sans" charset="0"/>
          </a:defRPr>
        </a:defPPr>
      </a:lstStyle>
    </a:lnDef>
  </a:objectDefaults>
  <a:extraClrSchemeLst>
    <a:extraClrScheme>
      <a:clrScheme name="Default - Title and 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8</TotalTime>
  <Pages>0</Pages>
  <Words>1730</Words>
  <Characters>0</Characters>
  <Application>Microsoft Macintosh PowerPoint</Application>
  <PresentationFormat>Apresentação na tela (4:3)</PresentationFormat>
  <Lines>0</Lines>
  <Paragraphs>271</Paragraphs>
  <Slides>13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5" baseType="lpstr">
      <vt:lpstr>Default - Title and Content</vt:lpstr>
      <vt:lpstr>Worksheet</vt:lpstr>
      <vt:lpstr>Slide 1</vt:lpstr>
      <vt:lpstr>NFG will work with the invested companies to optimize operations and achieve financial and social returns</vt:lpstr>
      <vt:lpstr>NFG will use a six-step methodology to identify the best investment opportunities and provide support to companies in their growth</vt:lpstr>
      <vt:lpstr>As a part of the filter companies step, we have developed a grading scheme to evaluate the different investment opportunities </vt:lpstr>
      <vt:lpstr>Example 2: Verterra™ is a proven and working example of the legitimacy of NFG’s investment strategy</vt:lpstr>
      <vt:lpstr>NFG has an international team with solid international business, finance, entrepreneurship, marketing and legal experience</vt:lpstr>
      <vt:lpstr>Tequila Deal: Tranquila, an exclusive tequila brand that will maximize financial and social return through laser-focus implementation</vt:lpstr>
      <vt:lpstr>Tequila Deal: Analysis of similar cost structures</vt:lpstr>
      <vt:lpstr>Tequila Deal: Analysis depicting of the profit formula </vt:lpstr>
      <vt:lpstr>Roll Up</vt:lpstr>
      <vt:lpstr>Appendix: The Tequila example</vt:lpstr>
      <vt:lpstr>Appendix: The Tequila advertising and marketing plan assumptions</vt:lpstr>
      <vt:lpstr>Slide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 Delas Eduardo</dc:creator>
  <cp:lastModifiedBy>User</cp:lastModifiedBy>
  <cp:revision>193</cp:revision>
  <dcterms:created xsi:type="dcterms:W3CDTF">2011-04-05T14:40:12Z</dcterms:created>
  <dcterms:modified xsi:type="dcterms:W3CDTF">2011-04-05T21:06:03Z</dcterms:modified>
</cp:coreProperties>
</file>